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3.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4.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5.xml" ContentType="application/vnd.openxmlformats-officedocument.theme+xml"/>
  <Override PartName="/ppt/tags/tag2.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6.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7.xml" ContentType="application/vnd.openxmlformats-officedocument.theme+xml"/>
  <Override PartName="/ppt/tags/tag3.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4120" r:id="rId5"/>
    <p:sldMasterId id="2147484127" r:id="rId6"/>
    <p:sldMasterId id="2147484025" r:id="rId7"/>
    <p:sldMasterId id="2147484035" r:id="rId8"/>
    <p:sldMasterId id="2147484036" r:id="rId9"/>
    <p:sldMasterId id="2147483660" r:id="rId10"/>
    <p:sldMasterId id="2147484221" r:id="rId11"/>
    <p:sldMasterId id="2147484311" r:id="rId12"/>
    <p:sldMasterId id="2147484314" r:id="rId13"/>
    <p:sldMasterId id="2147484424" r:id="rId14"/>
    <p:sldMasterId id="2147484450" r:id="rId15"/>
    <p:sldMasterId id="2147484477" r:id="rId16"/>
    <p:sldMasterId id="2147484521" r:id="rId17"/>
    <p:sldMasterId id="2147484616" r:id="rId18"/>
    <p:sldMasterId id="2147484642" r:id="rId19"/>
    <p:sldMasterId id="2147484658" r:id="rId20"/>
    <p:sldMasterId id="2147484677" r:id="rId21"/>
  </p:sldMasterIdLst>
  <p:notesMasterIdLst>
    <p:notesMasterId r:id="rId36"/>
  </p:notesMasterIdLst>
  <p:sldIdLst>
    <p:sldId id="2147483204" r:id="rId22"/>
    <p:sldId id="2147483344" r:id="rId23"/>
    <p:sldId id="2147483535" r:id="rId24"/>
    <p:sldId id="2147483536" r:id="rId25"/>
    <p:sldId id="2147483547" r:id="rId26"/>
    <p:sldId id="2147483548" r:id="rId27"/>
    <p:sldId id="2147483534" r:id="rId28"/>
    <p:sldId id="2147483539" r:id="rId29"/>
    <p:sldId id="2147483540" r:id="rId30"/>
    <p:sldId id="2147483541" r:id="rId31"/>
    <p:sldId id="2147483542" r:id="rId32"/>
    <p:sldId id="2147483543" r:id="rId33"/>
    <p:sldId id="2147483544" r:id="rId34"/>
    <p:sldId id="214748236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AB7448-8B73-4F9F-AC8B-23B77E158575}">
          <p14:sldIdLst>
            <p14:sldId id="2147483204"/>
            <p14:sldId id="2147483344"/>
            <p14:sldId id="2147483535"/>
            <p14:sldId id="2147483536"/>
            <p14:sldId id="2147483547"/>
            <p14:sldId id="2147483548"/>
            <p14:sldId id="2147483534"/>
            <p14:sldId id="2147483539"/>
            <p14:sldId id="2147483540"/>
            <p14:sldId id="2147483541"/>
            <p14:sldId id="2147483542"/>
            <p14:sldId id="2147483543"/>
            <p14:sldId id="2147483544"/>
            <p14:sldId id="214748236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FF91"/>
    <a:srgbClr val="241B47"/>
    <a:srgbClr val="946F00"/>
    <a:srgbClr val="2781B3"/>
    <a:srgbClr val="2E96D0"/>
    <a:srgbClr val="00A1DA"/>
    <a:srgbClr val="9987D9"/>
    <a:srgbClr val="A8A5AE"/>
    <a:srgbClr val="EEEDEF"/>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B6CFC1-0085-DE2E-4749-D9D9C6D89711}" v="2214" dt="2024-05-09T11:08:50.320"/>
    <p1510:client id="{14162E2E-2018-CA46-8066-240E6F64E7BB}" v="1028" dt="2024-05-09T19:37:51.278"/>
    <p1510:client id="{14CBCC83-5A8E-49D8-8648-03C0DA260A1E}" vWet="6" dt="2024-05-09T13:16:49.418"/>
    <p1510:client id="{2F13DB42-7B03-C1CF-7E9F-EA7022B932D4}" v="89" dt="2024-05-09T16:31:43.602"/>
    <p1510:client id="{330E1574-23DE-4EAE-E9A1-E3AC928E2263}" v="8" dt="2024-05-09T14:43:29.906"/>
    <p1510:client id="{4B73A3BF-75E6-E563-4697-617B38E51F36}" v="35" dt="2024-05-09T15:58:24.895"/>
    <p1510:client id="{61819671-37DF-6981-A24F-1D7817491FAB}" v="89" dt="2024-05-09T03:05:55.312"/>
    <p1510:client id="{6A72DB43-1C21-476D-B5C0-BED5A26BCB8F}" v="266" dt="2024-05-09T12:38:03.102"/>
    <p1510:client id="{716B2F1E-689E-E743-A9E4-A95AC0FAE956}" v="793" dt="2024-05-09T14:59:27.137"/>
    <p1510:client id="{8386BD14-9D8F-9240-A83E-87C86FD4E414}" v="1561" dt="2024-05-09T16:39:29.538"/>
    <p1510:client id="{8E6E9953-FCE6-9E82-C974-38F9A8F52C88}" v="76" dt="2024-05-09T06:32:23.929"/>
    <p1510:client id="{9D91C7D5-C0C4-0F19-BF2D-F9A0D3ECEFE6}" v="4406" dt="2024-05-09T14:43:24.766"/>
    <p1510:client id="{A22E0AE0-2F7A-FFFE-69D9-52022E9CF4D6}" v="2570" dt="2024-05-09T16:24:32.417"/>
    <p1510:client id="{AF552F9B-D6AD-1840-AACB-2CDF769CD851}" v="230" dt="2024-05-09T20:08:47.884"/>
    <p1510:client id="{B00D6FF3-1026-E7B2-39C0-D97AA19AFD7F}" v="617" dt="2024-05-09T12:34:38.355"/>
    <p1510:client id="{B0924E1C-CBC0-5741-BC18-79A4BC114236}" v="6816" dt="2024-05-09T19:17:47.234"/>
    <p1510:client id="{D7E04BE5-3704-18C7-BBD0-41533D957449}" v="474" dt="2024-05-09T15:03:28.063"/>
    <p1510:client id="{DF1D0CEE-F66C-F802-B7F3-09503A948B8D}" v="408" dt="2024-05-09T17:32:31.235"/>
    <p1510:client id="{F940FF1D-D5CE-7BBF-C57F-0CE08A56A163}" v="3821" dt="2024-05-09T17:13:40.543"/>
    <p1510:client id="{FDA5180F-44DD-4F56-3662-4260EC7478D4}" v="20" dt="2024-05-09T10:57:48.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54" autoAdjust="0"/>
    <p:restoredTop sz="93426" autoAdjust="0"/>
  </p:normalViewPr>
  <p:slideViewPr>
    <p:cSldViewPr snapToGrid="0">
      <p:cViewPr varScale="1">
        <p:scale>
          <a:sx n="72" d="100"/>
          <a:sy n="72" d="100"/>
        </p:scale>
        <p:origin x="600" y="48"/>
      </p:cViewPr>
      <p:guideLst/>
    </p:cSldViewPr>
  </p:slideViewPr>
  <p:notesTextViewPr>
    <p:cViewPr>
      <p:scale>
        <a:sx n="1" d="1"/>
        <a:sy n="1" d="1"/>
      </p:scale>
      <p:origin x="0" y="0"/>
    </p:cViewPr>
  </p:notesTextViewPr>
  <p:sorterViewPr>
    <p:cViewPr>
      <p:scale>
        <a:sx n="100" d="100"/>
        <a:sy n="100" d="100"/>
      </p:scale>
      <p:origin x="0" y="-12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theme" Target="theme/theme1.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66EE03-F382-44AE-A7DF-ACAAC5112D4D}" type="datetimeFigureOut">
              <a:rPr lang="en-IN" smtClean="0"/>
              <a:t>28-05-2024</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2E4C54-D07B-457F-8772-F3827DEAA6AB}" type="slidenum">
              <a:rPr lang="en-IN" smtClean="0"/>
              <a:t>‹#›</a:t>
            </a:fld>
            <a:endParaRPr lang="en-IN" dirty="0"/>
          </a:p>
        </p:txBody>
      </p:sp>
    </p:spTree>
    <p:extLst>
      <p:ext uri="{BB962C8B-B14F-4D97-AF65-F5344CB8AC3E}">
        <p14:creationId xmlns:p14="http://schemas.microsoft.com/office/powerpoint/2010/main" val="3097198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3A674-1181-46DB-B553-0D8703428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3693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3A674-1181-46DB-B553-0D8703428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4722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2.png"/><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2.png"/><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 Id="rId9" Type="http://schemas.openxmlformats.org/officeDocument/2006/relationships/image" Target="../media/image28.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862AB-2610-6426-E3F4-91982EE97BB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7B32EF22-0D46-F0ED-47AB-35500C10EDA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0DE2389-2AB9-EB10-9BD4-694B036E990D}"/>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5" name="Footer Placeholder 4">
            <a:extLst>
              <a:ext uri="{FF2B5EF4-FFF2-40B4-BE49-F238E27FC236}">
                <a16:creationId xmlns:a16="http://schemas.microsoft.com/office/drawing/2014/main" id="{8B14A746-3F03-56CD-114D-7EE4D102AD8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D1E94D0E-0D58-2522-2E18-C643DEDC05AB}"/>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1595424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2E705-4F44-9613-8B09-F4402B97662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9E27B48-C295-0F76-94C5-FA14A9517E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B45E892-604F-85F4-BC82-5800037E31F8}"/>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5" name="Footer Placeholder 4">
            <a:extLst>
              <a:ext uri="{FF2B5EF4-FFF2-40B4-BE49-F238E27FC236}">
                <a16:creationId xmlns:a16="http://schemas.microsoft.com/office/drawing/2014/main" id="{80013AC7-A2EC-AC0D-4F71-2DCF8985E160}"/>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8F7CD90F-736B-C7C8-1792-64583D987B86}"/>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41132332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userDrawn="1"/>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5" y="381000"/>
            <a:ext cx="5072513" cy="5349875"/>
          </a:xfrm>
        </p:spPr>
        <p:txBody>
          <a:bodyPr lIns="0" tIns="0" rIns="457200" bIns="0"/>
          <a:lstStyle>
            <a:lvl1pPr marL="9525" indent="0">
              <a:buNone/>
              <a:tabLst/>
              <a:defRPr sz="2400" b="1" baseline="0">
                <a:solidFill>
                  <a:srgbClr val="2CC84D"/>
                </a:solidFill>
              </a:defRPr>
            </a:lvl1pPr>
            <a:lvl2pPr marL="9525" indent="0">
              <a:buNone/>
              <a:tabLst/>
              <a:defRPr sz="2400" baseline="0">
                <a:solidFill>
                  <a:schemeClr val="bg1"/>
                </a:solidFill>
              </a:defRPr>
            </a:lvl2pPr>
            <a:lvl3pPr marL="9525" indent="0">
              <a:buNone/>
              <a:tabLst/>
              <a:defRPr sz="2400" baseline="0">
                <a:solidFill>
                  <a:schemeClr val="bg1"/>
                </a:solidFill>
              </a:defRPr>
            </a:lvl3pPr>
            <a:lvl4pPr marL="9525" indent="0">
              <a:buNone/>
              <a:tabLst/>
              <a:defRPr sz="2400" baseline="0">
                <a:solidFill>
                  <a:schemeClr val="bg1"/>
                </a:solidFill>
              </a:defRPr>
            </a:lvl4pPr>
            <a:lvl5pPr marL="9525"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3128972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33360908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Brillio_Text slide_2-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524000"/>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34CB5D87-9C63-F742-8789-467D066A468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0A7CBB16-E582-0C40-AE06-BA402F61B92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cxnSp>
        <p:nvCxnSpPr>
          <p:cNvPr id="12" name="Straight Connector 11">
            <a:extLst>
              <a:ext uri="{FF2B5EF4-FFF2-40B4-BE49-F238E27FC236}">
                <a16:creationId xmlns:a16="http://schemas.microsoft.com/office/drawing/2014/main" id="{ECA16358-F534-8F44-9052-ED8F6243B021}"/>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05134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Brillio_Text slide_2-Column: 1/3, 2/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755269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0CB1FD68-14F9-FE47-BF6A-F5E2D40B20D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F00C1D94-4F81-1546-B652-53D50C45A20D}"/>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cxnSp>
        <p:nvCxnSpPr>
          <p:cNvPr id="12" name="Straight Connector 11">
            <a:extLst>
              <a:ext uri="{FF2B5EF4-FFF2-40B4-BE49-F238E27FC236}">
                <a16:creationId xmlns:a16="http://schemas.microsoft.com/office/drawing/2014/main" id="{E086B0DF-D1AA-9E44-A17A-5AC6AEECFE14}"/>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719640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Brillio_Text slide_2-Column: 2/3, 1/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753364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143874" y="1524000"/>
            <a:ext cx="368236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7248002A-364A-3C41-B621-7CFA698732E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D7B71F9E-FFDF-D64D-A048-B3B4C35F9B23}"/>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cxnSp>
        <p:nvCxnSpPr>
          <p:cNvPr id="12" name="Straight Connector 11">
            <a:extLst>
              <a:ext uri="{FF2B5EF4-FFF2-40B4-BE49-F238E27FC236}">
                <a16:creationId xmlns:a16="http://schemas.microsoft.com/office/drawing/2014/main" id="{99C4DDD6-1D90-E948-A659-5FF6322AFAB6}"/>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62599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Brillio_Text slide_3-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59" y="1524000"/>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168640" y="1524000"/>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icon&#10;&#10;Description automatically generated">
            <a:extLst>
              <a:ext uri="{FF2B5EF4-FFF2-40B4-BE49-F238E27FC236}">
                <a16:creationId xmlns:a16="http://schemas.microsoft.com/office/drawing/2014/main" id="{888F6ED4-3138-304A-80F6-0C7849857F3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31DBF3D1-5D71-B84B-930F-EE2A488D3BA4}"/>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cxnSp>
        <p:nvCxnSpPr>
          <p:cNvPr id="13" name="Straight Connector 12">
            <a:extLst>
              <a:ext uri="{FF2B5EF4-FFF2-40B4-BE49-F238E27FC236}">
                <a16:creationId xmlns:a16="http://schemas.microsoft.com/office/drawing/2014/main" id="{91663619-FBBC-D442-AFAB-520DE097918D}"/>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9ADF1C-4CF6-2541-995D-FB35856D1159}"/>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214940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Brillio_Text slide_4-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29184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621792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914400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icon&#10;&#10;Description automatically generated">
            <a:extLst>
              <a:ext uri="{FF2B5EF4-FFF2-40B4-BE49-F238E27FC236}">
                <a16:creationId xmlns:a16="http://schemas.microsoft.com/office/drawing/2014/main" id="{A740E73F-1776-4C42-ABED-B51FA3ADEF8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2" name="Slide Number Placeholder 10">
            <a:extLst>
              <a:ext uri="{FF2B5EF4-FFF2-40B4-BE49-F238E27FC236}">
                <a16:creationId xmlns:a16="http://schemas.microsoft.com/office/drawing/2014/main" id="{79DFD098-5171-5747-8B63-78DD1B299910}"/>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cxnSp>
        <p:nvCxnSpPr>
          <p:cNvPr id="13" name="Straight Connector 12">
            <a:extLst>
              <a:ext uri="{FF2B5EF4-FFF2-40B4-BE49-F238E27FC236}">
                <a16:creationId xmlns:a16="http://schemas.microsoft.com/office/drawing/2014/main" id="{8E7C3C1B-E5B5-2548-84A8-5032EB1432DE}"/>
              </a:ext>
            </a:extLst>
          </p:cNvPr>
          <p:cNvCxnSpPr/>
          <p:nvPr userDrawn="1"/>
        </p:nvCxnSpPr>
        <p:spPr>
          <a:xfrm>
            <a:off x="317913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7CE440-FE24-9147-8F23-C62C05699004}"/>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97C0AC-8F24-1D4A-8770-9249F659CD0F}"/>
              </a:ext>
            </a:extLst>
          </p:cNvPr>
          <p:cNvCxnSpPr/>
          <p:nvPr userDrawn="1"/>
        </p:nvCxnSpPr>
        <p:spPr>
          <a:xfrm>
            <a:off x="903058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90628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Brillio_Title only slide-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D65055FB-54FD-674A-AD0A-92E1D45B08F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8" name="Slide Number Placeholder 10">
            <a:extLst>
              <a:ext uri="{FF2B5EF4-FFF2-40B4-BE49-F238E27FC236}">
                <a16:creationId xmlns:a16="http://schemas.microsoft.com/office/drawing/2014/main" id="{1FB6BB63-B093-E847-B4B0-0ECF800ADF8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
        <p:nvSpPr>
          <p:cNvPr id="3" name="TextBox 2">
            <a:extLst>
              <a:ext uri="{FF2B5EF4-FFF2-40B4-BE49-F238E27FC236}">
                <a16:creationId xmlns:a16="http://schemas.microsoft.com/office/drawing/2014/main" id="{70A4EFCC-CB3E-CC1B-53FC-2BC63A6713A2}"/>
              </a:ext>
            </a:extLst>
          </p:cNvPr>
          <p:cNvSpPr txBox="1"/>
          <p:nvPr userDrawn="1"/>
        </p:nvSpPr>
        <p:spPr>
          <a:xfrm>
            <a:off x="4997726" y="6577839"/>
            <a:ext cx="2196548" cy="246221"/>
          </a:xfrm>
          <a:prstGeom prst="rect">
            <a:avLst/>
          </a:prstGeom>
          <a:noFill/>
        </p:spPr>
        <p:txBody>
          <a:bodyPr wrap="square" rtlCol="0">
            <a:spAutoFit/>
          </a:bodyPr>
          <a:lstStyle/>
          <a:p>
            <a:pPr algn="ctr"/>
            <a:r>
              <a:rPr lang="en-US" sz="1000" b="0" i="0" baseline="0" dirty="0">
                <a:solidFill>
                  <a:schemeClr val="tx1"/>
                </a:solidFill>
                <a:latin typeface="Arial" panose="020B0604020202020204" pitchFamily="34" charset="0"/>
                <a:cs typeface="Arial" panose="020B0604020202020204" pitchFamily="34" charset="0"/>
              </a:rPr>
              <a:t>Proprietary &amp; Confidential</a:t>
            </a:r>
            <a:endParaRPr lang="en-GB" sz="1000" dirty="0">
              <a:solidFill>
                <a:schemeClr val="tx1"/>
              </a:solidFill>
            </a:endParaRPr>
          </a:p>
        </p:txBody>
      </p:sp>
    </p:spTree>
    <p:extLst>
      <p:ext uri="{BB962C8B-B14F-4D97-AF65-F5344CB8AC3E}">
        <p14:creationId xmlns:p14="http://schemas.microsoft.com/office/powerpoint/2010/main" val="7376361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rillio_Blank slide-Light">
    <p:spTree>
      <p:nvGrpSpPr>
        <p:cNvPr id="1" name=""/>
        <p:cNvGrpSpPr/>
        <p:nvPr/>
      </p:nvGrpSpPr>
      <p:grpSpPr>
        <a:xfrm>
          <a:off x="0" y="0"/>
          <a:ext cx="0" cy="0"/>
          <a:chOff x="0" y="0"/>
          <a:chExt cx="0" cy="0"/>
        </a:xfrm>
      </p:grpSpPr>
      <p:sp>
        <p:nvSpPr>
          <p:cNvPr id="10" name="Slide Number Placeholder 10">
            <a:extLst>
              <a:ext uri="{FF2B5EF4-FFF2-40B4-BE49-F238E27FC236}">
                <a16:creationId xmlns:a16="http://schemas.microsoft.com/office/drawing/2014/main" id="{1E7815C5-F1A2-E14B-9035-9705ECE1E375}"/>
              </a:ext>
            </a:extLst>
          </p:cNvPr>
          <p:cNvSpPr>
            <a:spLocks noGrp="1"/>
          </p:cNvSpPr>
          <p:nvPr>
            <p:ph type="sldNum" sz="quarter" idx="4"/>
          </p:nvPr>
        </p:nvSpPr>
        <p:spPr>
          <a:xfrm>
            <a:off x="9924521" y="6473858"/>
            <a:ext cx="1969451" cy="259715"/>
          </a:xfrm>
          <a:prstGeom prst="rect">
            <a:avLst/>
          </a:prstGeom>
        </p:spPr>
        <p:txBody>
          <a:bodyPr vert="horz" lIns="0" tIns="0" rIns="0" bIns="0" rtlCol="0" anchor="b"/>
          <a:lstStyle>
            <a:lvl1pPr algn="r">
              <a:defRPr lang="en-US" sz="1000" b="0" i="0" kern="1200" smtClean="0">
                <a:solidFill>
                  <a:schemeClr val="bg1">
                    <a:lumMod val="75000"/>
                  </a:schemeClr>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dirty="0"/>
          </a:p>
        </p:txBody>
      </p:sp>
      <p:sp>
        <p:nvSpPr>
          <p:cNvPr id="3" name="TextBox 2">
            <a:extLst>
              <a:ext uri="{FF2B5EF4-FFF2-40B4-BE49-F238E27FC236}">
                <a16:creationId xmlns:a16="http://schemas.microsoft.com/office/drawing/2014/main" id="{34235BED-8776-8EC3-7A70-BDD528FAE966}"/>
              </a:ext>
            </a:extLst>
          </p:cNvPr>
          <p:cNvSpPr txBox="1"/>
          <p:nvPr userDrawn="1"/>
        </p:nvSpPr>
        <p:spPr>
          <a:xfrm>
            <a:off x="3857763" y="6519006"/>
            <a:ext cx="4476474" cy="246221"/>
          </a:xfrm>
          <a:prstGeom prst="rect">
            <a:avLst/>
          </a:prstGeom>
          <a:noFill/>
        </p:spPr>
        <p:txBody>
          <a:bodyPr wrap="square" rtlCol="0">
            <a:spAutoFit/>
          </a:bodyPr>
          <a:lstStyle/>
          <a:p>
            <a:pPr algn="ctr"/>
            <a:r>
              <a:rPr lang="en-US" sz="1000" b="0" i="0" baseline="0" dirty="0">
                <a:solidFill>
                  <a:schemeClr val="bg1">
                    <a:lumMod val="75000"/>
                  </a:schemeClr>
                </a:solidFill>
                <a:latin typeface="Arial" panose="020B0604020202020204" pitchFamily="34" charset="0"/>
                <a:cs typeface="Arial" panose="020B0604020202020204" pitchFamily="34" charset="0"/>
              </a:rPr>
              <a:t>Brillio, LLC – 2999 Olympus Boulevard, Suite 275, Coppell, TX 75019</a:t>
            </a:r>
            <a:endParaRPr lang="en-GB" sz="1000" dirty="0">
              <a:solidFill>
                <a:schemeClr val="bg1">
                  <a:lumMod val="75000"/>
                </a:schemeClr>
              </a:solidFill>
            </a:endParaRPr>
          </a:p>
        </p:txBody>
      </p:sp>
      <p:pic>
        <p:nvPicPr>
          <p:cNvPr id="4" name="Picture 3" descr="A picture containing icon&#10;&#10;Description automatically generated">
            <a:extLst>
              <a:ext uri="{FF2B5EF4-FFF2-40B4-BE49-F238E27FC236}">
                <a16:creationId xmlns:a16="http://schemas.microsoft.com/office/drawing/2014/main" id="{17069E65-2083-2D7E-6A39-F57FA8EC4A2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5293" y="254284"/>
            <a:ext cx="1130946" cy="477754"/>
          </a:xfrm>
          <a:prstGeom prst="rect">
            <a:avLst/>
          </a:prstGeom>
        </p:spPr>
      </p:pic>
    </p:spTree>
    <p:extLst>
      <p:ext uri="{BB962C8B-B14F-4D97-AF65-F5344CB8AC3E}">
        <p14:creationId xmlns:p14="http://schemas.microsoft.com/office/powerpoint/2010/main" val="415763129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r>
              <a:rPr lang="en-GB" dirty="0"/>
              <a:t>©2024 Brillio  |  </a:t>
            </a:r>
            <a:fld id="{F1FE5E21-FD07-B44E-90A3-0254BFCDB49A}" type="slidenum">
              <a:rPr smtClean="0"/>
              <a:pPr/>
              <a:t>‹#›</a:t>
            </a:fld>
            <a:endParaRPr dirty="0"/>
          </a:p>
        </p:txBody>
      </p:sp>
    </p:spTree>
    <p:extLst>
      <p:ext uri="{BB962C8B-B14F-4D97-AF65-F5344CB8AC3E}">
        <p14:creationId xmlns:p14="http://schemas.microsoft.com/office/powerpoint/2010/main" val="2476067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8748C3-EA09-486F-B0CF-D57E33F62A8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A387ABC-0FF5-533E-A0FC-80EBAC87FDF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AA5C1A6-338E-4E1D-6484-54E4158387F4}"/>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5" name="Footer Placeholder 4">
            <a:extLst>
              <a:ext uri="{FF2B5EF4-FFF2-40B4-BE49-F238E27FC236}">
                <a16:creationId xmlns:a16="http://schemas.microsoft.com/office/drawing/2014/main" id="{A599888E-6CDD-358A-86C2-335389E1AD30}"/>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B568F36F-92BC-FF95-5CC6-771C1FE56C29}"/>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3942577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9964888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22614866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40338393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42577462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24 Brillio  |  Proprietary &amp; Confidential</a:t>
            </a: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3E432CD9-60B9-3941-911B-9FA5BE7699A8}"/>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F765B9A9-31B8-0946-A4CC-EA25A13335AA}"/>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AC1162D4-E146-184F-8135-FEA0B95A01A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041980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a:prstGeom prst="rect">
            <a:avLst/>
          </a:prstGeom>
        </p:spPr>
        <p:txBody>
          <a:bodyPr/>
          <a:lstStyle/>
          <a:p>
            <a:r>
              <a:rPr lang="en-US" dirty="0"/>
              <a:t>©2024 Brillio  |  </a:t>
            </a:r>
            <a:fld id="{F1FE5E21-FD07-B44E-90A3-0254BFCDB49A}" type="slidenum">
              <a:rPr smtClean="0"/>
              <a:pPr/>
              <a:t>‹#›</a:t>
            </a:fld>
            <a:endParaRPr dirty="0"/>
          </a:p>
        </p:txBody>
      </p:sp>
    </p:spTree>
    <p:extLst>
      <p:ext uri="{BB962C8B-B14F-4D97-AF65-F5344CB8AC3E}">
        <p14:creationId xmlns:p14="http://schemas.microsoft.com/office/powerpoint/2010/main" val="24181978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10589899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Brillio_Title only slide-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A picture containing icon&#10;&#10;Description automatically generated">
            <a:extLst>
              <a:ext uri="{FF2B5EF4-FFF2-40B4-BE49-F238E27FC236}">
                <a16:creationId xmlns:a16="http://schemas.microsoft.com/office/drawing/2014/main" id="{49AC0BA3-8CAC-BC8F-76E1-17BEAF95E3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2272" y="6416238"/>
            <a:ext cx="722128" cy="305054"/>
          </a:xfrm>
          <a:prstGeom prst="rect">
            <a:avLst/>
          </a:prstGeom>
        </p:spPr>
      </p:pic>
      <p:sp>
        <p:nvSpPr>
          <p:cNvPr id="4" name="Slide Number Placeholder 10">
            <a:extLst>
              <a:ext uri="{FF2B5EF4-FFF2-40B4-BE49-F238E27FC236}">
                <a16:creationId xmlns:a16="http://schemas.microsoft.com/office/drawing/2014/main" id="{B3B7F560-7CD2-5497-F767-7F46B66F0409}"/>
              </a:ext>
            </a:extLst>
          </p:cNvPr>
          <p:cNvSpPr txBox="1">
            <a:spLocks/>
          </p:cNvSpPr>
          <p:nvPr userDrawn="1"/>
        </p:nvSpPr>
        <p:spPr>
          <a:xfrm>
            <a:off x="9856790" y="6398287"/>
            <a:ext cx="1969450" cy="259715"/>
          </a:xfrm>
          <a:prstGeom prst="rect">
            <a:avLst/>
          </a:prstGeom>
        </p:spPr>
        <p:txBody>
          <a:bodyPr vert="horz" lIns="0" tIns="0" rIns="0" bIns="0" rtlCol="0" anchor="b"/>
          <a:lstStyle>
            <a:defPPr>
              <a:defRPr lang="en-US"/>
            </a:defPPr>
            <a:lvl1pPr marL="0" algn="r" defTabSz="914400"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2024 Brillio  |  </a:t>
            </a:r>
            <a:fld id="{F1FE5E21-FD07-B44E-90A3-0254BFCDB49A}" type="slidenum">
              <a:rPr smtClean="0"/>
              <a:pPr/>
              <a:t>‹#›</a:t>
            </a:fld>
            <a:endParaRPr dirty="0"/>
          </a:p>
        </p:txBody>
      </p:sp>
      <p:sp>
        <p:nvSpPr>
          <p:cNvPr id="5" name="TextBox 4">
            <a:extLst>
              <a:ext uri="{FF2B5EF4-FFF2-40B4-BE49-F238E27FC236}">
                <a16:creationId xmlns:a16="http://schemas.microsoft.com/office/drawing/2014/main" id="{665470EC-4047-C9AC-A339-A71619D19F24}"/>
              </a:ext>
            </a:extLst>
          </p:cNvPr>
          <p:cNvSpPr txBox="1"/>
          <p:nvPr userDrawn="1"/>
        </p:nvSpPr>
        <p:spPr>
          <a:xfrm>
            <a:off x="4997726" y="6577839"/>
            <a:ext cx="2196548" cy="246221"/>
          </a:xfrm>
          <a:prstGeom prst="rect">
            <a:avLst/>
          </a:prstGeom>
          <a:noFill/>
        </p:spPr>
        <p:txBody>
          <a:bodyPr wrap="square" rtlCol="0">
            <a:spAutoFit/>
          </a:bodyPr>
          <a:lstStyle/>
          <a:p>
            <a:pPr algn="ctr"/>
            <a:r>
              <a:rPr lang="en-US" sz="1000" b="0" i="0" baseline="0" dirty="0">
                <a:solidFill>
                  <a:schemeClr val="tx1"/>
                </a:solidFill>
                <a:latin typeface="Arial" panose="020B0604020202020204" pitchFamily="34" charset="0"/>
                <a:cs typeface="Arial" panose="020B0604020202020204" pitchFamily="34" charset="0"/>
              </a:rPr>
              <a:t>Proprietary &amp; Confidential</a:t>
            </a:r>
            <a:endParaRPr lang="en-GB" sz="1000" dirty="0">
              <a:solidFill>
                <a:schemeClr val="tx1"/>
              </a:solidFill>
            </a:endParaRPr>
          </a:p>
        </p:txBody>
      </p:sp>
    </p:spTree>
    <p:extLst>
      <p:ext uri="{BB962C8B-B14F-4D97-AF65-F5344CB8AC3E}">
        <p14:creationId xmlns:p14="http://schemas.microsoft.com/office/powerpoint/2010/main" val="33373395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rillio_Blank slide-Light">
    <p:spTree>
      <p:nvGrpSpPr>
        <p:cNvPr id="1" name=""/>
        <p:cNvGrpSpPr/>
        <p:nvPr/>
      </p:nvGrpSpPr>
      <p:grpSpPr>
        <a:xfrm>
          <a:off x="0" y="0"/>
          <a:ext cx="0" cy="0"/>
          <a:chOff x="0" y="0"/>
          <a:chExt cx="0" cy="0"/>
        </a:xfrm>
      </p:grpSpPr>
      <p:pic>
        <p:nvPicPr>
          <p:cNvPr id="2" name="Picture 1" descr="A picture containing icon&#10;&#10;Description automatically generated">
            <a:extLst>
              <a:ext uri="{FF2B5EF4-FFF2-40B4-BE49-F238E27FC236}">
                <a16:creationId xmlns:a16="http://schemas.microsoft.com/office/drawing/2014/main" id="{26075987-31FE-4351-7786-A56CCC4FDF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2272" y="6416238"/>
            <a:ext cx="722128" cy="305054"/>
          </a:xfrm>
          <a:prstGeom prst="rect">
            <a:avLst/>
          </a:prstGeom>
        </p:spPr>
      </p:pic>
      <p:sp>
        <p:nvSpPr>
          <p:cNvPr id="3" name="Slide Number Placeholder 10">
            <a:extLst>
              <a:ext uri="{FF2B5EF4-FFF2-40B4-BE49-F238E27FC236}">
                <a16:creationId xmlns:a16="http://schemas.microsoft.com/office/drawing/2014/main" id="{4C1F2CE8-0AA2-6A0F-26B3-7F1B22B26E22}"/>
              </a:ext>
            </a:extLst>
          </p:cNvPr>
          <p:cNvSpPr>
            <a:spLocks noGrp="1"/>
          </p:cNvSpPr>
          <p:nvPr>
            <p:ph type="sldNum" sz="quarter" idx="4"/>
          </p:nvPr>
        </p:nvSpPr>
        <p:spPr>
          <a:xfrm>
            <a:off x="9856790" y="6398287"/>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
        <p:nvSpPr>
          <p:cNvPr id="4" name="TextBox 3">
            <a:extLst>
              <a:ext uri="{FF2B5EF4-FFF2-40B4-BE49-F238E27FC236}">
                <a16:creationId xmlns:a16="http://schemas.microsoft.com/office/drawing/2014/main" id="{36F5DD0D-4AD8-C0A3-5952-256A2C5041BC}"/>
              </a:ext>
            </a:extLst>
          </p:cNvPr>
          <p:cNvSpPr txBox="1"/>
          <p:nvPr userDrawn="1"/>
        </p:nvSpPr>
        <p:spPr>
          <a:xfrm>
            <a:off x="4997726" y="6577839"/>
            <a:ext cx="2196548" cy="246221"/>
          </a:xfrm>
          <a:prstGeom prst="rect">
            <a:avLst/>
          </a:prstGeom>
          <a:noFill/>
        </p:spPr>
        <p:txBody>
          <a:bodyPr wrap="square" rtlCol="0">
            <a:spAutoFit/>
          </a:bodyPr>
          <a:lstStyle/>
          <a:p>
            <a:pPr algn="ctr"/>
            <a:r>
              <a:rPr lang="en-US" sz="1000" b="0" i="0" baseline="0" dirty="0">
                <a:solidFill>
                  <a:schemeClr val="tx1"/>
                </a:solidFill>
                <a:latin typeface="Arial" panose="020B0604020202020204" pitchFamily="34" charset="0"/>
                <a:cs typeface="Arial" panose="020B0604020202020204" pitchFamily="34" charset="0"/>
              </a:rPr>
              <a:t>Proprietary &amp; Confidential</a:t>
            </a:r>
            <a:endParaRPr lang="en-GB" sz="1000" dirty="0">
              <a:solidFill>
                <a:schemeClr val="tx1"/>
              </a:solidFill>
            </a:endParaRPr>
          </a:p>
        </p:txBody>
      </p:sp>
    </p:spTree>
    <p:extLst>
      <p:ext uri="{BB962C8B-B14F-4D97-AF65-F5344CB8AC3E}">
        <p14:creationId xmlns:p14="http://schemas.microsoft.com/office/powerpoint/2010/main" val="7907224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9111546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5759" y="2276856"/>
            <a:ext cx="6202309" cy="2218944"/>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65760" y="4654296"/>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65759" y="5071605"/>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dirty="0"/>
          </a:p>
        </p:txBody>
      </p:sp>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bg1"/>
                </a:solidFill>
                <a:latin typeface="Arial" panose="020B0604020202020204" pitchFamily="34" charset="0"/>
                <a:cs typeface="Arial" panose="020B0604020202020204" pitchFamily="34" charset="0"/>
              </a:rPr>
              <a:t>©2024</a:t>
            </a:r>
            <a:r>
              <a:rPr lang="en-US" sz="1000" b="0" i="0" baseline="0" dirty="0">
                <a:solidFill>
                  <a:schemeClr val="bg1"/>
                </a:solidFill>
                <a:latin typeface="Arial" panose="020B0604020202020204" pitchFamily="34" charset="0"/>
                <a:cs typeface="Arial" panose="020B0604020202020204" pitchFamily="34" charset="0"/>
              </a:rPr>
              <a:t> Brillio  |  Proprietary &amp; Confidential</a:t>
            </a:r>
            <a:endParaRPr lang="en-US" sz="1000" b="0" i="0" dirty="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691640" cy="716956"/>
          </a:xfrm>
          <a:prstGeom prst="rect">
            <a:avLst/>
          </a:prstGeom>
        </p:spPr>
      </p:pic>
    </p:spTree>
    <p:extLst>
      <p:ext uri="{BB962C8B-B14F-4D97-AF65-F5344CB8AC3E}">
        <p14:creationId xmlns:p14="http://schemas.microsoft.com/office/powerpoint/2010/main" val="35034734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4" name="Slide Number Placeholder 10">
            <a:extLst>
              <a:ext uri="{FF2B5EF4-FFF2-40B4-BE49-F238E27FC236}">
                <a16:creationId xmlns:a16="http://schemas.microsoft.com/office/drawing/2014/main" id="{8DB9478D-CE69-6CD6-F4BB-AD54EC11B708}"/>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15799115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6765341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9095461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userDrawn="1"/>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latin typeface="Arial" panose="020B0604020202020204" pitchFamily="34" charset="0"/>
            </a:endParaRP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lang="en-US" smtClean="0"/>
              <a:pPr/>
              <a:t>‹#›</a:t>
            </a:fld>
            <a:endParaRPr lang="en-US" dirty="0"/>
          </a:p>
        </p:txBody>
      </p:sp>
    </p:spTree>
    <p:extLst>
      <p:ext uri="{BB962C8B-B14F-4D97-AF65-F5344CB8AC3E}">
        <p14:creationId xmlns:p14="http://schemas.microsoft.com/office/powerpoint/2010/main" val="34991011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bg1"/>
                </a:solidFill>
                <a:latin typeface="Century Gothic" panose="020B0502020202020204" pitchFamily="34" charset="0"/>
                <a:cs typeface="Arial" panose="020B0604020202020204" pitchFamily="34" charset="0"/>
              </a:rPr>
              <a:t>©2024</a:t>
            </a:r>
            <a:r>
              <a:rPr lang="en-US" sz="1000" b="0" i="0" baseline="0" dirty="0">
                <a:solidFill>
                  <a:schemeClr val="bg1"/>
                </a:solidFill>
                <a:latin typeface="Century Gothic" panose="020B0502020202020204" pitchFamily="34" charset="0"/>
                <a:cs typeface="Arial" panose="020B0604020202020204" pitchFamily="34" charset="0"/>
              </a:rPr>
              <a:t> Brillio  |  Proprietary &amp; Confidential</a:t>
            </a:r>
            <a:endParaRPr lang="en-US" sz="1000" b="0" i="0" dirty="0">
              <a:solidFill>
                <a:schemeClr val="bg1"/>
              </a:solidFill>
              <a:latin typeface="Century Gothic" panose="020B0502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Century Gothic" panose="020B0502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Century Gothic" panose="020B0502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Century Gothic" panose="020B0502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1690036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DC904-BCB9-4A12-9029-E01389BC8E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A04E916-9456-4F49-B394-DB98ADAABC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5E78C43-15BB-4739-B097-C9E3CAEF82EF}"/>
              </a:ext>
            </a:extLst>
          </p:cNvPr>
          <p:cNvSpPr>
            <a:spLocks noGrp="1"/>
          </p:cNvSpPr>
          <p:nvPr>
            <p:ph type="dt" sz="half" idx="10"/>
          </p:nvPr>
        </p:nvSpPr>
        <p:spPr/>
        <p:txBody>
          <a:bodyPr/>
          <a:lstStyle/>
          <a:p>
            <a:fld id="{8794912B-66CF-4AD2-9CFD-BB211F765675}" type="datetimeFigureOut">
              <a:rPr lang="en-IN" smtClean="0"/>
              <a:t>28-05-2024</a:t>
            </a:fld>
            <a:endParaRPr lang="en-IN" dirty="0"/>
          </a:p>
        </p:txBody>
      </p:sp>
      <p:sp>
        <p:nvSpPr>
          <p:cNvPr id="5" name="Footer Placeholder 4">
            <a:extLst>
              <a:ext uri="{FF2B5EF4-FFF2-40B4-BE49-F238E27FC236}">
                <a16:creationId xmlns:a16="http://schemas.microsoft.com/office/drawing/2014/main" id="{93022BCE-483D-4668-8DB0-FC3DABE5EE43}"/>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20DD253-9AA5-41EC-A770-1D5407294FB4}"/>
              </a:ext>
            </a:extLst>
          </p:cNvPr>
          <p:cNvSpPr>
            <a:spLocks noGrp="1"/>
          </p:cNvSpPr>
          <p:nvPr>
            <p:ph type="sldNum" sz="quarter" idx="12"/>
          </p:nvPr>
        </p:nvSpPr>
        <p:spPr/>
        <p:txBody>
          <a:bodyPr/>
          <a:lstStyle/>
          <a:p>
            <a:fld id="{4DD17E84-E13D-4482-AA85-2C342145E9D3}" type="slidenum">
              <a:rPr lang="en-IN" smtClean="0"/>
              <a:t>‹#›</a:t>
            </a:fld>
            <a:endParaRPr lang="en-IN" dirty="0"/>
          </a:p>
        </p:txBody>
      </p:sp>
    </p:spTree>
    <p:extLst>
      <p:ext uri="{BB962C8B-B14F-4D97-AF65-F5344CB8AC3E}">
        <p14:creationId xmlns:p14="http://schemas.microsoft.com/office/powerpoint/2010/main" val="3874731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77995-27D5-28AC-36E5-280398A1F90E}"/>
              </a:ext>
            </a:extLst>
          </p:cNvPr>
          <p:cNvSpPr>
            <a:spLocks noGrp="1"/>
          </p:cNvSpPr>
          <p:nvPr>
            <p:ph type="title"/>
          </p:nvPr>
        </p:nvSpPr>
        <p:spPr>
          <a:xfrm>
            <a:off x="365760" y="365125"/>
            <a:ext cx="11460480" cy="9144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1D24F8EB-B09F-482C-5DB0-E9267C437F42}"/>
              </a:ext>
            </a:extLst>
          </p:cNvPr>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A picture containing icon&#10;&#10;Description automatically generated">
            <a:extLst>
              <a:ext uri="{FF2B5EF4-FFF2-40B4-BE49-F238E27FC236}">
                <a16:creationId xmlns:a16="http://schemas.microsoft.com/office/drawing/2014/main" id="{CEDC1D9B-30A2-8824-A593-511F2F7E5E5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0">
            <a:extLst>
              <a:ext uri="{FF2B5EF4-FFF2-40B4-BE49-F238E27FC236}">
                <a16:creationId xmlns:a16="http://schemas.microsoft.com/office/drawing/2014/main" id="{67B661A1-D4D5-DFEF-A315-A5C51C67E79C}"/>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298034697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userDrawn="1"/>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5" y="381000"/>
            <a:ext cx="5072513" cy="5349875"/>
          </a:xfrm>
        </p:spPr>
        <p:txBody>
          <a:bodyPr lIns="0" tIns="0" rIns="457200" bIns="0"/>
          <a:lstStyle>
            <a:lvl1pPr marL="9525" indent="0">
              <a:buNone/>
              <a:tabLst/>
              <a:defRPr sz="2400" b="1" baseline="0">
                <a:solidFill>
                  <a:srgbClr val="2CC84D"/>
                </a:solidFill>
              </a:defRPr>
            </a:lvl1pPr>
            <a:lvl2pPr marL="9525" indent="0">
              <a:buNone/>
              <a:tabLst/>
              <a:defRPr sz="2400" baseline="0">
                <a:solidFill>
                  <a:schemeClr val="bg1"/>
                </a:solidFill>
              </a:defRPr>
            </a:lvl2pPr>
            <a:lvl3pPr marL="9525" indent="0">
              <a:buNone/>
              <a:tabLst/>
              <a:defRPr sz="2400" baseline="0">
                <a:solidFill>
                  <a:schemeClr val="bg1"/>
                </a:solidFill>
              </a:defRPr>
            </a:lvl3pPr>
            <a:lvl4pPr marL="9525" indent="0">
              <a:buNone/>
              <a:tabLst/>
              <a:defRPr sz="2400" baseline="0">
                <a:solidFill>
                  <a:schemeClr val="bg1"/>
                </a:solidFill>
              </a:defRPr>
            </a:lvl4pPr>
            <a:lvl5pPr marL="9525"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IN"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18108607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rillio_Text slide_2-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9" name="Picture 8" descr="A picture containing icon&#10;&#10;Description automatically generated">
            <a:extLst>
              <a:ext uri="{FF2B5EF4-FFF2-40B4-BE49-F238E27FC236}">
                <a16:creationId xmlns:a16="http://schemas.microsoft.com/office/drawing/2014/main" id="{34CB5D87-9C63-F742-8789-467D066A468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cxnSp>
        <p:nvCxnSpPr>
          <p:cNvPr id="12" name="Straight Connector 11">
            <a:extLst>
              <a:ext uri="{FF2B5EF4-FFF2-40B4-BE49-F238E27FC236}">
                <a16:creationId xmlns:a16="http://schemas.microsoft.com/office/drawing/2014/main" id="{ECA16358-F534-8F44-9052-ED8F6243B021}"/>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Footer Placeholder 8">
            <a:extLst>
              <a:ext uri="{FF2B5EF4-FFF2-40B4-BE49-F238E27FC236}">
                <a16:creationId xmlns:a16="http://schemas.microsoft.com/office/drawing/2014/main" id="{2128BA3C-2C1B-A3DB-569D-3A28D62DE45F}"/>
              </a:ext>
            </a:extLst>
          </p:cNvPr>
          <p:cNvSpPr txBox="1">
            <a:spLocks/>
          </p:cNvSpPr>
          <p:nvPr userDrawn="1"/>
        </p:nvSpPr>
        <p:spPr>
          <a:xfrm>
            <a:off x="9768813" y="6327648"/>
            <a:ext cx="1706880" cy="207264"/>
          </a:xfrm>
          <a:prstGeom prst="rect">
            <a:avLst/>
          </a:prstGeom>
        </p:spPr>
        <p:txBody>
          <a:bodyPr vert="horz" lIns="0" tIns="0" rIns="0" bIns="0" rtlCol="0" anchor="ctr"/>
          <a:lstStyle>
            <a:defPPr>
              <a:defRPr lang="en-US"/>
            </a:defPPr>
            <a:lvl1pPr marL="0" algn="r" defTabSz="609570" rtl="0" eaLnBrk="1" latinLnBrk="0" hangingPunct="1">
              <a:defRPr sz="1067" kern="1200" baseline="0">
                <a:solidFill>
                  <a:schemeClr val="tx2"/>
                </a:solidFill>
                <a:latin typeface="Calibri" panose="020F0502020204030204" pitchFamily="34" charset="0"/>
                <a:ea typeface="+mn-ea"/>
                <a:cs typeface="Arial" panose="020B0604020202020204" pitchFamily="34" charset="0"/>
              </a:defRPr>
            </a:lvl1pPr>
            <a:lvl2pPr marL="0" indent="0" algn="l" defTabSz="609570" rtl="0" eaLnBrk="1" latinLnBrk="0" hangingPunct="1">
              <a:defRPr sz="1000" kern="1200">
                <a:solidFill>
                  <a:schemeClr val="tx1"/>
                </a:solidFill>
                <a:latin typeface="+mn-lt"/>
                <a:ea typeface="+mn-ea"/>
                <a:cs typeface="+mn-cs"/>
              </a:defRPr>
            </a:lvl2pPr>
            <a:lvl3pPr marL="0" indent="0" algn="l" defTabSz="609570" rtl="0" eaLnBrk="1" latinLnBrk="0" hangingPunct="1">
              <a:defRPr sz="1000" kern="1200">
                <a:solidFill>
                  <a:schemeClr val="tx1"/>
                </a:solidFill>
                <a:latin typeface="+mn-lt"/>
                <a:ea typeface="+mn-ea"/>
                <a:cs typeface="+mn-cs"/>
              </a:defRPr>
            </a:lvl3pPr>
            <a:lvl4pPr marL="0" indent="0" algn="l" defTabSz="609570" rtl="0" eaLnBrk="1" latinLnBrk="0" hangingPunct="1">
              <a:defRPr sz="1000" kern="1200">
                <a:solidFill>
                  <a:schemeClr val="tx1"/>
                </a:solidFill>
                <a:latin typeface="+mn-lt"/>
                <a:ea typeface="+mn-ea"/>
                <a:cs typeface="+mn-cs"/>
              </a:defRPr>
            </a:lvl4pPr>
            <a:lvl5pPr marL="0" indent="0" algn="l" defTabSz="609570" rtl="0" eaLnBrk="1" latinLnBrk="0" hangingPunct="1">
              <a:defRPr sz="1000" kern="1200">
                <a:solidFill>
                  <a:schemeClr val="tx1"/>
                </a:solidFill>
                <a:latin typeface="+mn-lt"/>
                <a:ea typeface="+mn-ea"/>
                <a:cs typeface="+mn-cs"/>
              </a:defRPr>
            </a:lvl5pPr>
            <a:lvl6pPr marL="0" indent="0" algn="l" defTabSz="609570" rtl="0" eaLnBrk="1" latinLnBrk="0" hangingPunct="1">
              <a:defRPr sz="1000" kern="1200">
                <a:solidFill>
                  <a:schemeClr val="tx1"/>
                </a:solidFill>
                <a:latin typeface="+mn-lt"/>
                <a:ea typeface="+mn-ea"/>
                <a:cs typeface="+mn-cs"/>
              </a:defRPr>
            </a:lvl6pPr>
            <a:lvl7pPr marL="0" indent="0" algn="l" defTabSz="609570" rtl="0" eaLnBrk="1" latinLnBrk="0" hangingPunct="1">
              <a:defRPr sz="1000" kern="1200">
                <a:solidFill>
                  <a:schemeClr val="tx1"/>
                </a:solidFill>
                <a:latin typeface="+mn-lt"/>
                <a:ea typeface="+mn-ea"/>
                <a:cs typeface="+mn-cs"/>
              </a:defRPr>
            </a:lvl7pPr>
            <a:lvl8pPr marL="0" indent="0" algn="l" defTabSz="609570" rtl="0" eaLnBrk="1" latinLnBrk="0" hangingPunct="1">
              <a:defRPr sz="1000" kern="1200">
                <a:solidFill>
                  <a:schemeClr val="tx1"/>
                </a:solidFill>
                <a:latin typeface="+mn-lt"/>
                <a:ea typeface="+mn-ea"/>
                <a:cs typeface="+mn-cs"/>
              </a:defRPr>
            </a:lvl8pPr>
            <a:lvl9pPr marL="0" indent="0" algn="l" defTabSz="609570" rtl="0" eaLnBrk="1" latinLnBrk="0" hangingPunct="1">
              <a:defRPr sz="1000" kern="1200">
                <a:solidFill>
                  <a:schemeClr val="tx1"/>
                </a:solidFill>
                <a:latin typeface="+mn-lt"/>
                <a:ea typeface="+mn-ea"/>
                <a:cs typeface="+mn-cs"/>
              </a:defRPr>
            </a:lvl9p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2024 Brillio |</a:t>
            </a:r>
          </a:p>
        </p:txBody>
      </p:sp>
      <p:sp>
        <p:nvSpPr>
          <p:cNvPr id="6" name="Slide Number Placeholder 9">
            <a:extLst>
              <a:ext uri="{FF2B5EF4-FFF2-40B4-BE49-F238E27FC236}">
                <a16:creationId xmlns:a16="http://schemas.microsoft.com/office/drawing/2014/main" id="{5ACA8210-F909-E2A2-9AA3-FBCD3A8791BA}"/>
              </a:ext>
            </a:extLst>
          </p:cNvPr>
          <p:cNvSpPr txBox="1">
            <a:spLocks/>
          </p:cNvSpPr>
          <p:nvPr userDrawn="1"/>
        </p:nvSpPr>
        <p:spPr>
          <a:xfrm>
            <a:off x="11354670" y="6333751"/>
            <a:ext cx="304800" cy="207264"/>
          </a:xfrm>
          <a:prstGeom prst="rect">
            <a:avLst/>
          </a:prstGeom>
        </p:spPr>
        <p:txBody>
          <a:bodyPr vert="horz" lIns="0" tIns="0" rIns="0" bIns="0" rtlCol="0" anchor="ctr"/>
          <a:lstStyle>
            <a:defPPr>
              <a:defRPr lang="en-US"/>
            </a:defPPr>
            <a:lvl1pPr marL="0" algn="r" defTabSz="609570" rtl="0" eaLnBrk="1" latinLnBrk="0" hangingPunct="1">
              <a:defRPr sz="1067" b="1" kern="1200" baseline="0">
                <a:solidFill>
                  <a:srgbClr val="2CC84D"/>
                </a:solidFill>
                <a:latin typeface="Calibri" panose="020F0502020204030204" pitchFamily="34" charset="0"/>
                <a:ea typeface="+mn-ea"/>
                <a:cs typeface="Arial" panose="020B0604020202020204" pitchFamily="34" charset="0"/>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a:lstStyle>
          <a:p>
            <a:pPr marL="0" marR="0" lvl="0" indent="0" algn="r" defTabSz="60957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1067" b="1" i="0" u="none" strike="noStrike" kern="1200" cap="none" spc="0" normalizeH="0" baseline="0" noProof="0" smtClean="0">
                <a:ln>
                  <a:noFill/>
                </a:ln>
                <a:solidFill>
                  <a:schemeClr val="tx2"/>
                </a:solidFill>
                <a:effectLst/>
                <a:uLnTx/>
                <a:uFillTx/>
                <a:latin typeface="Arial" panose="020B0604020202020204" pitchFamily="34" charset="0"/>
                <a:ea typeface="+mn-ea"/>
                <a:cs typeface="Arial" panose="020B0604020202020204" pitchFamily="34" charset="0"/>
              </a:rPr>
              <a:pPr marL="0" marR="0" lvl="0" indent="0" algn="r" defTabSz="609570" rtl="0" eaLnBrk="1" fontAlgn="auto" latinLnBrk="0" hangingPunct="1">
                <a:lnSpc>
                  <a:spcPct val="100000"/>
                </a:lnSpc>
                <a:spcBef>
                  <a:spcPts val="0"/>
                </a:spcBef>
                <a:spcAft>
                  <a:spcPts val="0"/>
                </a:spcAft>
                <a:buClrTx/>
                <a:buSzTx/>
                <a:buFontTx/>
                <a:buNone/>
                <a:tabLst/>
                <a:defRPr/>
              </a:pPr>
              <a:t>‹#›</a:t>
            </a:fld>
            <a:endParaRPr kumimoji="0" lang="en-US" sz="1067"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2353727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wo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C487E-ED82-42C4-AB9D-F5419221B1EF}"/>
              </a:ext>
            </a:extLst>
          </p:cNvPr>
          <p:cNvSpPr>
            <a:spLocks noGrp="1"/>
          </p:cNvSpPr>
          <p:nvPr>
            <p:ph type="title" hasCustomPrompt="1"/>
          </p:nvPr>
        </p:nvSpPr>
        <p:spPr>
          <a:xfrm>
            <a:off x="1387743" y="191014"/>
            <a:ext cx="9416513" cy="689408"/>
          </a:xfrm>
        </p:spPr>
        <p:txBody>
          <a:bodyPr>
            <a:normAutofit/>
          </a:bodyPr>
          <a:lstStyle>
            <a:lvl1pPr>
              <a:defRPr sz="2800" b="1">
                <a:solidFill>
                  <a:srgbClr val="00B050"/>
                </a:solidFill>
              </a:defRPr>
            </a:lvl1pPr>
          </a:lstStyle>
          <a:p>
            <a:r>
              <a:rPr lang="en-US"/>
              <a:t>TWO COLUMN TEXT</a:t>
            </a:r>
            <a:endParaRPr lang="en-IN"/>
          </a:p>
        </p:txBody>
      </p:sp>
      <p:sp>
        <p:nvSpPr>
          <p:cNvPr id="7" name="Slide Number Placeholder 6">
            <a:extLst>
              <a:ext uri="{FF2B5EF4-FFF2-40B4-BE49-F238E27FC236}">
                <a16:creationId xmlns:a16="http://schemas.microsoft.com/office/drawing/2014/main" id="{1BD96530-0408-4C25-837E-5E36E35A59F4}"/>
              </a:ext>
            </a:extLst>
          </p:cNvPr>
          <p:cNvSpPr>
            <a:spLocks noGrp="1"/>
          </p:cNvSpPr>
          <p:nvPr>
            <p:ph type="sldNum" sz="quarter" idx="12"/>
          </p:nvPr>
        </p:nvSpPr>
        <p:spPr>
          <a:xfrm>
            <a:off x="11483163" y="6345717"/>
            <a:ext cx="414059" cy="386390"/>
          </a:xfrm>
          <a:custGeom>
            <a:avLst/>
            <a:gdLst>
              <a:gd name="connsiteX0" fmla="*/ 0 w 367145"/>
              <a:gd name="connsiteY0" fmla="*/ 0 h 365125"/>
              <a:gd name="connsiteX1" fmla="*/ 367145 w 367145"/>
              <a:gd name="connsiteY1" fmla="*/ 0 h 365125"/>
              <a:gd name="connsiteX2" fmla="*/ 367145 w 367145"/>
              <a:gd name="connsiteY2" fmla="*/ 365125 h 365125"/>
              <a:gd name="connsiteX3" fmla="*/ 0 w 367145"/>
              <a:gd name="connsiteY3" fmla="*/ 365125 h 365125"/>
              <a:gd name="connsiteX4" fmla="*/ 0 w 367145"/>
              <a:gd name="connsiteY4" fmla="*/ 0 h 365125"/>
              <a:gd name="connsiteX0" fmla="*/ 0 w 494735"/>
              <a:gd name="connsiteY0" fmla="*/ 21265 h 386390"/>
              <a:gd name="connsiteX1" fmla="*/ 494735 w 494735"/>
              <a:gd name="connsiteY1" fmla="*/ 0 h 386390"/>
              <a:gd name="connsiteX2" fmla="*/ 367145 w 494735"/>
              <a:gd name="connsiteY2" fmla="*/ 386390 h 386390"/>
              <a:gd name="connsiteX3" fmla="*/ 0 w 494735"/>
              <a:gd name="connsiteY3" fmla="*/ 386390 h 386390"/>
              <a:gd name="connsiteX4" fmla="*/ 0 w 494735"/>
              <a:gd name="connsiteY4" fmla="*/ 21265 h 386390"/>
              <a:gd name="connsiteX0" fmla="*/ 106326 w 494735"/>
              <a:gd name="connsiteY0" fmla="*/ 21265 h 386390"/>
              <a:gd name="connsiteX1" fmla="*/ 494735 w 494735"/>
              <a:gd name="connsiteY1" fmla="*/ 0 h 386390"/>
              <a:gd name="connsiteX2" fmla="*/ 367145 w 494735"/>
              <a:gd name="connsiteY2" fmla="*/ 386390 h 386390"/>
              <a:gd name="connsiteX3" fmla="*/ 0 w 494735"/>
              <a:gd name="connsiteY3" fmla="*/ 386390 h 386390"/>
              <a:gd name="connsiteX4" fmla="*/ 106326 w 494735"/>
              <a:gd name="connsiteY4" fmla="*/ 21265 h 386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735" h="386390">
                <a:moveTo>
                  <a:pt x="106326" y="21265"/>
                </a:moveTo>
                <a:lnTo>
                  <a:pt x="494735" y="0"/>
                </a:lnTo>
                <a:lnTo>
                  <a:pt x="367145" y="386390"/>
                </a:lnTo>
                <a:lnTo>
                  <a:pt x="0" y="386390"/>
                </a:lnTo>
                <a:lnTo>
                  <a:pt x="106326" y="21265"/>
                </a:lnTo>
                <a:close/>
              </a:path>
            </a:pathLst>
          </a:custGeom>
        </p:spPr>
        <p:txBody>
          <a:bodyPr/>
          <a:lstStyle/>
          <a:p>
            <a:fld id="{CB447D9E-8CAB-4C9B-8EF2-321D850CAC84}" type="slidenum">
              <a:rPr lang="en-IN" smtClean="0"/>
              <a:t>‹#›</a:t>
            </a:fld>
            <a:endParaRPr lang="en-IN" dirty="0"/>
          </a:p>
        </p:txBody>
      </p:sp>
      <p:sp>
        <p:nvSpPr>
          <p:cNvPr id="8" name="Isosceles Triangle 7">
            <a:extLst>
              <a:ext uri="{FF2B5EF4-FFF2-40B4-BE49-F238E27FC236}">
                <a16:creationId xmlns:a16="http://schemas.microsoft.com/office/drawing/2014/main" id="{C2DBDF9C-8106-434E-8A49-8A3B64C4B076}"/>
              </a:ext>
            </a:extLst>
          </p:cNvPr>
          <p:cNvSpPr/>
          <p:nvPr userDrawn="1"/>
        </p:nvSpPr>
        <p:spPr>
          <a:xfrm rot="10800000">
            <a:off x="-32098" y="0"/>
            <a:ext cx="1405145" cy="6261320"/>
          </a:xfrm>
          <a:prstGeom prst="triangle">
            <a:avLst>
              <a:gd name="adj" fmla="val 100000"/>
            </a:avLst>
          </a:prstGeom>
          <a:gradFill flip="none" rotWithShape="1">
            <a:gsLst>
              <a:gs pos="51000">
                <a:srgbClr val="6ACD60"/>
              </a:gs>
              <a:gs pos="0">
                <a:srgbClr val="29B984"/>
              </a:gs>
              <a:gs pos="10000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9" name="Picture 2" descr="Brillio">
            <a:extLst>
              <a:ext uri="{FF2B5EF4-FFF2-40B4-BE49-F238E27FC236}">
                <a16:creationId xmlns:a16="http://schemas.microsoft.com/office/drawing/2014/main" id="{457CEC2A-EAD3-4D29-99FE-AF32DB0ED40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00288" y="136525"/>
            <a:ext cx="940372" cy="394957"/>
          </a:xfrm>
          <a:prstGeom prst="rect">
            <a:avLst/>
          </a:prstGeom>
          <a:noFill/>
          <a:extLst>
            <a:ext uri="{909E8E84-426E-40DD-AFC4-6F175D3DCCD1}">
              <a14:hiddenFill xmlns:a14="http://schemas.microsoft.com/office/drawing/2010/main">
                <a:solidFill>
                  <a:srgbClr val="FFFFFF"/>
                </a:solidFill>
              </a14:hiddenFill>
            </a:ext>
          </a:extLst>
        </p:spPr>
      </p:pic>
      <p:sp>
        <p:nvSpPr>
          <p:cNvPr id="10" name="Isosceles Triangle 9">
            <a:extLst>
              <a:ext uri="{FF2B5EF4-FFF2-40B4-BE49-F238E27FC236}">
                <a16:creationId xmlns:a16="http://schemas.microsoft.com/office/drawing/2014/main" id="{C9478BA1-893E-4EB0-82A3-88E53366288C}"/>
              </a:ext>
            </a:extLst>
          </p:cNvPr>
          <p:cNvSpPr/>
          <p:nvPr userDrawn="1"/>
        </p:nvSpPr>
        <p:spPr>
          <a:xfrm>
            <a:off x="11321705" y="3282847"/>
            <a:ext cx="870294" cy="3575153"/>
          </a:xfrm>
          <a:prstGeom prst="triangle">
            <a:avLst>
              <a:gd name="adj" fmla="val 100000"/>
            </a:avLst>
          </a:prstGeom>
          <a:solidFill>
            <a:srgbClr val="18B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812267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B46D5EA-C380-41B9-A8DE-1B107D9B4863}"/>
              </a:ext>
            </a:extLst>
          </p:cNvPr>
          <p:cNvCxnSpPr/>
          <p:nvPr userDrawn="1"/>
        </p:nvCxnSpPr>
        <p:spPr>
          <a:xfrm>
            <a:off x="11444749"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B3D24671-FE79-4E2F-AAC5-C6496F3078E3}"/>
              </a:ext>
            </a:extLst>
          </p:cNvPr>
          <p:cNvSpPr txBox="1">
            <a:spLocks/>
          </p:cNvSpPr>
          <p:nvPr userDrawn="1"/>
        </p:nvSpPr>
        <p:spPr>
          <a:xfrm>
            <a:off x="11711596" y="525685"/>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Oval 17">
            <a:extLst>
              <a:ext uri="{FF2B5EF4-FFF2-40B4-BE49-F238E27FC236}">
                <a16:creationId xmlns:a16="http://schemas.microsoft.com/office/drawing/2014/main" id="{EA136509-E939-447D-901D-C0273A620BAA}"/>
              </a:ext>
            </a:extLst>
          </p:cNvPr>
          <p:cNvSpPr/>
          <p:nvPr userDrawn="1"/>
        </p:nvSpPr>
        <p:spPr>
          <a:xfrm rot="5400000">
            <a:off x="11625594" y="523508"/>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Oval 18">
            <a:extLst>
              <a:ext uri="{FF2B5EF4-FFF2-40B4-BE49-F238E27FC236}">
                <a16:creationId xmlns:a16="http://schemas.microsoft.com/office/drawing/2014/main" id="{864A0C5B-100F-4413-A678-2E9C19DA524F}"/>
              </a:ext>
            </a:extLst>
          </p:cNvPr>
          <p:cNvSpPr/>
          <p:nvPr userDrawn="1"/>
        </p:nvSpPr>
        <p:spPr>
          <a:xfrm rot="5400000">
            <a:off x="11625594" y="136344"/>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9">
            <a:extLst>
              <a:ext uri="{FF2B5EF4-FFF2-40B4-BE49-F238E27FC236}">
                <a16:creationId xmlns:a16="http://schemas.microsoft.com/office/drawing/2014/main" id="{4433388A-FC7A-4C35-9D56-3D30953309EF}"/>
              </a:ext>
            </a:extLst>
          </p:cNvPr>
          <p:cNvSpPr/>
          <p:nvPr userDrawn="1"/>
        </p:nvSpPr>
        <p:spPr>
          <a:xfrm rot="8100000">
            <a:off x="11733468" y="26491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Oval 20">
            <a:extLst>
              <a:ext uri="{FF2B5EF4-FFF2-40B4-BE49-F238E27FC236}">
                <a16:creationId xmlns:a16="http://schemas.microsoft.com/office/drawing/2014/main" id="{637144AE-30FC-40C4-9F63-D09FC674A365}"/>
              </a:ext>
            </a:extLst>
          </p:cNvPr>
          <p:cNvSpPr/>
          <p:nvPr userDrawn="1"/>
        </p:nvSpPr>
        <p:spPr>
          <a:xfrm rot="16200000">
            <a:off x="11625594" y="910672"/>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Rectangle 9">
            <a:extLst>
              <a:ext uri="{FF2B5EF4-FFF2-40B4-BE49-F238E27FC236}">
                <a16:creationId xmlns:a16="http://schemas.microsoft.com/office/drawing/2014/main" id="{B89568A6-5CFC-4CAC-A45C-579A06A2C871}"/>
              </a:ext>
            </a:extLst>
          </p:cNvPr>
          <p:cNvSpPr/>
          <p:nvPr userDrawn="1"/>
        </p:nvSpPr>
        <p:spPr>
          <a:xfrm rot="18900000">
            <a:off x="11733468" y="997851"/>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3" name="Action Button: Forward or Next 26">
            <a:hlinkClick r:id="" action="ppaction://hlinkshowjump?jump=nextslide" highlightClick="1"/>
            <a:extLst>
              <a:ext uri="{FF2B5EF4-FFF2-40B4-BE49-F238E27FC236}">
                <a16:creationId xmlns:a16="http://schemas.microsoft.com/office/drawing/2014/main" id="{336B416D-A661-49E2-B619-C0CF6ACE3589}"/>
              </a:ext>
            </a:extLst>
          </p:cNvPr>
          <p:cNvSpPr/>
          <p:nvPr userDrawn="1"/>
        </p:nvSpPr>
        <p:spPr>
          <a:xfrm rot="5400000">
            <a:off x="11592232" y="886522"/>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ction Button: Back or Previous 27">
            <a:hlinkClick r:id="" action="ppaction://hlinkshowjump?jump=previousslide" highlightClick="1"/>
            <a:extLst>
              <a:ext uri="{FF2B5EF4-FFF2-40B4-BE49-F238E27FC236}">
                <a16:creationId xmlns:a16="http://schemas.microsoft.com/office/drawing/2014/main" id="{679541B2-AF09-4617-A76B-D56FB6849DBC}"/>
              </a:ext>
            </a:extLst>
          </p:cNvPr>
          <p:cNvSpPr/>
          <p:nvPr userDrawn="1"/>
        </p:nvSpPr>
        <p:spPr>
          <a:xfrm rot="5400000">
            <a:off x="11599132" y="108029"/>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Rectangle 24">
            <a:extLst>
              <a:ext uri="{FF2B5EF4-FFF2-40B4-BE49-F238E27FC236}">
                <a16:creationId xmlns:a16="http://schemas.microsoft.com/office/drawing/2014/main" id="{46D8144E-784A-4038-9010-9A672F089B57}"/>
              </a:ext>
            </a:extLst>
          </p:cNvPr>
          <p:cNvSpPr/>
          <p:nvPr userDrawn="1"/>
        </p:nvSpPr>
        <p:spPr>
          <a:xfrm>
            <a:off x="0" y="0"/>
            <a:ext cx="811161" cy="6858000"/>
          </a:xfrm>
          <a:prstGeom prst="rect">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900" dirty="0"/>
          </a:p>
        </p:txBody>
      </p:sp>
      <p:pic>
        <p:nvPicPr>
          <p:cNvPr id="1026" name="Picture 2" descr="Brillio - Wikipedia">
            <a:extLst>
              <a:ext uri="{FF2B5EF4-FFF2-40B4-BE49-F238E27FC236}">
                <a16:creationId xmlns:a16="http://schemas.microsoft.com/office/drawing/2014/main" id="{4AF210C4-680F-41FA-8437-16B220415CDD}"/>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5400000">
            <a:off x="11458475" y="6285838"/>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79561C5-2632-4D89-8430-7F900314D494}"/>
              </a:ext>
            </a:extLst>
          </p:cNvPr>
          <p:cNvSpPr>
            <a:spLocks noGrp="1"/>
          </p:cNvSpPr>
          <p:nvPr>
            <p:ph type="title"/>
          </p:nvPr>
        </p:nvSpPr>
        <p:spPr>
          <a:xfrm rot="16200000">
            <a:off x="-2859101" y="3119807"/>
            <a:ext cx="6529361" cy="618385"/>
          </a:xfrm>
          <a:prstGeom prst="rect">
            <a:avLst/>
          </a:prstGeom>
        </p:spPr>
        <p:txBody>
          <a:bodyPr anchor="ctr"/>
          <a:lstStyle>
            <a:lvl1pPr algn="ctr">
              <a:defRPr b="1" cap="all" baseline="0">
                <a:solidFill>
                  <a:schemeClr val="bg1"/>
                </a:solidFill>
              </a:defRPr>
            </a:lvl1pPr>
          </a:lstStyle>
          <a:p>
            <a:r>
              <a:rPr lang="en-US"/>
              <a:t>Click to edit Master title style</a:t>
            </a:r>
            <a:endParaRPr lang="en-IN"/>
          </a:p>
        </p:txBody>
      </p:sp>
    </p:spTree>
    <p:extLst>
      <p:ext uri="{BB962C8B-B14F-4D97-AF65-F5344CB8AC3E}">
        <p14:creationId xmlns:p14="http://schemas.microsoft.com/office/powerpoint/2010/main" val="19211539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48507" y="6502014"/>
            <a:ext cx="701712" cy="311456"/>
          </a:xfrm>
          <a:prstGeom prst="rect">
            <a:avLst/>
          </a:prstGeom>
        </p:spPr>
      </p:pic>
      <p:sp>
        <p:nvSpPr>
          <p:cNvPr id="2" name="Holder 2"/>
          <p:cNvSpPr>
            <a:spLocks noGrp="1"/>
          </p:cNvSpPr>
          <p:nvPr>
            <p:ph type="title"/>
          </p:nvPr>
        </p:nvSpPr>
        <p:spPr>
          <a:xfrm>
            <a:off x="499363" y="308559"/>
            <a:ext cx="9061450" cy="369332"/>
          </a:xfrm>
        </p:spPr>
        <p:txBody>
          <a:bodyPr lIns="0" tIns="0" rIns="0" bIns="0"/>
          <a:lstStyle>
            <a:lvl1pPr>
              <a:defRPr sz="24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201646">
                  <a:tint val="75000"/>
                </a:srgbClr>
              </a:solidFill>
              <a:effectLst/>
              <a:uLnTx/>
              <a:uFillTx/>
              <a:latin typeface="Arial" panose="020B0604020202020204"/>
              <a:ea typeface="+mn-ea"/>
              <a:cs typeface="+mn-cs"/>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201646">
                    <a:tint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8/2024</a:t>
            </a:fld>
            <a:endParaRPr kumimoji="0" lang="en-US" sz="1800" b="0" i="0" u="none" strike="noStrike" kern="1200" cap="none" spc="0" normalizeH="0" baseline="0" noProof="0" dirty="0">
              <a:ln>
                <a:noFill/>
              </a:ln>
              <a:solidFill>
                <a:srgbClr val="201646">
                  <a:tint val="75000"/>
                </a:srgbClr>
              </a:solidFill>
              <a:effectLst/>
              <a:uLnTx/>
              <a:uFillTx/>
              <a:latin typeface="Arial" panose="020B0604020202020204"/>
              <a:ea typeface="+mn-ea"/>
              <a:cs typeface="+mn-cs"/>
            </a:endParaRPr>
          </a:p>
        </p:txBody>
      </p:sp>
      <p:sp>
        <p:nvSpPr>
          <p:cNvPr id="5" name="Holder 5"/>
          <p:cNvSpPr>
            <a:spLocks noGrp="1"/>
          </p:cNvSpPr>
          <p:nvPr>
            <p:ph type="sldNum" sz="quarter" idx="7"/>
          </p:nvPr>
        </p:nvSpPr>
        <p:spPr/>
        <p:txBody>
          <a:bodyPr lIns="0" tIns="0" rIns="0" bIns="0"/>
          <a:lstStyle>
            <a:lvl1pPr>
              <a:defRPr sz="1050" b="0" i="0">
                <a:solidFill>
                  <a:schemeClr val="bg1"/>
                </a:solidFill>
                <a:latin typeface="Arial"/>
                <a:cs typeface="Arial"/>
              </a:defRPr>
            </a:lvl1pPr>
          </a:lstStyle>
          <a:p>
            <a:pPr marL="12700" marR="0" lvl="0" indent="0" algn="r" defTabSz="914400" rtl="0" eaLnBrk="1" fontAlgn="auto" latinLnBrk="0" hangingPunct="1">
              <a:lnSpc>
                <a:spcPct val="100000"/>
              </a:lnSpc>
              <a:spcBef>
                <a:spcPts val="35"/>
              </a:spcBef>
              <a:spcAft>
                <a:spcPts val="0"/>
              </a:spcAft>
              <a:buClrTx/>
              <a:buSzTx/>
              <a:buFontTx/>
              <a:buNone/>
              <a:tabLst/>
              <a:defRPr/>
            </a:pPr>
            <a:r>
              <a:rPr kumimoji="0" sz="1050" b="0" i="0" u="none" strike="noStrike" kern="1200" cap="none" spc="10" normalizeH="0" baseline="0" noProof="0" dirty="0">
                <a:ln>
                  <a:noFill/>
                </a:ln>
                <a:solidFill>
                  <a:srgbClr val="FFFFFF"/>
                </a:solidFill>
                <a:effectLst/>
                <a:uLnTx/>
                <a:uFillTx/>
                <a:latin typeface="Arial"/>
                <a:ea typeface="+mn-ea"/>
                <a:cs typeface="Arial"/>
              </a:rPr>
              <a:t>©</a:t>
            </a:r>
            <a:r>
              <a:rPr kumimoji="0" sz="1050" b="0" i="0" u="none" strike="noStrike" kern="1200" cap="none" spc="-10" normalizeH="0" baseline="0" noProof="0" dirty="0">
                <a:ln>
                  <a:noFill/>
                </a:ln>
                <a:solidFill>
                  <a:srgbClr val="FFFFFF"/>
                </a:solidFill>
                <a:effectLst/>
                <a:uLnTx/>
                <a:uFillTx/>
                <a:latin typeface="Arial"/>
                <a:ea typeface="+mn-ea"/>
                <a:cs typeface="Arial"/>
              </a:rPr>
              <a:t> </a:t>
            </a:r>
            <a:r>
              <a:rPr kumimoji="0" sz="1050" b="0" i="0" u="none" strike="noStrike" kern="1200" cap="none" spc="0" normalizeH="0" baseline="0" noProof="0" dirty="0">
                <a:ln>
                  <a:noFill/>
                </a:ln>
                <a:solidFill>
                  <a:srgbClr val="FFFFFF"/>
                </a:solidFill>
                <a:effectLst/>
                <a:uLnTx/>
                <a:uFillTx/>
                <a:latin typeface="Arial"/>
                <a:ea typeface="+mn-ea"/>
                <a:cs typeface="Arial"/>
              </a:rPr>
              <a:t>2022</a:t>
            </a:r>
            <a:r>
              <a:rPr kumimoji="0" sz="1050" b="0" i="0" u="none" strike="noStrike" kern="1200" cap="none" spc="-15" normalizeH="0" baseline="0" noProof="0" dirty="0">
                <a:ln>
                  <a:noFill/>
                </a:ln>
                <a:solidFill>
                  <a:srgbClr val="FFFFFF"/>
                </a:solidFill>
                <a:effectLst/>
                <a:uLnTx/>
                <a:uFillTx/>
                <a:latin typeface="Arial"/>
                <a:ea typeface="+mn-ea"/>
                <a:cs typeface="Arial"/>
              </a:rPr>
              <a:t> </a:t>
            </a:r>
            <a:r>
              <a:rPr kumimoji="0" sz="1050" b="0" i="0" u="none" strike="noStrike" kern="1200" cap="none" spc="5" normalizeH="0" baseline="0" noProof="0" dirty="0">
                <a:ln>
                  <a:noFill/>
                </a:ln>
                <a:solidFill>
                  <a:srgbClr val="FFFFFF"/>
                </a:solidFill>
                <a:effectLst/>
                <a:uLnTx/>
                <a:uFillTx/>
                <a:latin typeface="Arial"/>
                <a:ea typeface="+mn-ea"/>
                <a:cs typeface="Arial"/>
              </a:rPr>
              <a:t>Brillio</a:t>
            </a:r>
            <a:r>
              <a:rPr kumimoji="0" sz="1050" b="0" i="0" u="none" strike="noStrike" kern="1200" cap="none" spc="-20" normalizeH="0" baseline="0" noProof="0" dirty="0">
                <a:ln>
                  <a:noFill/>
                </a:ln>
                <a:solidFill>
                  <a:srgbClr val="FFFFFF"/>
                </a:solidFill>
                <a:effectLst/>
                <a:uLnTx/>
                <a:uFillTx/>
                <a:latin typeface="Arial"/>
                <a:ea typeface="+mn-ea"/>
                <a:cs typeface="Arial"/>
              </a:rPr>
              <a:t> </a:t>
            </a:r>
            <a:r>
              <a:rPr kumimoji="0" sz="1050" b="0" i="0" u="none" strike="noStrike" kern="1200" cap="none" spc="0" normalizeH="0" baseline="0" noProof="0" dirty="0">
                <a:ln>
                  <a:noFill/>
                </a:ln>
                <a:solidFill>
                  <a:srgbClr val="FFFFFF"/>
                </a:solidFill>
                <a:effectLst/>
                <a:uLnTx/>
                <a:uFillTx/>
                <a:latin typeface="Arial"/>
                <a:ea typeface="+mn-ea"/>
                <a:cs typeface="Arial"/>
              </a:rPr>
              <a:t>|</a:t>
            </a:r>
            <a:r>
              <a:rPr kumimoji="0" sz="1050" b="0" i="0" u="none" strike="noStrike" kern="1200" cap="none" spc="215" normalizeH="0" baseline="0" noProof="0" dirty="0">
                <a:ln>
                  <a:noFill/>
                </a:ln>
                <a:solidFill>
                  <a:srgbClr val="FFFFFF"/>
                </a:solidFill>
                <a:effectLst/>
                <a:uLnTx/>
                <a:uFillTx/>
                <a:latin typeface="Arial"/>
                <a:ea typeface="+mn-ea"/>
                <a:cs typeface="Arial"/>
              </a:rPr>
              <a:t> </a:t>
            </a:r>
            <a:fld id="{81D60167-4931-47E6-BA6A-407CBD079E47}" type="slidenum">
              <a:rPr kumimoji="0" sz="1050" b="1" i="0" u="none" strike="noStrike" kern="1200" cap="none" spc="5" normalizeH="0" baseline="0" noProof="0">
                <a:ln>
                  <a:noFill/>
                </a:ln>
                <a:solidFill>
                  <a:srgbClr val="FFFFFF"/>
                </a:solidFill>
                <a:effectLst/>
                <a:uLnTx/>
                <a:uFillTx/>
                <a:latin typeface="Arial"/>
                <a:ea typeface="+mn-ea"/>
                <a:cs typeface="Arial"/>
              </a:rPr>
              <a:pPr marL="12700" marR="0" lvl="0" indent="0" algn="r" defTabSz="914400" rtl="0" eaLnBrk="1" fontAlgn="auto" latinLnBrk="0" hangingPunct="1">
                <a:lnSpc>
                  <a:spcPct val="100000"/>
                </a:lnSpc>
                <a:spcBef>
                  <a:spcPts val="35"/>
                </a:spcBef>
                <a:spcAft>
                  <a:spcPts val="0"/>
                </a:spcAft>
                <a:buClrTx/>
                <a:buSzTx/>
                <a:buFontTx/>
                <a:buNone/>
                <a:tabLst/>
                <a:defRPr/>
              </a:pPr>
              <a:t>‹#›</a:t>
            </a:fld>
            <a:endParaRPr kumimoji="0" sz="1050" b="1" i="0" u="none" strike="noStrike" kern="1200" cap="none" spc="5" normalizeH="0" baseline="0" noProof="0" dirty="0">
              <a:ln>
                <a:noFill/>
              </a:ln>
              <a:solidFill>
                <a:srgbClr val="FFFFFF"/>
              </a:solidFill>
              <a:effectLst/>
              <a:uLnTx/>
              <a:uFillTx/>
              <a:latin typeface="Arial"/>
              <a:ea typeface="+mn-ea"/>
              <a:cs typeface="Arial"/>
            </a:endParaRPr>
          </a:p>
        </p:txBody>
      </p:sp>
      <p:sp>
        <p:nvSpPr>
          <p:cNvPr id="6" name="TextBox 5">
            <a:extLst>
              <a:ext uri="{FF2B5EF4-FFF2-40B4-BE49-F238E27FC236}">
                <a16:creationId xmlns:a16="http://schemas.microsoft.com/office/drawing/2014/main" id="{F0378C7F-C369-9F98-80C6-928F0A2FA72C}"/>
              </a:ext>
            </a:extLst>
          </p:cNvPr>
          <p:cNvSpPr txBox="1"/>
          <p:nvPr userDrawn="1"/>
        </p:nvSpPr>
        <p:spPr>
          <a:xfrm>
            <a:off x="4997726" y="6577839"/>
            <a:ext cx="2196548" cy="246221"/>
          </a:xfrm>
          <a:prstGeom prst="rect">
            <a:avLst/>
          </a:prstGeom>
          <a:noFill/>
        </p:spPr>
        <p:txBody>
          <a:bodyPr wrap="square" rtlCol="0">
            <a:spAutoFit/>
          </a:bodyPr>
          <a:lstStyle/>
          <a:p>
            <a:pPr algn="ctr"/>
            <a:r>
              <a:rPr lang="en-US" sz="1000" b="0" i="0" baseline="0" dirty="0">
                <a:solidFill>
                  <a:schemeClr val="tx1"/>
                </a:solidFill>
                <a:latin typeface="Arial" panose="020B0604020202020204" pitchFamily="34" charset="0"/>
                <a:cs typeface="Arial" panose="020B0604020202020204" pitchFamily="34" charset="0"/>
              </a:rPr>
              <a:t>Proprietary &amp; Confidential</a:t>
            </a:r>
            <a:endParaRPr lang="en-GB" sz="1000" dirty="0">
              <a:solidFill>
                <a:schemeClr val="tx1"/>
              </a:solidFill>
            </a:endParaRPr>
          </a:p>
        </p:txBody>
      </p:sp>
    </p:spTree>
    <p:extLst>
      <p:ext uri="{BB962C8B-B14F-4D97-AF65-F5344CB8AC3E}">
        <p14:creationId xmlns:p14="http://schemas.microsoft.com/office/powerpoint/2010/main" val="26317890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Brillio_Title only slide-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descr="A picture containing icon&#10;&#10;Description automatically generated">
            <a:extLst>
              <a:ext uri="{FF2B5EF4-FFF2-40B4-BE49-F238E27FC236}">
                <a16:creationId xmlns:a16="http://schemas.microsoft.com/office/drawing/2014/main" id="{50E158B1-D3A6-209A-714E-399DDB81D2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2272" y="6416238"/>
            <a:ext cx="722128" cy="305054"/>
          </a:xfrm>
          <a:prstGeom prst="rect">
            <a:avLst/>
          </a:prstGeom>
        </p:spPr>
      </p:pic>
      <p:sp>
        <p:nvSpPr>
          <p:cNvPr id="6" name="Slide Number Placeholder 10">
            <a:extLst>
              <a:ext uri="{FF2B5EF4-FFF2-40B4-BE49-F238E27FC236}">
                <a16:creationId xmlns:a16="http://schemas.microsoft.com/office/drawing/2014/main" id="{45EC7AC8-5C17-7411-E5B0-0C7EE1D5CC4E}"/>
              </a:ext>
            </a:extLst>
          </p:cNvPr>
          <p:cNvSpPr txBox="1">
            <a:spLocks/>
          </p:cNvSpPr>
          <p:nvPr userDrawn="1"/>
        </p:nvSpPr>
        <p:spPr>
          <a:xfrm>
            <a:off x="9856790" y="6398287"/>
            <a:ext cx="1969450" cy="259715"/>
          </a:xfrm>
          <a:prstGeom prst="rect">
            <a:avLst/>
          </a:prstGeom>
        </p:spPr>
        <p:txBody>
          <a:bodyPr vert="horz" lIns="0" tIns="0" rIns="0" bIns="0" rtlCol="0" anchor="b"/>
          <a:lstStyle>
            <a:defPPr>
              <a:defRPr lang="en-US"/>
            </a:defPPr>
            <a:lvl1pPr marL="0" algn="r" defTabSz="914400"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2024 Brillio  |  </a:t>
            </a:r>
            <a:fld id="{F1FE5E21-FD07-B44E-90A3-0254BFCDB49A}" type="slidenum">
              <a:rPr smtClean="0"/>
              <a:pPr/>
              <a:t>‹#›</a:t>
            </a:fld>
            <a:endParaRPr dirty="0"/>
          </a:p>
        </p:txBody>
      </p:sp>
    </p:spTree>
    <p:extLst>
      <p:ext uri="{BB962C8B-B14F-4D97-AF65-F5344CB8AC3E}">
        <p14:creationId xmlns:p14="http://schemas.microsoft.com/office/powerpoint/2010/main" val="38367396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rillio_Blank slide-Light">
    <p:spTree>
      <p:nvGrpSpPr>
        <p:cNvPr id="1" name=""/>
        <p:cNvGrpSpPr/>
        <p:nvPr/>
      </p:nvGrpSpPr>
      <p:grpSpPr>
        <a:xfrm>
          <a:off x="0" y="0"/>
          <a:ext cx="0" cy="0"/>
          <a:chOff x="0" y="0"/>
          <a:chExt cx="0" cy="0"/>
        </a:xfrm>
      </p:grpSpPr>
      <p:pic>
        <p:nvPicPr>
          <p:cNvPr id="4" name="Picture 3" descr="A picture containing icon&#10;&#10;Description automatically generated">
            <a:extLst>
              <a:ext uri="{FF2B5EF4-FFF2-40B4-BE49-F238E27FC236}">
                <a16:creationId xmlns:a16="http://schemas.microsoft.com/office/drawing/2014/main" id="{1195E396-30DF-AD84-8983-AC0BEC427B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2272" y="6416238"/>
            <a:ext cx="722128" cy="305054"/>
          </a:xfrm>
          <a:prstGeom prst="rect">
            <a:avLst/>
          </a:prstGeom>
        </p:spPr>
      </p:pic>
      <p:sp>
        <p:nvSpPr>
          <p:cNvPr id="5" name="Slide Number Placeholder 10">
            <a:extLst>
              <a:ext uri="{FF2B5EF4-FFF2-40B4-BE49-F238E27FC236}">
                <a16:creationId xmlns:a16="http://schemas.microsoft.com/office/drawing/2014/main" id="{710E8E78-F523-3289-08A7-0F6F3B752445}"/>
              </a:ext>
            </a:extLst>
          </p:cNvPr>
          <p:cNvSpPr>
            <a:spLocks noGrp="1"/>
          </p:cNvSpPr>
          <p:nvPr>
            <p:ph type="sldNum" sz="quarter" idx="4"/>
          </p:nvPr>
        </p:nvSpPr>
        <p:spPr>
          <a:xfrm>
            <a:off x="9856790" y="6398287"/>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231185771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icon&#10;&#10;Description automatically generated">
            <a:extLst>
              <a:ext uri="{FF2B5EF4-FFF2-40B4-BE49-F238E27FC236}">
                <a16:creationId xmlns:a16="http://schemas.microsoft.com/office/drawing/2014/main" id="{16B9B3A6-0ABC-DD89-F2B3-A3A5D4DCB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2272" y="6416238"/>
            <a:ext cx="722128" cy="305054"/>
          </a:xfrm>
          <a:prstGeom prst="rect">
            <a:avLst/>
          </a:prstGeom>
        </p:spPr>
      </p:pic>
      <p:sp>
        <p:nvSpPr>
          <p:cNvPr id="8" name="Slide Number Placeholder 10">
            <a:extLst>
              <a:ext uri="{FF2B5EF4-FFF2-40B4-BE49-F238E27FC236}">
                <a16:creationId xmlns:a16="http://schemas.microsoft.com/office/drawing/2014/main" id="{F6DA4465-B634-64F3-73E2-44E6384999FD}"/>
              </a:ext>
            </a:extLst>
          </p:cNvPr>
          <p:cNvSpPr>
            <a:spLocks noGrp="1"/>
          </p:cNvSpPr>
          <p:nvPr>
            <p:ph type="sldNum" sz="quarter" idx="4"/>
          </p:nvPr>
        </p:nvSpPr>
        <p:spPr>
          <a:xfrm>
            <a:off x="9856790" y="6398287"/>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400198926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icon&#10;&#10;Description automatically generated">
            <a:extLst>
              <a:ext uri="{FF2B5EF4-FFF2-40B4-BE49-F238E27FC236}">
                <a16:creationId xmlns:a16="http://schemas.microsoft.com/office/drawing/2014/main" id="{417699BB-7202-F0FF-E766-F305EF7FEF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2272" y="6416238"/>
            <a:ext cx="722128" cy="305054"/>
          </a:xfrm>
          <a:prstGeom prst="rect">
            <a:avLst/>
          </a:prstGeom>
        </p:spPr>
      </p:pic>
      <p:sp>
        <p:nvSpPr>
          <p:cNvPr id="7" name="Slide Number Placeholder 10">
            <a:extLst>
              <a:ext uri="{FF2B5EF4-FFF2-40B4-BE49-F238E27FC236}">
                <a16:creationId xmlns:a16="http://schemas.microsoft.com/office/drawing/2014/main" id="{FACD46A0-6675-22FC-DC12-6F9B2FAD21B9}"/>
              </a:ext>
            </a:extLst>
          </p:cNvPr>
          <p:cNvSpPr>
            <a:spLocks noGrp="1"/>
          </p:cNvSpPr>
          <p:nvPr>
            <p:ph type="sldNum" sz="quarter" idx="4"/>
          </p:nvPr>
        </p:nvSpPr>
        <p:spPr>
          <a:xfrm>
            <a:off x="9856790" y="6398287"/>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18754210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6871382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CDD1B40-43EA-172D-3789-A7E2E7749173}"/>
              </a:ext>
            </a:extLst>
          </p:cNvPr>
          <p:cNvSpPr>
            <a:spLocks noGrp="1"/>
          </p:cNvSpPr>
          <p:nvPr>
            <p:ph type="title"/>
          </p:nvPr>
        </p:nvSpPr>
        <p:spPr>
          <a:xfrm>
            <a:off x="371079" y="456357"/>
            <a:ext cx="4126494" cy="2212415"/>
          </a:xfrm>
          <a:prstGeom prst="rect">
            <a:avLst/>
          </a:prstGeom>
        </p:spPr>
        <p:txBody>
          <a:bodyPr vert="horz" lIns="91440" tIns="45720" rIns="91440" bIns="45720" rtlCol="0" anchor="t" anchorCtr="0">
            <a:noAutofit/>
          </a:bodyPr>
          <a:lstStyle>
            <a:lvl1pPr>
              <a:defRPr spc="20" baseline="0"/>
            </a:lvl1pPr>
          </a:lstStyle>
          <a:p>
            <a:r>
              <a:rPr lang="en-US"/>
              <a:t>Click to edit Master title style</a:t>
            </a:r>
          </a:p>
        </p:txBody>
      </p:sp>
      <p:sp>
        <p:nvSpPr>
          <p:cNvPr id="8" name="Text Placeholder 2">
            <a:extLst>
              <a:ext uri="{FF2B5EF4-FFF2-40B4-BE49-F238E27FC236}">
                <a16:creationId xmlns:a16="http://schemas.microsoft.com/office/drawing/2014/main" id="{A41ACCDF-469A-5AF1-95B4-166FE09C88C6}"/>
              </a:ext>
            </a:extLst>
          </p:cNvPr>
          <p:cNvSpPr>
            <a:spLocks noGrp="1"/>
          </p:cNvSpPr>
          <p:nvPr>
            <p:ph idx="10" hasCustomPrompt="1"/>
          </p:nvPr>
        </p:nvSpPr>
        <p:spPr>
          <a:xfrm>
            <a:off x="383190" y="2833626"/>
            <a:ext cx="4126494" cy="2121146"/>
          </a:xfrm>
          <a:prstGeom prst="rect">
            <a:avLst/>
          </a:prstGeom>
        </p:spPr>
        <p:txBody>
          <a:bodyPr vert="horz" lIns="91440" tIns="45720" rIns="91440" bIns="45720" rtlCol="0">
            <a:noAutofit/>
          </a:bodyPr>
          <a:lstStyle>
            <a:lvl1pPr marL="0" indent="0">
              <a:lnSpc>
                <a:spcPct val="120000"/>
              </a:lnSpc>
              <a:spcBef>
                <a:spcPts val="0"/>
              </a:spcBef>
              <a:spcAft>
                <a:spcPts val="600"/>
              </a:spcAft>
              <a:buNone/>
              <a:defRPr sz="1400" b="0" i="0" spc="30" baseline="0">
                <a:latin typeface="Helvetica Neue Thin" panose="020B0403020202020204" pitchFamily="34" charset="0"/>
                <a:ea typeface="Helvetica Neue Thin" panose="020B0403020202020204" pitchFamily="34" charset="0"/>
              </a:defRPr>
            </a:lvl1pPr>
          </a:lstStyle>
          <a:p>
            <a:pPr lvl="0"/>
            <a:r>
              <a:rPr lang="en-US"/>
              <a:t>Enter super long subtitle here</a:t>
            </a:r>
          </a:p>
          <a:p>
            <a:pPr marL="0" marR="0" lvl="0" indent="0" algn="l" defTabSz="914400" rtl="0" eaLnBrk="1" fontAlgn="auto" latinLnBrk="0" hangingPunct="1">
              <a:lnSpc>
                <a:spcPct val="100000"/>
              </a:lnSpc>
              <a:spcBef>
                <a:spcPct val="20000"/>
              </a:spcBef>
              <a:spcAft>
                <a:spcPts val="0"/>
              </a:spcAft>
              <a:buClr>
                <a:srgbClr val="39BA56"/>
              </a:buClr>
              <a:buSzPct val="100000"/>
              <a:buFont typeface="Arial" pitchFamily="34" charset="0"/>
              <a:buNone/>
              <a:tabLst/>
              <a:defRPr/>
            </a:pPr>
            <a:r>
              <a:rPr lang="en-US"/>
              <a:t>Enter super long subtitle here</a:t>
            </a:r>
          </a:p>
        </p:txBody>
      </p:sp>
    </p:spTree>
    <p:extLst>
      <p:ext uri="{BB962C8B-B14F-4D97-AF65-F5344CB8AC3E}">
        <p14:creationId xmlns:p14="http://schemas.microsoft.com/office/powerpoint/2010/main" val="32907042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5759" y="2276856"/>
            <a:ext cx="6202309" cy="2218944"/>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65760" y="4654296"/>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65759" y="5071605"/>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dirty="0"/>
          </a:p>
        </p:txBody>
      </p:sp>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bg1"/>
                </a:solidFill>
                <a:latin typeface="Arial" panose="020B0604020202020204" pitchFamily="34" charset="0"/>
                <a:cs typeface="Arial" panose="020B0604020202020204" pitchFamily="34" charset="0"/>
              </a:rPr>
              <a:t>©2024</a:t>
            </a:r>
            <a:r>
              <a:rPr lang="en-US" sz="1000" b="0" i="0" baseline="0" dirty="0">
                <a:solidFill>
                  <a:schemeClr val="bg1"/>
                </a:solidFill>
                <a:latin typeface="Arial" panose="020B0604020202020204" pitchFamily="34" charset="0"/>
                <a:cs typeface="Arial" panose="020B0604020202020204" pitchFamily="34" charset="0"/>
              </a:rPr>
              <a:t> Brillio  |  Proprietary &amp; Confidential</a:t>
            </a:r>
            <a:endParaRPr lang="en-US" sz="1000" b="0" i="0" dirty="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375097"/>
            <a:ext cx="1691640" cy="716956"/>
          </a:xfrm>
          <a:prstGeom prst="rect">
            <a:avLst/>
          </a:prstGeom>
        </p:spPr>
      </p:pic>
    </p:spTree>
    <p:extLst>
      <p:ext uri="{BB962C8B-B14F-4D97-AF65-F5344CB8AC3E}">
        <p14:creationId xmlns:p14="http://schemas.microsoft.com/office/powerpoint/2010/main" val="27456022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CDD1B40-43EA-172D-3789-A7E2E7749173}"/>
              </a:ext>
            </a:extLst>
          </p:cNvPr>
          <p:cNvSpPr>
            <a:spLocks noGrp="1"/>
          </p:cNvSpPr>
          <p:nvPr>
            <p:ph type="title"/>
          </p:nvPr>
        </p:nvSpPr>
        <p:spPr>
          <a:xfrm>
            <a:off x="371078" y="456357"/>
            <a:ext cx="11369637" cy="685995"/>
          </a:xfrm>
          <a:prstGeom prst="rect">
            <a:avLst/>
          </a:prstGeom>
        </p:spPr>
        <p:txBody>
          <a:bodyPr vert="horz" lIns="91440" tIns="45720" rIns="91440" bIns="45720" rtlCol="0" anchor="t" anchorCtr="0">
            <a:noAutofit/>
          </a:bodyPr>
          <a:lstStyle>
            <a:lvl1pPr>
              <a:defRPr spc="20" baseline="0"/>
            </a:lvl1pPr>
          </a:lstStyle>
          <a:p>
            <a:r>
              <a:rPr lang="en-US"/>
              <a:t>Click to edit Master title style</a:t>
            </a:r>
          </a:p>
        </p:txBody>
      </p:sp>
      <p:sp>
        <p:nvSpPr>
          <p:cNvPr id="5" name="Text Placeholder 2">
            <a:extLst>
              <a:ext uri="{FF2B5EF4-FFF2-40B4-BE49-F238E27FC236}">
                <a16:creationId xmlns:a16="http://schemas.microsoft.com/office/drawing/2014/main" id="{65D8388A-35C3-33B2-2FDF-EFBFB4D2E284}"/>
              </a:ext>
            </a:extLst>
          </p:cNvPr>
          <p:cNvSpPr>
            <a:spLocks noGrp="1"/>
          </p:cNvSpPr>
          <p:nvPr>
            <p:ph idx="1"/>
          </p:nvPr>
        </p:nvSpPr>
        <p:spPr>
          <a:xfrm>
            <a:off x="364902" y="1816843"/>
            <a:ext cx="11375814" cy="4318718"/>
          </a:xfrm>
          <a:prstGeom prst="rect">
            <a:avLst/>
          </a:prstGeom>
        </p:spPr>
        <p:txBody>
          <a:bodyPr vert="horz" lIns="91440" tIns="45720" rIns="91440" bIns="45720" rtlCol="0">
            <a:noAutofit/>
          </a:bodyPr>
          <a:lstStyle>
            <a:lvl1pPr>
              <a:defRPr b="0" i="0">
                <a:latin typeface="Helvetica Neue Light" panose="02000403000000020004" pitchFamily="2" charset="0"/>
                <a:ea typeface="Helvetica Neue Light" panose="02000403000000020004" pitchFamily="2" charset="0"/>
              </a:defRPr>
            </a:lvl1pPr>
            <a:lvl2pPr>
              <a:defRPr b="0" i="0">
                <a:latin typeface="Helvetica Neue Light" panose="02000403000000020004" pitchFamily="2" charset="0"/>
                <a:ea typeface="Helvetica Neue Light" panose="02000403000000020004" pitchFamily="2" charset="0"/>
              </a:defRPr>
            </a:lvl2pPr>
            <a:lvl3pPr>
              <a:defRPr b="0" i="0">
                <a:latin typeface="Helvetica Neue Light" panose="02000403000000020004" pitchFamily="2" charset="0"/>
                <a:ea typeface="Helvetica Neue Light" panose="02000403000000020004" pitchFamily="2" charset="0"/>
              </a:defRPr>
            </a:lvl3pPr>
            <a:lvl4pPr>
              <a:defRPr b="0" i="0">
                <a:latin typeface="Helvetica Neue Light" panose="02000403000000020004" pitchFamily="2" charset="0"/>
                <a:ea typeface="Helvetica Neue Light" panose="02000403000000020004" pitchFamily="2" charset="0"/>
              </a:defRPr>
            </a:lvl4pPr>
            <a:lvl5pPr>
              <a:defRPr b="0" i="0">
                <a:latin typeface="Helvetica Neue Light" panose="02000403000000020004" pitchFamily="2" charset="0"/>
                <a:ea typeface="Helvetica Neue Light" panose="020004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CB71A7F-8B2C-9D84-6D56-F9E6AB5D0955}"/>
              </a:ext>
            </a:extLst>
          </p:cNvPr>
          <p:cNvSpPr>
            <a:spLocks noGrp="1"/>
          </p:cNvSpPr>
          <p:nvPr>
            <p:ph type="sldNum" sz="quarter" idx="4"/>
          </p:nvPr>
        </p:nvSpPr>
        <p:spPr>
          <a:xfrm>
            <a:off x="11338560" y="6405298"/>
            <a:ext cx="498806" cy="269738"/>
          </a:xfrm>
          <a:prstGeom prst="rect">
            <a:avLst/>
          </a:prstGeom>
        </p:spPr>
        <p:txBody>
          <a:bodyPr vert="horz" lIns="91440" tIns="45720" rIns="91440" bIns="45720" rtlCol="0" anchor="ctr"/>
          <a:lstStyle>
            <a:lvl1pPr algn="r">
              <a:defRPr sz="800">
                <a:solidFill>
                  <a:sysClr val="windowText" lastClr="000000"/>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72410227-0A74-4DD0-97A1-EFCFB8B7378B}" type="slidenum">
              <a:rPr lang="en-US" smtClean="0"/>
              <a:pPr/>
              <a:t>‹#›</a:t>
            </a:fld>
            <a:endParaRPr lang="en-US" dirty="0"/>
          </a:p>
        </p:txBody>
      </p:sp>
      <p:sp>
        <p:nvSpPr>
          <p:cNvPr id="8" name="Text Placeholder 2">
            <a:extLst>
              <a:ext uri="{FF2B5EF4-FFF2-40B4-BE49-F238E27FC236}">
                <a16:creationId xmlns:a16="http://schemas.microsoft.com/office/drawing/2014/main" id="{A41ACCDF-469A-5AF1-95B4-166FE09C88C6}"/>
              </a:ext>
            </a:extLst>
          </p:cNvPr>
          <p:cNvSpPr>
            <a:spLocks noGrp="1"/>
          </p:cNvSpPr>
          <p:nvPr>
            <p:ph idx="10" hasCustomPrompt="1"/>
          </p:nvPr>
        </p:nvSpPr>
        <p:spPr>
          <a:xfrm>
            <a:off x="383190" y="1089887"/>
            <a:ext cx="11375814" cy="685995"/>
          </a:xfrm>
          <a:prstGeom prst="rect">
            <a:avLst/>
          </a:prstGeom>
        </p:spPr>
        <p:txBody>
          <a:bodyPr vert="horz" lIns="91440" tIns="45720" rIns="91440" bIns="45720" rtlCol="0">
            <a:noAutofit/>
          </a:bodyPr>
          <a:lstStyle>
            <a:lvl1pPr marL="0" indent="0">
              <a:lnSpc>
                <a:spcPct val="100000"/>
              </a:lnSpc>
              <a:spcBef>
                <a:spcPts val="0"/>
              </a:spcBef>
              <a:spcAft>
                <a:spcPts val="600"/>
              </a:spcAft>
              <a:buNone/>
              <a:defRPr sz="1400" b="0" i="0" spc="20" baseline="0">
                <a:latin typeface="Helvetica Neue Thin" panose="020B0403020202020204" pitchFamily="34" charset="0"/>
                <a:ea typeface="Helvetica Neue Thin" panose="020B0403020202020204" pitchFamily="34" charset="0"/>
              </a:defRPr>
            </a:lvl1pPr>
          </a:lstStyle>
          <a:p>
            <a:pPr lvl="0"/>
            <a:r>
              <a:rPr lang="en-US"/>
              <a:t>Enter super long subtitle here</a:t>
            </a:r>
          </a:p>
          <a:p>
            <a:pPr marL="0" marR="0" lvl="0" indent="0" algn="l" defTabSz="914400" rtl="0" eaLnBrk="1" fontAlgn="auto" latinLnBrk="0" hangingPunct="1">
              <a:lnSpc>
                <a:spcPct val="100000"/>
              </a:lnSpc>
              <a:spcBef>
                <a:spcPct val="20000"/>
              </a:spcBef>
              <a:spcAft>
                <a:spcPts val="0"/>
              </a:spcAft>
              <a:buClr>
                <a:srgbClr val="39BA56"/>
              </a:buClr>
              <a:buSzPct val="100000"/>
              <a:buFont typeface="Arial" pitchFamily="34" charset="0"/>
              <a:buNone/>
              <a:tabLst/>
              <a:defRPr/>
            </a:pPr>
            <a:r>
              <a:rPr lang="en-US"/>
              <a:t>Enter super long subtitle here</a:t>
            </a:r>
          </a:p>
        </p:txBody>
      </p:sp>
    </p:spTree>
    <p:extLst>
      <p:ext uri="{BB962C8B-B14F-4D97-AF65-F5344CB8AC3E}">
        <p14:creationId xmlns:p14="http://schemas.microsoft.com/office/powerpoint/2010/main" val="33679408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5761" y="2276856"/>
            <a:ext cx="6630463" cy="2218944"/>
          </a:xfrm>
        </p:spPr>
        <p:txBody>
          <a:bodyPr anchor="t" anchorCtr="0"/>
          <a:lstStyle>
            <a:lvl1pPr marL="0" indent="0" algn="l">
              <a:lnSpc>
                <a:spcPts val="5200"/>
              </a:lnSpc>
              <a:buFont typeface="Arial" panose="020B0604020202020204" pitchFamily="34" charset="0"/>
              <a:buNone/>
              <a:defRPr sz="4400" b="0" i="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65760" y="4654296"/>
            <a:ext cx="5598478" cy="451104"/>
          </a:xfrm>
        </p:spPr>
        <p:txBody>
          <a:bodyPr>
            <a:noAutofit/>
          </a:bodyPr>
          <a:lstStyle>
            <a:lvl1pPr marL="0" indent="0" algn="l">
              <a:buFont typeface="Arial" panose="020B0604020202020204" pitchFamily="34" charset="0"/>
              <a:buNone/>
              <a:defRPr sz="1600" b="0" i="0" baseline="0">
                <a:solidFill>
                  <a:schemeClr val="tx2"/>
                </a:solidFill>
                <a:latin typeface="Arial" panose="020B0604020202020204" pitchFamily="34" charset="0"/>
                <a:cs typeface="Arial" panose="020B0604020202020204" pitchFamily="34" charset="0"/>
              </a:defRPr>
            </a:lvl1pPr>
            <a:lvl2pPr marL="457212" indent="0" algn="ctr">
              <a:buNone/>
              <a:defRPr sz="2000"/>
            </a:lvl2pPr>
            <a:lvl3pPr marL="914423" indent="0" algn="ctr">
              <a:buNone/>
              <a:defRPr sz="1800"/>
            </a:lvl3pPr>
            <a:lvl4pPr marL="1371635" indent="0" algn="ctr">
              <a:buNone/>
              <a:defRPr sz="1600"/>
            </a:lvl4pPr>
            <a:lvl5pPr marL="1828845" indent="0" algn="ctr">
              <a:buNone/>
              <a:defRPr sz="1600"/>
            </a:lvl5pPr>
            <a:lvl6pPr marL="2286058" indent="0" algn="ctr">
              <a:buNone/>
              <a:defRPr sz="1600"/>
            </a:lvl6pPr>
            <a:lvl7pPr marL="2743268" indent="0" algn="ctr">
              <a:buNone/>
              <a:defRPr sz="1600"/>
            </a:lvl7pPr>
            <a:lvl8pPr marL="3200480" indent="0" algn="ctr">
              <a:buNone/>
              <a:defRPr sz="1600"/>
            </a:lvl8pPr>
            <a:lvl9pPr marL="3657692"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65760" y="5071606"/>
            <a:ext cx="5598479" cy="325142"/>
          </a:xfrm>
          <a:prstGeom prst="rect">
            <a:avLst/>
          </a:prstGeom>
        </p:spPr>
        <p:txBody>
          <a:bodyPr lIns="0"/>
          <a:lstStyle>
            <a:lvl1pPr algn="l">
              <a:defRPr sz="1600" b="0" i="0" baseline="0">
                <a:solidFill>
                  <a:schemeClr val="tx2"/>
                </a:solidFill>
                <a:latin typeface="Arial" panose="020B0604020202020204" pitchFamily="34" charset="0"/>
                <a:cs typeface="Arial" panose="020B0604020202020204" pitchFamily="34" charset="0"/>
              </a:defRPr>
            </a:lvl1pPr>
          </a:lstStyle>
          <a:p>
            <a:fld id="{1EF9819B-D960-4C8D-8FBF-E3414B3ABB68}" type="datetimeFigureOut">
              <a:rPr lang="en-IN" smtClean="0"/>
              <a:t>28-05-2024</a:t>
            </a:fld>
            <a:endParaRPr lang="en-IN" dirty="0"/>
          </a:p>
        </p:txBody>
      </p:sp>
      <p:sp>
        <p:nvSpPr>
          <p:cNvPr id="8" name="TextBox 7"/>
          <p:cNvSpPr txBox="1"/>
          <p:nvPr/>
        </p:nvSpPr>
        <p:spPr>
          <a:xfrm>
            <a:off x="381000" y="6323113"/>
            <a:ext cx="3048000" cy="153888"/>
          </a:xfrm>
          <a:prstGeom prst="rect">
            <a:avLst/>
          </a:prstGeom>
          <a:noFill/>
        </p:spPr>
        <p:txBody>
          <a:bodyPr wrap="square" lIns="0" tIns="0" rIns="0" bIns="0" rtlCol="0" anchor="b" anchorCtr="0">
            <a:spAutoFit/>
          </a:bodyPr>
          <a:lstStyle/>
          <a:p>
            <a:pPr algn="l"/>
            <a:r>
              <a:rPr lang="en-US" sz="1000" b="0" i="0" dirty="0">
                <a:solidFill>
                  <a:schemeClr val="tx2"/>
                </a:solidFill>
                <a:latin typeface="Arial" panose="020B0604020202020204" pitchFamily="34" charset="0"/>
                <a:cs typeface="Arial" panose="020B0604020202020204" pitchFamily="34" charset="0"/>
              </a:rPr>
              <a:t>©2024</a:t>
            </a:r>
            <a:r>
              <a:rPr lang="en-US" sz="1000" b="0" i="0" baseline="0" dirty="0">
                <a:solidFill>
                  <a:schemeClr val="tx2"/>
                </a:solidFill>
                <a:latin typeface="Arial" panose="020B0604020202020204" pitchFamily="34" charset="0"/>
                <a:cs typeface="Arial" panose="020B0604020202020204" pitchFamily="34" charset="0"/>
              </a:rPr>
              <a:t> Brillio  |  Proprietary &amp; Confidential</a:t>
            </a:r>
            <a:endParaRPr lang="en-US" sz="1000" b="0" i="0" dirty="0">
              <a:solidFill>
                <a:schemeClr val="tx2"/>
              </a:solidFill>
              <a:latin typeface="Arial" panose="020B0604020202020204" pitchFamily="34" charset="0"/>
              <a:cs typeface="Arial" panose="020B0604020202020204" pitchFamily="34" charset="0"/>
            </a:endParaRP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93405" y="381001"/>
            <a:ext cx="1691640" cy="714613"/>
          </a:xfrm>
          <a:prstGeom prst="rect">
            <a:avLst/>
          </a:prstGeom>
        </p:spPr>
      </p:pic>
    </p:spTree>
    <p:extLst>
      <p:ext uri="{BB962C8B-B14F-4D97-AF65-F5344CB8AC3E}">
        <p14:creationId xmlns:p14="http://schemas.microsoft.com/office/powerpoint/2010/main" val="38619849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B46D5EA-C380-41B9-A8DE-1B107D9B4863}"/>
              </a:ext>
            </a:extLst>
          </p:cNvPr>
          <p:cNvCxnSpPr>
            <a:cxnSpLocks/>
          </p:cNvCxnSpPr>
          <p:nvPr userDrawn="1"/>
        </p:nvCxnSpPr>
        <p:spPr>
          <a:xfrm>
            <a:off x="0" y="629756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arallelogram 24">
            <a:extLst>
              <a:ext uri="{FF2B5EF4-FFF2-40B4-BE49-F238E27FC236}">
                <a16:creationId xmlns:a16="http://schemas.microsoft.com/office/drawing/2014/main" id="{46D8144E-784A-4038-9010-9A672F089B57}"/>
              </a:ext>
            </a:extLst>
          </p:cNvPr>
          <p:cNvSpPr/>
          <p:nvPr userDrawn="1"/>
        </p:nvSpPr>
        <p:spPr>
          <a:xfrm>
            <a:off x="124641" y="6698"/>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26" name="Slide Number Placeholder 5">
            <a:extLst>
              <a:ext uri="{FF2B5EF4-FFF2-40B4-BE49-F238E27FC236}">
                <a16:creationId xmlns:a16="http://schemas.microsoft.com/office/drawing/2014/main" id="{465E2EE2-DA64-4B27-BFB1-67141A6FDE88}"/>
              </a:ext>
            </a:extLst>
          </p:cNvPr>
          <p:cNvSpPr txBox="1">
            <a:spLocks/>
          </p:cNvSpPr>
          <p:nvPr userDrawn="1"/>
        </p:nvSpPr>
        <p:spPr>
          <a:xfrm>
            <a:off x="11526449" y="126797"/>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Oval 26">
            <a:extLst>
              <a:ext uri="{FF2B5EF4-FFF2-40B4-BE49-F238E27FC236}">
                <a16:creationId xmlns:a16="http://schemas.microsoft.com/office/drawing/2014/main" id="{099495C1-F4AC-4B68-8796-428E4621C5B8}"/>
              </a:ext>
            </a:extLst>
          </p:cNvPr>
          <p:cNvSpPr/>
          <p:nvPr userDrawn="1"/>
        </p:nvSpPr>
        <p:spPr>
          <a:xfrm>
            <a:off x="11440456"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Oval 27">
            <a:extLst>
              <a:ext uri="{FF2B5EF4-FFF2-40B4-BE49-F238E27FC236}">
                <a16:creationId xmlns:a16="http://schemas.microsoft.com/office/drawing/2014/main" id="{24E87B81-51FB-43BF-8CA5-EE8B964B4C80}"/>
              </a:ext>
            </a:extLst>
          </p:cNvPr>
          <p:cNvSpPr/>
          <p:nvPr userDrawn="1"/>
        </p:nvSpPr>
        <p:spPr>
          <a:xfrm>
            <a:off x="11053291"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Rectangle 9">
            <a:extLst>
              <a:ext uri="{FF2B5EF4-FFF2-40B4-BE49-F238E27FC236}">
                <a16:creationId xmlns:a16="http://schemas.microsoft.com/office/drawing/2014/main" id="{68BBCC3F-F002-4FFC-AC59-1E2C3F6C8921}"/>
              </a:ext>
            </a:extLst>
          </p:cNvPr>
          <p:cNvSpPr/>
          <p:nvPr userDrawn="1"/>
        </p:nvSpPr>
        <p:spPr>
          <a:xfrm rot="2700000">
            <a:off x="11181862"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Oval 29">
            <a:extLst>
              <a:ext uri="{FF2B5EF4-FFF2-40B4-BE49-F238E27FC236}">
                <a16:creationId xmlns:a16="http://schemas.microsoft.com/office/drawing/2014/main" id="{D422BB2F-1583-4A3E-BA78-032EFF2E664D}"/>
              </a:ext>
            </a:extLst>
          </p:cNvPr>
          <p:cNvSpPr/>
          <p:nvPr userDrawn="1"/>
        </p:nvSpPr>
        <p:spPr>
          <a:xfrm rot="10800000">
            <a:off x="11827620"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 name="Rectangle 9">
            <a:extLst>
              <a:ext uri="{FF2B5EF4-FFF2-40B4-BE49-F238E27FC236}">
                <a16:creationId xmlns:a16="http://schemas.microsoft.com/office/drawing/2014/main" id="{775987DC-52A7-4D1C-9715-47294F9595F0}"/>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42975" y="48473"/>
            <a:ext cx="10118886" cy="698611"/>
          </a:xfrm>
          <a:prstGeom prst="rect">
            <a:avLst/>
          </a:prstGeom>
        </p:spPr>
        <p:txBody>
          <a:bodyPr anchor="ctr"/>
          <a:lstStyle>
            <a:lvl1pPr>
              <a:defRPr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39"/>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pic>
        <p:nvPicPr>
          <p:cNvPr id="2" name="Picture 2" descr="Brillio - Wikipedia">
            <a:extLst>
              <a:ext uri="{FF2B5EF4-FFF2-40B4-BE49-F238E27FC236}">
                <a16:creationId xmlns:a16="http://schemas.microsoft.com/office/drawing/2014/main" id="{DC36C261-335E-4D79-A521-2AB20CA9CC98}"/>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4"/>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6" name="Action Button: Forward or Next 26">
            <a:hlinkClick r:id="" action="ppaction://hlinkshowjump?jump=nextslide" highlightClick="1"/>
            <a:extLst>
              <a:ext uri="{FF2B5EF4-FFF2-40B4-BE49-F238E27FC236}">
                <a16:creationId xmlns:a16="http://schemas.microsoft.com/office/drawing/2014/main" id="{7A04BD70-6434-4D97-B88E-7C595314B196}"/>
              </a:ext>
            </a:extLst>
          </p:cNvPr>
          <p:cNvSpPr/>
          <p:nvPr userDrawn="1"/>
        </p:nvSpPr>
        <p:spPr>
          <a:xfrm>
            <a:off x="11799046" y="71227"/>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Action Button: Back or Previous 27">
            <a:hlinkClick r:id="" action="ppaction://hlinkshowjump?jump=previousslide" highlightClick="1"/>
            <a:extLst>
              <a:ext uri="{FF2B5EF4-FFF2-40B4-BE49-F238E27FC236}">
                <a16:creationId xmlns:a16="http://schemas.microsoft.com/office/drawing/2014/main" id="{34EA9CD8-C2EF-4C9B-BB3D-1E6BA08ADB0B}"/>
              </a:ext>
            </a:extLst>
          </p:cNvPr>
          <p:cNvSpPr/>
          <p:nvPr userDrawn="1"/>
        </p:nvSpPr>
        <p:spPr>
          <a:xfrm>
            <a:off x="11020553" y="110047"/>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1799062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9"/>
            <a:ext cx="11460480" cy="4203827"/>
          </a:xfrm>
        </p:spPr>
        <p:txBody>
          <a:bodyPr>
            <a:noAutofit/>
          </a:bodyPr>
          <a:lstStyle>
            <a:lvl1pPr marL="345965" indent="-342917" defTabSz="914423">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619" indent="-342917">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702"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307">
              <a:defRPr sz="1867"/>
            </a:lvl6pPr>
            <a:lvl7pPr marL="463307" indent="-228605">
              <a:defRPr sz="1867"/>
            </a:lvl7pPr>
            <a:lvl8pPr marL="463307">
              <a:defRPr sz="1867"/>
            </a:lvl8pPr>
            <a:lvl9pPr marL="463307" indent="-228605">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7"/>
            <a:ext cx="1969452" cy="280563"/>
          </a:xfrm>
        </p:spPr>
        <p:txBody>
          <a:bodyPr/>
          <a:lstStyle/>
          <a:p>
            <a:fld id="{3524B939-EC2F-49C0-A963-D2906BF63152}" type="slidenum">
              <a:rPr lang="en-IN" smtClean="0"/>
              <a:t>‹#›</a:t>
            </a:fld>
            <a:endParaRPr lang="en-IN" dirty="0"/>
          </a:p>
        </p:txBody>
      </p:sp>
    </p:spTree>
    <p:extLst>
      <p:ext uri="{BB962C8B-B14F-4D97-AF65-F5344CB8AC3E}">
        <p14:creationId xmlns:p14="http://schemas.microsoft.com/office/powerpoint/2010/main" val="10196352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1" y="381001"/>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Tree>
    <p:extLst>
      <p:ext uri="{BB962C8B-B14F-4D97-AF65-F5344CB8AC3E}">
        <p14:creationId xmlns:p14="http://schemas.microsoft.com/office/powerpoint/2010/main" val="378292769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1" y="2029922"/>
            <a:ext cx="9887803" cy="3621577"/>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p:nvCxnSpPr>
        <p:spPr>
          <a:xfrm>
            <a:off x="1125941"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1000" y="6083781"/>
            <a:ext cx="1121928" cy="475499"/>
          </a:xfrm>
          <a:prstGeom prst="rect">
            <a:avLst/>
          </a:prstGeom>
        </p:spPr>
      </p:pic>
    </p:spTree>
    <p:extLst>
      <p:ext uri="{BB962C8B-B14F-4D97-AF65-F5344CB8AC3E}">
        <p14:creationId xmlns:p14="http://schemas.microsoft.com/office/powerpoint/2010/main" val="3962085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800" dirty="0"/>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1"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1000" y="6083781"/>
            <a:ext cx="1121928" cy="475499"/>
          </a:xfrm>
          <a:prstGeom prst="rect">
            <a:avLst/>
          </a:prstGeom>
        </p:spPr>
      </p:pic>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9"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spTree>
    <p:extLst>
      <p:ext uri="{BB962C8B-B14F-4D97-AF65-F5344CB8AC3E}">
        <p14:creationId xmlns:p14="http://schemas.microsoft.com/office/powerpoint/2010/main" val="101399942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800" dirty="0"/>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6" y="381001"/>
            <a:ext cx="5072513" cy="5349875"/>
          </a:xfrm>
        </p:spPr>
        <p:txBody>
          <a:bodyPr lIns="0" tIns="0" rIns="457200" bIns="0"/>
          <a:lstStyle>
            <a:lvl1pPr marL="9526" indent="0">
              <a:buNone/>
              <a:tabLst/>
              <a:defRPr sz="2400" b="1" baseline="0">
                <a:solidFill>
                  <a:srgbClr val="2CC84D"/>
                </a:solidFill>
              </a:defRPr>
            </a:lvl1pPr>
            <a:lvl2pPr marL="9526" indent="0">
              <a:buNone/>
              <a:tabLst/>
              <a:defRPr sz="2400" baseline="0">
                <a:solidFill>
                  <a:schemeClr val="bg1"/>
                </a:solidFill>
              </a:defRPr>
            </a:lvl2pPr>
            <a:lvl3pPr marL="9526" indent="0">
              <a:buNone/>
              <a:tabLst/>
              <a:defRPr sz="2400" baseline="0">
                <a:solidFill>
                  <a:schemeClr val="bg1"/>
                </a:solidFill>
              </a:defRPr>
            </a:lvl3pPr>
            <a:lvl4pPr marL="9526" indent="0">
              <a:buNone/>
              <a:tabLst/>
              <a:defRPr sz="2400" baseline="0">
                <a:solidFill>
                  <a:schemeClr val="bg1"/>
                </a:solidFill>
              </a:defRPr>
            </a:lvl4pPr>
            <a:lvl5pPr marL="9526"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1000" y="6083781"/>
            <a:ext cx="1121928" cy="475499"/>
          </a:xfrm>
          <a:prstGeom prst="rect">
            <a:avLst/>
          </a:prstGeom>
        </p:spPr>
      </p:pic>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9"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spTree>
    <p:extLst>
      <p:ext uri="{BB962C8B-B14F-4D97-AF65-F5344CB8AC3E}">
        <p14:creationId xmlns:p14="http://schemas.microsoft.com/office/powerpoint/2010/main" val="353305532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1"/>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spTree>
    <p:extLst>
      <p:ext uri="{BB962C8B-B14F-4D97-AF65-F5344CB8AC3E}">
        <p14:creationId xmlns:p14="http://schemas.microsoft.com/office/powerpoint/2010/main" val="22909096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Brillio_Text slide_2-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1"/>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524001"/>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34CB5D87-9C63-F742-8789-467D066A468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0" name="Slide Number Placeholder 10">
            <a:extLst>
              <a:ext uri="{FF2B5EF4-FFF2-40B4-BE49-F238E27FC236}">
                <a16:creationId xmlns:a16="http://schemas.microsoft.com/office/drawing/2014/main" id="{0A7CBB16-E582-0C40-AE06-BA402F61B924}"/>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cxnSp>
        <p:nvCxnSpPr>
          <p:cNvPr id="12" name="Straight Connector 11">
            <a:extLst>
              <a:ext uri="{FF2B5EF4-FFF2-40B4-BE49-F238E27FC236}">
                <a16:creationId xmlns:a16="http://schemas.microsoft.com/office/drawing/2014/main" id="{ECA16358-F534-8F44-9052-ED8F6243B021}"/>
              </a:ext>
            </a:extLst>
          </p:cNvPr>
          <p:cNvCxnSpPr/>
          <p:nvPr/>
        </p:nvCxnSpPr>
        <p:spPr>
          <a:xfrm>
            <a:off x="6096000"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67503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Brillio_Text slide_2-Column: 1/3, 2/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1" y="1524001"/>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1"/>
            <a:ext cx="755269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0CB1FD68-14F9-FE47-BF6A-F5E2D40B20D6}"/>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1" name="Slide Number Placeholder 10">
            <a:extLst>
              <a:ext uri="{FF2B5EF4-FFF2-40B4-BE49-F238E27FC236}">
                <a16:creationId xmlns:a16="http://schemas.microsoft.com/office/drawing/2014/main" id="{F00C1D94-4F81-1546-B652-53D50C45A20D}"/>
              </a:ext>
            </a:extLst>
          </p:cNvPr>
          <p:cNvSpPr>
            <a:spLocks noGrp="1"/>
          </p:cNvSpPr>
          <p:nvPr>
            <p:ph type="sldNum" sz="quarter" idx="4"/>
          </p:nvPr>
        </p:nvSpPr>
        <p:spPr>
          <a:xfrm>
            <a:off x="9856789" y="6212313"/>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cxnSp>
        <p:nvCxnSpPr>
          <p:cNvPr id="12" name="Straight Connector 11">
            <a:extLst>
              <a:ext uri="{FF2B5EF4-FFF2-40B4-BE49-F238E27FC236}">
                <a16:creationId xmlns:a16="http://schemas.microsoft.com/office/drawing/2014/main" id="{E086B0DF-D1AA-9E44-A17A-5AC6AEECFE14}"/>
              </a:ext>
            </a:extLst>
          </p:cNvPr>
          <p:cNvCxnSpPr/>
          <p:nvPr/>
        </p:nvCxnSpPr>
        <p:spPr>
          <a:xfrm>
            <a:off x="4157331"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238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Brillio_Text slide_2-Column: 2/3, 1/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1"/>
            <a:ext cx="753364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143875" y="1524001"/>
            <a:ext cx="368236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7248002A-364A-3C41-B621-7CFA698732E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0" name="Slide Number Placeholder 10">
            <a:extLst>
              <a:ext uri="{FF2B5EF4-FFF2-40B4-BE49-F238E27FC236}">
                <a16:creationId xmlns:a16="http://schemas.microsoft.com/office/drawing/2014/main" id="{D7B71F9E-FFDF-D64D-A048-B3B4C35F9B23}"/>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cxnSp>
        <p:nvCxnSpPr>
          <p:cNvPr id="12" name="Straight Connector 11">
            <a:extLst>
              <a:ext uri="{FF2B5EF4-FFF2-40B4-BE49-F238E27FC236}">
                <a16:creationId xmlns:a16="http://schemas.microsoft.com/office/drawing/2014/main" id="{99C4DDD6-1D90-E948-A659-5FF6322AFAB6}"/>
              </a:ext>
            </a:extLst>
          </p:cNvPr>
          <p:cNvCxnSpPr/>
          <p:nvPr/>
        </p:nvCxnSpPr>
        <p:spPr>
          <a:xfrm>
            <a:off x="8027582"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90812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Brillio_Text slide_3-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1"/>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1"/>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168640" y="1524001"/>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icon&#10;&#10;Description automatically generated">
            <a:extLst>
              <a:ext uri="{FF2B5EF4-FFF2-40B4-BE49-F238E27FC236}">
                <a16:creationId xmlns:a16="http://schemas.microsoft.com/office/drawing/2014/main" id="{888F6ED4-3138-304A-80F6-0C7849857F3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1" name="Slide Number Placeholder 10">
            <a:extLst>
              <a:ext uri="{FF2B5EF4-FFF2-40B4-BE49-F238E27FC236}">
                <a16:creationId xmlns:a16="http://schemas.microsoft.com/office/drawing/2014/main" id="{31DBF3D1-5D71-B84B-930F-EE2A488D3BA4}"/>
              </a:ext>
            </a:extLst>
          </p:cNvPr>
          <p:cNvSpPr>
            <a:spLocks noGrp="1"/>
          </p:cNvSpPr>
          <p:nvPr>
            <p:ph type="sldNum" sz="quarter" idx="4"/>
          </p:nvPr>
        </p:nvSpPr>
        <p:spPr>
          <a:xfrm>
            <a:off x="9856789" y="6212313"/>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cxnSp>
        <p:nvCxnSpPr>
          <p:cNvPr id="13" name="Straight Connector 12">
            <a:extLst>
              <a:ext uri="{FF2B5EF4-FFF2-40B4-BE49-F238E27FC236}">
                <a16:creationId xmlns:a16="http://schemas.microsoft.com/office/drawing/2014/main" id="{91663619-FBBC-D442-AFAB-520DE097918D}"/>
              </a:ext>
            </a:extLst>
          </p:cNvPr>
          <p:cNvCxnSpPr/>
          <p:nvPr/>
        </p:nvCxnSpPr>
        <p:spPr>
          <a:xfrm>
            <a:off x="4157331"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9ADF1C-4CF6-2541-995D-FB35856D1159}"/>
              </a:ext>
            </a:extLst>
          </p:cNvPr>
          <p:cNvCxnSpPr/>
          <p:nvPr/>
        </p:nvCxnSpPr>
        <p:spPr>
          <a:xfrm>
            <a:off x="8027582"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33449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B46D5EA-C380-41B9-A8DE-1B107D9B4863}"/>
              </a:ext>
            </a:extLst>
          </p:cNvPr>
          <p:cNvCxnSpPr>
            <a:cxnSpLocks/>
          </p:cNvCxnSpPr>
          <p:nvPr userDrawn="1"/>
        </p:nvCxnSpPr>
        <p:spPr>
          <a:xfrm>
            <a:off x="0" y="629756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arallelogram 24">
            <a:extLst>
              <a:ext uri="{FF2B5EF4-FFF2-40B4-BE49-F238E27FC236}">
                <a16:creationId xmlns:a16="http://schemas.microsoft.com/office/drawing/2014/main" id="{46D8144E-784A-4038-9010-9A672F089B57}"/>
              </a:ext>
            </a:extLst>
          </p:cNvPr>
          <p:cNvSpPr/>
          <p:nvPr userDrawn="1"/>
        </p:nvSpPr>
        <p:spPr>
          <a:xfrm>
            <a:off x="124641" y="6698"/>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26" name="Slide Number Placeholder 5">
            <a:extLst>
              <a:ext uri="{FF2B5EF4-FFF2-40B4-BE49-F238E27FC236}">
                <a16:creationId xmlns:a16="http://schemas.microsoft.com/office/drawing/2014/main" id="{465E2EE2-DA64-4B27-BFB1-67141A6FDE88}"/>
              </a:ext>
            </a:extLst>
          </p:cNvPr>
          <p:cNvSpPr txBox="1">
            <a:spLocks/>
          </p:cNvSpPr>
          <p:nvPr userDrawn="1"/>
        </p:nvSpPr>
        <p:spPr>
          <a:xfrm>
            <a:off x="11526449" y="126797"/>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Oval 26">
            <a:extLst>
              <a:ext uri="{FF2B5EF4-FFF2-40B4-BE49-F238E27FC236}">
                <a16:creationId xmlns:a16="http://schemas.microsoft.com/office/drawing/2014/main" id="{099495C1-F4AC-4B68-8796-428E4621C5B8}"/>
              </a:ext>
            </a:extLst>
          </p:cNvPr>
          <p:cNvSpPr/>
          <p:nvPr userDrawn="1"/>
        </p:nvSpPr>
        <p:spPr>
          <a:xfrm>
            <a:off x="11440456"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Oval 27">
            <a:extLst>
              <a:ext uri="{FF2B5EF4-FFF2-40B4-BE49-F238E27FC236}">
                <a16:creationId xmlns:a16="http://schemas.microsoft.com/office/drawing/2014/main" id="{24E87B81-51FB-43BF-8CA5-EE8B964B4C80}"/>
              </a:ext>
            </a:extLst>
          </p:cNvPr>
          <p:cNvSpPr/>
          <p:nvPr userDrawn="1"/>
        </p:nvSpPr>
        <p:spPr>
          <a:xfrm>
            <a:off x="11053291"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Rectangle 9">
            <a:extLst>
              <a:ext uri="{FF2B5EF4-FFF2-40B4-BE49-F238E27FC236}">
                <a16:creationId xmlns:a16="http://schemas.microsoft.com/office/drawing/2014/main" id="{68BBCC3F-F002-4FFC-AC59-1E2C3F6C8921}"/>
              </a:ext>
            </a:extLst>
          </p:cNvPr>
          <p:cNvSpPr/>
          <p:nvPr userDrawn="1"/>
        </p:nvSpPr>
        <p:spPr>
          <a:xfrm rot="2700000">
            <a:off x="11181862"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Oval 29">
            <a:extLst>
              <a:ext uri="{FF2B5EF4-FFF2-40B4-BE49-F238E27FC236}">
                <a16:creationId xmlns:a16="http://schemas.microsoft.com/office/drawing/2014/main" id="{D422BB2F-1583-4A3E-BA78-032EFF2E664D}"/>
              </a:ext>
            </a:extLst>
          </p:cNvPr>
          <p:cNvSpPr/>
          <p:nvPr userDrawn="1"/>
        </p:nvSpPr>
        <p:spPr>
          <a:xfrm rot="10800000">
            <a:off x="11827620"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 name="Rectangle 9">
            <a:extLst>
              <a:ext uri="{FF2B5EF4-FFF2-40B4-BE49-F238E27FC236}">
                <a16:creationId xmlns:a16="http://schemas.microsoft.com/office/drawing/2014/main" id="{775987DC-52A7-4D1C-9715-47294F9595F0}"/>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42975" y="48473"/>
            <a:ext cx="10118886" cy="698611"/>
          </a:xfrm>
          <a:prstGeom prst="rect">
            <a:avLst/>
          </a:prstGeom>
        </p:spPr>
        <p:txBody>
          <a:bodyPr anchor="ctr"/>
          <a:lstStyle>
            <a:lvl1pPr>
              <a:defRPr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39"/>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3" name="Text Placeholder 2">
            <a:extLst>
              <a:ext uri="{FF2B5EF4-FFF2-40B4-BE49-F238E27FC236}">
                <a16:creationId xmlns:a16="http://schemas.microsoft.com/office/drawing/2014/main" id="{7F821F01-3422-422B-BB80-A117C5A0BBBA}"/>
              </a:ext>
            </a:extLst>
          </p:cNvPr>
          <p:cNvSpPr>
            <a:spLocks noGrp="1"/>
          </p:cNvSpPr>
          <p:nvPr>
            <p:ph type="body" sz="quarter" idx="10" hasCustomPrompt="1"/>
          </p:nvPr>
        </p:nvSpPr>
        <p:spPr>
          <a:xfrm>
            <a:off x="842963" y="677647"/>
            <a:ext cx="7222332" cy="185738"/>
          </a:xfrm>
          <a:prstGeom prst="rect">
            <a:avLst/>
          </a:prstGeom>
        </p:spPr>
        <p:txBody>
          <a:bodyPr anchor="ctr"/>
          <a:lstStyle>
            <a:lvl1pPr marL="0" indent="0">
              <a:buNone/>
              <a:defRPr sz="1200" cap="all" spc="300" baseline="0">
                <a:solidFill>
                  <a:schemeClr val="tx1">
                    <a:lumMod val="75000"/>
                    <a:lumOff val="25000"/>
                  </a:schemeClr>
                </a:solidFill>
                <a:latin typeface="+mj-lt"/>
              </a:defRPr>
            </a:lvl1pPr>
            <a:lvl2pPr marL="228600" indent="0">
              <a:buNone/>
              <a:defRPr cap="all" baseline="0">
                <a:solidFill>
                  <a:schemeClr val="tx1">
                    <a:lumMod val="75000"/>
                    <a:lumOff val="25000"/>
                  </a:schemeClr>
                </a:solidFill>
                <a:latin typeface="+mj-lt"/>
              </a:defRPr>
            </a:lvl2pPr>
            <a:lvl3pPr marL="457200" indent="0">
              <a:buNone/>
              <a:defRPr cap="all" baseline="0">
                <a:solidFill>
                  <a:schemeClr val="tx1">
                    <a:lumMod val="75000"/>
                    <a:lumOff val="25000"/>
                  </a:schemeClr>
                </a:solidFill>
                <a:latin typeface="+mj-lt"/>
              </a:defRPr>
            </a:lvl3pPr>
            <a:lvl4pPr marL="685800" indent="0">
              <a:buNone/>
              <a:defRPr cap="all" baseline="0">
                <a:solidFill>
                  <a:schemeClr val="tx1">
                    <a:lumMod val="75000"/>
                    <a:lumOff val="25000"/>
                  </a:schemeClr>
                </a:solidFill>
                <a:latin typeface="+mj-lt"/>
              </a:defRPr>
            </a:lvl4pPr>
            <a:lvl5pPr marL="914400" indent="0">
              <a:buNone/>
              <a:defRPr cap="all" baseline="0">
                <a:solidFill>
                  <a:schemeClr val="tx1">
                    <a:lumMod val="75000"/>
                    <a:lumOff val="25000"/>
                  </a:schemeClr>
                </a:solidFill>
                <a:latin typeface="+mj-lt"/>
              </a:defRPr>
            </a:lvl5pPr>
          </a:lstStyle>
          <a:p>
            <a:pPr lvl="0"/>
            <a:r>
              <a:rPr lang="en-US"/>
              <a:t>CLICK HERE TO EDIT SUBTITLES</a:t>
            </a:r>
            <a:endParaRPr lang="en-IN"/>
          </a:p>
        </p:txBody>
      </p:sp>
      <p:pic>
        <p:nvPicPr>
          <p:cNvPr id="2" name="Picture 2" descr="Brillio - Wikipedia">
            <a:extLst>
              <a:ext uri="{FF2B5EF4-FFF2-40B4-BE49-F238E27FC236}">
                <a16:creationId xmlns:a16="http://schemas.microsoft.com/office/drawing/2014/main" id="{BFFFE76F-4621-4269-A981-C98F1EEA1726}"/>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4"/>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8" name="Action Button: Forward or Next 26">
            <a:hlinkClick r:id="" action="ppaction://hlinkshowjump?jump=nextslide" highlightClick="1"/>
            <a:extLst>
              <a:ext uri="{FF2B5EF4-FFF2-40B4-BE49-F238E27FC236}">
                <a16:creationId xmlns:a16="http://schemas.microsoft.com/office/drawing/2014/main" id="{6BEEA153-4FE4-40BA-8FB4-F30B8F9B2C13}"/>
              </a:ext>
            </a:extLst>
          </p:cNvPr>
          <p:cNvSpPr/>
          <p:nvPr userDrawn="1"/>
        </p:nvSpPr>
        <p:spPr>
          <a:xfrm>
            <a:off x="11799046" y="71227"/>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Action Button: Back or Previous 27">
            <a:hlinkClick r:id="" action="ppaction://hlinkshowjump?jump=previousslide" highlightClick="1"/>
            <a:extLst>
              <a:ext uri="{FF2B5EF4-FFF2-40B4-BE49-F238E27FC236}">
                <a16:creationId xmlns:a16="http://schemas.microsoft.com/office/drawing/2014/main" id="{587C9705-3A74-4BA8-8608-4E4932855537}"/>
              </a:ext>
            </a:extLst>
          </p:cNvPr>
          <p:cNvSpPr/>
          <p:nvPr userDrawn="1"/>
        </p:nvSpPr>
        <p:spPr>
          <a:xfrm>
            <a:off x="11020553" y="110047"/>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7306540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Brillio_Text slide_4-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1"/>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291840" y="1524001"/>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6217920" y="1524001"/>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9144000" y="1524001"/>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icon&#10;&#10;Description automatically generated">
            <a:extLst>
              <a:ext uri="{FF2B5EF4-FFF2-40B4-BE49-F238E27FC236}">
                <a16:creationId xmlns:a16="http://schemas.microsoft.com/office/drawing/2014/main" id="{A740E73F-1776-4C42-ABED-B51FA3ADEF8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2" name="Slide Number Placeholder 10">
            <a:extLst>
              <a:ext uri="{FF2B5EF4-FFF2-40B4-BE49-F238E27FC236}">
                <a16:creationId xmlns:a16="http://schemas.microsoft.com/office/drawing/2014/main" id="{79DFD098-5171-5747-8B63-78DD1B299910}"/>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cxnSp>
        <p:nvCxnSpPr>
          <p:cNvPr id="13" name="Straight Connector 12">
            <a:extLst>
              <a:ext uri="{FF2B5EF4-FFF2-40B4-BE49-F238E27FC236}">
                <a16:creationId xmlns:a16="http://schemas.microsoft.com/office/drawing/2014/main" id="{8E7C3C1B-E5B5-2548-84A8-5032EB1432DE}"/>
              </a:ext>
            </a:extLst>
          </p:cNvPr>
          <p:cNvCxnSpPr/>
          <p:nvPr/>
        </p:nvCxnSpPr>
        <p:spPr>
          <a:xfrm>
            <a:off x="3179136"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7CE440-FE24-9147-8F23-C62C05699004}"/>
              </a:ext>
            </a:extLst>
          </p:cNvPr>
          <p:cNvCxnSpPr/>
          <p:nvPr/>
        </p:nvCxnSpPr>
        <p:spPr>
          <a:xfrm>
            <a:off x="6096000"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97C0AC-8F24-1D4A-8770-9249F659CD0F}"/>
              </a:ext>
            </a:extLst>
          </p:cNvPr>
          <p:cNvCxnSpPr/>
          <p:nvPr/>
        </p:nvCxnSpPr>
        <p:spPr>
          <a:xfrm>
            <a:off x="9030586" y="1573214"/>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68717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Brillio_Title only slide-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Slide Number Placeholder 10">
            <a:extLst>
              <a:ext uri="{FF2B5EF4-FFF2-40B4-BE49-F238E27FC236}">
                <a16:creationId xmlns:a16="http://schemas.microsoft.com/office/drawing/2014/main" id="{1FB6BB63-B093-E847-B4B0-0ECF800ADF84}"/>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2"/>
                </a:solidFill>
                <a:latin typeface="Arial" panose="020B0604020202020204" pitchFamily="34" charset="0"/>
                <a:ea typeface="+mn-ea"/>
                <a:cs typeface="Arial" panose="020B0604020202020204" pitchFamily="34" charset="0"/>
              </a:defRPr>
            </a:lvl1pPr>
          </a:lstStyle>
          <a:p>
            <a:fld id="{3524B939-EC2F-49C0-A963-D2906BF63152}" type="slidenum">
              <a:rPr lang="en-IN" smtClean="0"/>
              <a:pPr/>
              <a:t>‹#›</a:t>
            </a:fld>
            <a:endParaRPr lang="en-IN" dirty="0"/>
          </a:p>
        </p:txBody>
      </p:sp>
      <p:pic>
        <p:nvPicPr>
          <p:cNvPr id="6" name="Picture 5" descr="A picture containing icon&#10;&#10;Description automatically generated">
            <a:extLst>
              <a:ext uri="{FF2B5EF4-FFF2-40B4-BE49-F238E27FC236}">
                <a16:creationId xmlns:a16="http://schemas.microsoft.com/office/drawing/2014/main" id="{827BD011-C48F-B744-E699-F44FFFF80EE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041" y="6213680"/>
            <a:ext cx="818109" cy="345600"/>
          </a:xfrm>
          <a:prstGeom prst="rect">
            <a:avLst/>
          </a:prstGeom>
        </p:spPr>
      </p:pic>
    </p:spTree>
    <p:extLst>
      <p:ext uri="{BB962C8B-B14F-4D97-AF65-F5344CB8AC3E}">
        <p14:creationId xmlns:p14="http://schemas.microsoft.com/office/powerpoint/2010/main" val="5110844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illio_Blank slide-Light">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2851F077-B501-4F4A-9865-7723A0CE217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0" name="Slide Number Placeholder 10">
            <a:extLst>
              <a:ext uri="{FF2B5EF4-FFF2-40B4-BE49-F238E27FC236}">
                <a16:creationId xmlns:a16="http://schemas.microsoft.com/office/drawing/2014/main" id="{1E7815C5-F1A2-E14B-9035-9705ECE1E375}"/>
              </a:ext>
            </a:extLst>
          </p:cNvPr>
          <p:cNvSpPr>
            <a:spLocks noGrp="1"/>
          </p:cNvSpPr>
          <p:nvPr>
            <p:ph type="sldNum" sz="quarter" idx="4"/>
          </p:nvPr>
        </p:nvSpPr>
        <p:spPr>
          <a:xfrm>
            <a:off x="9856789" y="6212313"/>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spTree>
    <p:extLst>
      <p:ext uri="{BB962C8B-B14F-4D97-AF65-F5344CB8AC3E}">
        <p14:creationId xmlns:p14="http://schemas.microsoft.com/office/powerpoint/2010/main" val="2879284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365760" y="1527049"/>
            <a:ext cx="11460480" cy="4203827"/>
          </a:xfrm>
        </p:spPr>
        <p:txBody>
          <a:bodyPr>
            <a:noAutofit/>
          </a:bodyPr>
          <a:lstStyle>
            <a:lvl1pPr marL="345965" indent="-342917" defTabSz="914423">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619" indent="-342917">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702"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307">
              <a:defRPr sz="1867"/>
            </a:lvl6pPr>
            <a:lvl7pPr marL="463307" indent="-228605">
              <a:defRPr sz="1867"/>
            </a:lvl7pPr>
            <a:lvl8pPr marL="463307">
              <a:defRPr sz="1867"/>
            </a:lvl8pPr>
            <a:lvl9pPr marL="463307" indent="-228605">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7"/>
            <a:ext cx="1969452" cy="280563"/>
          </a:xfrm>
        </p:spPr>
        <p:txBody>
          <a:bodyPr/>
          <a:lstStyle/>
          <a:p>
            <a:fld id="{3524B939-EC2F-49C0-A963-D2906BF63152}" type="slidenum">
              <a:rPr lang="en-IN" smtClean="0"/>
              <a:t>‹#›</a:t>
            </a:fld>
            <a:endParaRPr lang="en-IN" dirty="0"/>
          </a:p>
        </p:txBody>
      </p:sp>
    </p:spTree>
    <p:extLst>
      <p:ext uri="{BB962C8B-B14F-4D97-AF65-F5344CB8AC3E}">
        <p14:creationId xmlns:p14="http://schemas.microsoft.com/office/powerpoint/2010/main" val="412915881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1" y="381001"/>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Tree>
    <p:extLst>
      <p:ext uri="{BB962C8B-B14F-4D97-AF65-F5344CB8AC3E}">
        <p14:creationId xmlns:p14="http://schemas.microsoft.com/office/powerpoint/2010/main" val="28412380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1"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p:nvCxnSpPr>
        <p:spPr>
          <a:xfrm>
            <a:off x="1125941"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1000" y="6083781"/>
            <a:ext cx="1121928" cy="475499"/>
          </a:xfrm>
          <a:prstGeom prst="rect">
            <a:avLst/>
          </a:prstGeom>
        </p:spPr>
      </p:pic>
    </p:spTree>
    <p:extLst>
      <p:ext uri="{BB962C8B-B14F-4D97-AF65-F5344CB8AC3E}">
        <p14:creationId xmlns:p14="http://schemas.microsoft.com/office/powerpoint/2010/main" val="133212219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365760" y="1524001"/>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4"/>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spTree>
    <p:extLst>
      <p:ext uri="{BB962C8B-B14F-4D97-AF65-F5344CB8AC3E}">
        <p14:creationId xmlns:p14="http://schemas.microsoft.com/office/powerpoint/2010/main" val="44920366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Brillio_Agenda slide-Dark">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9"/>
            <a:ext cx="11460480" cy="4203827"/>
          </a:xfrm>
        </p:spPr>
        <p:txBody>
          <a:bodyPr>
            <a:noAutofit/>
          </a:bodyPr>
          <a:lstStyle>
            <a:lvl1pPr marL="345965" indent="-342917" defTabSz="914423">
              <a:lnSpc>
                <a:spcPts val="2100"/>
              </a:lnSpc>
              <a:spcAft>
                <a:spcPts val="600"/>
              </a:spcAft>
              <a:buFont typeface="+mj-lt"/>
              <a:buAutoNum type="arabicPeriod"/>
              <a:defRPr lang="en-US" sz="1800" b="0" i="0" kern="1200" baseline="0" dirty="0">
                <a:solidFill>
                  <a:schemeClr val="bg1"/>
                </a:solidFill>
                <a:latin typeface="Arial" panose="020B0604020202020204" pitchFamily="34" charset="0"/>
                <a:ea typeface="+mn-ea"/>
                <a:cs typeface="+mn-cs"/>
              </a:defRPr>
            </a:lvl1pPr>
            <a:lvl2pPr marL="577619" indent="-342917">
              <a:lnSpc>
                <a:spcPts val="2100"/>
              </a:lnSpc>
              <a:spcBef>
                <a:spcPts val="400"/>
              </a:spcBef>
              <a:spcAft>
                <a:spcPts val="600"/>
              </a:spcAft>
              <a:buFont typeface="+mj-lt"/>
              <a:buAutoNum type="arabicPeriod"/>
              <a:defRPr lang="en-US" sz="1800" b="0" i="0" kern="1200" baseline="0" dirty="0">
                <a:solidFill>
                  <a:schemeClr val="bg1"/>
                </a:solidFill>
                <a:latin typeface="Arial" panose="020B0604020202020204" pitchFamily="34" charset="0"/>
                <a:ea typeface="+mn-ea"/>
                <a:cs typeface="+mn-cs"/>
              </a:defRPr>
            </a:lvl2pPr>
            <a:lvl3pPr marL="234702"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3pPr>
            <a:lvl4pPr marL="234702"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4pPr>
            <a:lvl5pPr marL="234702" indent="0" algn="l">
              <a:lnSpc>
                <a:spcPts val="2100"/>
              </a:lnSpc>
              <a:spcAft>
                <a:spcPts val="600"/>
              </a:spcAft>
              <a:buFont typeface="+mj-lt"/>
              <a:buNone/>
              <a:defRPr sz="1800" b="0" i="0" baseline="0">
                <a:solidFill>
                  <a:schemeClr val="bg1"/>
                </a:solidFill>
                <a:latin typeface="Arial" panose="020B0604020202020204" pitchFamily="34" charset="0"/>
              </a:defRPr>
            </a:lvl5pPr>
            <a:lvl6pPr marL="463307">
              <a:defRPr sz="1867"/>
            </a:lvl6pPr>
            <a:lvl7pPr marL="463307" indent="-228605">
              <a:defRPr sz="1867"/>
            </a:lvl7pPr>
            <a:lvl8pPr marL="463307">
              <a:defRPr sz="1867"/>
            </a:lvl8pPr>
            <a:lvl9pPr marL="463307" indent="-228605">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A09B600B-361E-8641-95A1-C0996630F85B}"/>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1000" y="6083781"/>
            <a:ext cx="1121928" cy="475499"/>
          </a:xfrm>
          <a:prstGeom prst="rect">
            <a:avLst/>
          </a:prstGeom>
        </p:spPr>
      </p:pic>
      <p:sp>
        <p:nvSpPr>
          <p:cNvPr id="9" name="Slide Number Placeholder 8">
            <a:extLst>
              <a:ext uri="{FF2B5EF4-FFF2-40B4-BE49-F238E27FC236}">
                <a16:creationId xmlns:a16="http://schemas.microsoft.com/office/drawing/2014/main" id="{A685FACF-296F-BA4D-A344-50044DB6C33B}"/>
              </a:ext>
            </a:extLst>
          </p:cNvPr>
          <p:cNvSpPr>
            <a:spLocks noGrp="1"/>
          </p:cNvSpPr>
          <p:nvPr>
            <p:ph type="sldNum" sz="quarter" idx="11"/>
          </p:nvPr>
        </p:nvSpPr>
        <p:spPr/>
        <p:txBody>
          <a:bodyPr/>
          <a:lstStyle/>
          <a:p>
            <a:fld id="{3524B939-EC2F-49C0-A963-D2906BF63152}" type="slidenum">
              <a:rPr lang="en-IN" smtClean="0"/>
              <a:t>‹#›</a:t>
            </a:fld>
            <a:endParaRPr lang="en-IN" dirty="0"/>
          </a:p>
        </p:txBody>
      </p:sp>
    </p:spTree>
    <p:extLst>
      <p:ext uri="{BB962C8B-B14F-4D97-AF65-F5344CB8AC3E}">
        <p14:creationId xmlns:p14="http://schemas.microsoft.com/office/powerpoint/2010/main" val="719316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a:extLst>
              <a:ext uri="{FF2B5EF4-FFF2-40B4-BE49-F238E27FC236}">
                <a16:creationId xmlns:a16="http://schemas.microsoft.com/office/drawing/2014/main" id="{D759AFEE-79A3-4996-B06D-D9A66A9C5048}"/>
              </a:ext>
            </a:extLst>
          </p:cNvPr>
          <p:cNvSpPr>
            <a:spLocks noGrp="1"/>
          </p:cNvSpPr>
          <p:nvPr>
            <p:ph type="title" hasCustomPrompt="1"/>
          </p:nvPr>
        </p:nvSpPr>
        <p:spPr>
          <a:xfrm>
            <a:off x="512064" y="365764"/>
            <a:ext cx="11180064" cy="332399"/>
          </a:xfrm>
        </p:spPr>
        <p:txBody>
          <a:bodyPr>
            <a:spAutoFit/>
          </a:bodyPr>
          <a:lstStyle>
            <a:lvl1pPr>
              <a:defRPr sz="2400" b="1" cap="none" spc="-15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4"/>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IN" dirty="0">
                <a:solidFill>
                  <a:schemeClr val="bg1"/>
                </a:solidFill>
              </a:rPr>
              <a:t>© 2024 Brillio |</a:t>
            </a:r>
            <a:endParaRPr lang="en-US" dirty="0">
              <a:solidFill>
                <a:schemeClr val="bg1"/>
              </a:solidFill>
            </a:endParaRP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51" y="6017337"/>
            <a:ext cx="1481977" cy="810596"/>
          </a:xfrm>
          <a:prstGeom prst="rect">
            <a:avLst/>
          </a:prstGeom>
        </p:spPr>
      </p:pic>
    </p:spTree>
    <p:extLst>
      <p:ext uri="{BB962C8B-B14F-4D97-AF65-F5344CB8AC3E}">
        <p14:creationId xmlns:p14="http://schemas.microsoft.com/office/powerpoint/2010/main" val="147666672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with Subtitl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9027" y="1033272"/>
            <a:ext cx="11210160" cy="448056"/>
          </a:xfrm>
        </p:spPr>
        <p:txBody>
          <a:bodyPr>
            <a:noAutofit/>
          </a:bodyPr>
          <a:lstStyle>
            <a:lvl1pPr marL="0" indent="0">
              <a:buNone/>
              <a:defRPr sz="1500" b="0">
                <a:solidFill>
                  <a:schemeClr val="tx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4" name="Title 3"/>
          <p:cNvSpPr>
            <a:spLocks noGrp="1"/>
          </p:cNvSpPr>
          <p:nvPr>
            <p:ph type="title" hasCustomPrompt="1"/>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6497854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B46D5EA-C380-41B9-A8DE-1B107D9B4863}"/>
              </a:ext>
            </a:extLst>
          </p:cNvPr>
          <p:cNvCxnSpPr>
            <a:cxnSpLocks/>
          </p:cNvCxnSpPr>
          <p:nvPr userDrawn="1"/>
        </p:nvCxnSpPr>
        <p:spPr>
          <a:xfrm>
            <a:off x="0" y="629756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6D8144E-784A-4038-9010-9A672F089B57}"/>
              </a:ext>
            </a:extLst>
          </p:cNvPr>
          <p:cNvSpPr/>
          <p:nvPr userDrawn="1"/>
        </p:nvSpPr>
        <p:spPr>
          <a:xfrm>
            <a:off x="0" y="0"/>
            <a:ext cx="12192000" cy="774516"/>
          </a:xfrm>
          <a:prstGeom prst="rect">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pic>
        <p:nvPicPr>
          <p:cNvPr id="3" name="Picture 2">
            <a:extLst>
              <a:ext uri="{FF2B5EF4-FFF2-40B4-BE49-F238E27FC236}">
                <a16:creationId xmlns:a16="http://schemas.microsoft.com/office/drawing/2014/main" id="{F3A313D6-E7DA-4741-8E39-13D581993CA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56568" y="207702"/>
            <a:ext cx="852895" cy="359114"/>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CB305DB1-FE08-4E9A-BF9D-B5EABC30C436}"/>
              </a:ext>
            </a:extLst>
          </p:cNvPr>
          <p:cNvSpPr txBox="1">
            <a:spLocks/>
          </p:cNvSpPr>
          <p:nvPr userDrawn="1"/>
        </p:nvSpPr>
        <p:spPr>
          <a:xfrm>
            <a:off x="11526449" y="126797"/>
            <a:ext cx="123747" cy="291381"/>
          </a:xfrm>
          <a:prstGeom prst="rect">
            <a:avLst/>
          </a:prstGeom>
          <a:ln>
            <a:noFill/>
          </a:ln>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Oval 8">
            <a:extLst>
              <a:ext uri="{FF2B5EF4-FFF2-40B4-BE49-F238E27FC236}">
                <a16:creationId xmlns:a16="http://schemas.microsoft.com/office/drawing/2014/main" id="{5DBE542F-6979-4EC9-AAB6-76CE0F11DB8E}"/>
              </a:ext>
            </a:extLst>
          </p:cNvPr>
          <p:cNvSpPr/>
          <p:nvPr userDrawn="1"/>
        </p:nvSpPr>
        <p:spPr>
          <a:xfrm>
            <a:off x="11440456" y="124629"/>
            <a:ext cx="295734" cy="295734"/>
          </a:xfrm>
          <a:prstGeom prst="ellipse">
            <a:avLst/>
          </a:prstGeom>
          <a:no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Oval 9">
            <a:extLst>
              <a:ext uri="{FF2B5EF4-FFF2-40B4-BE49-F238E27FC236}">
                <a16:creationId xmlns:a16="http://schemas.microsoft.com/office/drawing/2014/main" id="{C2C7C5C5-5F38-476C-BB0B-962674C310D7}"/>
              </a:ext>
            </a:extLst>
          </p:cNvPr>
          <p:cNvSpPr/>
          <p:nvPr userDrawn="1"/>
        </p:nvSpPr>
        <p:spPr>
          <a:xfrm>
            <a:off x="11053291" y="124629"/>
            <a:ext cx="295734" cy="295734"/>
          </a:xfrm>
          <a:prstGeom prst="ellipse">
            <a:avLst/>
          </a:prstGeom>
          <a:no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Rectangle 9">
            <a:extLst>
              <a:ext uri="{FF2B5EF4-FFF2-40B4-BE49-F238E27FC236}">
                <a16:creationId xmlns:a16="http://schemas.microsoft.com/office/drawing/2014/main" id="{1F1FCAC1-2A31-4FC3-AAB7-9EDEFE5C2F49}"/>
              </a:ext>
            </a:extLst>
          </p:cNvPr>
          <p:cNvSpPr/>
          <p:nvPr userDrawn="1"/>
        </p:nvSpPr>
        <p:spPr>
          <a:xfrm rot="2700000">
            <a:off x="11181862"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Oval 12">
            <a:extLst>
              <a:ext uri="{FF2B5EF4-FFF2-40B4-BE49-F238E27FC236}">
                <a16:creationId xmlns:a16="http://schemas.microsoft.com/office/drawing/2014/main" id="{37B0B105-E9FA-45A1-9EBF-24F9F348AB5D}"/>
              </a:ext>
            </a:extLst>
          </p:cNvPr>
          <p:cNvSpPr/>
          <p:nvPr userDrawn="1"/>
        </p:nvSpPr>
        <p:spPr>
          <a:xfrm rot="10800000">
            <a:off x="11827620" y="124629"/>
            <a:ext cx="295734" cy="295734"/>
          </a:xfrm>
          <a:prstGeom prst="ellipse">
            <a:avLst/>
          </a:prstGeom>
          <a:no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Rectangle 9">
            <a:extLst>
              <a:ext uri="{FF2B5EF4-FFF2-40B4-BE49-F238E27FC236}">
                <a16:creationId xmlns:a16="http://schemas.microsoft.com/office/drawing/2014/main" id="{57FB0AF4-2BF9-47B0-AF94-876965E51DB3}"/>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itle 3">
            <a:extLst>
              <a:ext uri="{FF2B5EF4-FFF2-40B4-BE49-F238E27FC236}">
                <a16:creationId xmlns:a16="http://schemas.microsoft.com/office/drawing/2014/main" id="{7136C6F6-F559-4C5C-A47C-C8AEA095CC94}"/>
              </a:ext>
            </a:extLst>
          </p:cNvPr>
          <p:cNvSpPr>
            <a:spLocks noGrp="1"/>
          </p:cNvSpPr>
          <p:nvPr>
            <p:ph type="title"/>
          </p:nvPr>
        </p:nvSpPr>
        <p:spPr>
          <a:xfrm>
            <a:off x="1325871" y="111735"/>
            <a:ext cx="10515600" cy="549667"/>
          </a:xfrm>
          <a:prstGeom prst="rect">
            <a:avLst/>
          </a:prstGeom>
        </p:spPr>
        <p:txBody>
          <a:bodyPr anchor="ctr"/>
          <a:lstStyle>
            <a:lvl1pPr>
              <a:defRPr lang="en-US" sz="2200" b="1" i="0" kern="1200" cap="all" baseline="0" smtClean="0">
                <a:solidFill>
                  <a:schemeClr val="bg1"/>
                </a:solidFill>
                <a:latin typeface="+mj-lt"/>
                <a:ea typeface="+mj-ea"/>
                <a:cs typeface="+mj-cs"/>
              </a:defRPr>
            </a:lvl1pPr>
          </a:lstStyle>
          <a:p>
            <a:r>
              <a:rPr lang="en-US"/>
              <a:t>Click to edit Master title style</a:t>
            </a:r>
            <a:endParaRPr lang="en-IN"/>
          </a:p>
        </p:txBody>
      </p:sp>
      <p:pic>
        <p:nvPicPr>
          <p:cNvPr id="12" name="Picture 2" descr="Brillio - Wikipedia">
            <a:extLst>
              <a:ext uri="{FF2B5EF4-FFF2-40B4-BE49-F238E27FC236}">
                <a16:creationId xmlns:a16="http://schemas.microsoft.com/office/drawing/2014/main" id="{ACD27944-FF57-4AB6-BC7D-9CF3986DFF05}"/>
              </a:ext>
            </a:extLst>
          </p:cNvPr>
          <p:cNvPicPr>
            <a:picLocks noChangeAspect="1" noChangeArrowheads="1"/>
          </p:cNvPicPr>
          <p:nvPr userDrawn="1"/>
        </p:nvPicPr>
        <p:blipFill>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4"/>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7" name="Action Button: Forward or Next 26">
            <a:hlinkClick r:id="" action="ppaction://hlinkshowjump?jump=nextslide" highlightClick="1"/>
            <a:extLst>
              <a:ext uri="{FF2B5EF4-FFF2-40B4-BE49-F238E27FC236}">
                <a16:creationId xmlns:a16="http://schemas.microsoft.com/office/drawing/2014/main" id="{B27855F6-B2A2-4A23-B361-C3260D91A094}"/>
              </a:ext>
            </a:extLst>
          </p:cNvPr>
          <p:cNvSpPr/>
          <p:nvPr userDrawn="1"/>
        </p:nvSpPr>
        <p:spPr>
          <a:xfrm>
            <a:off x="11799046" y="71227"/>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Action Button: Back or Previous 27">
            <a:hlinkClick r:id="" action="ppaction://hlinkshowjump?jump=previousslide" highlightClick="1"/>
            <a:extLst>
              <a:ext uri="{FF2B5EF4-FFF2-40B4-BE49-F238E27FC236}">
                <a16:creationId xmlns:a16="http://schemas.microsoft.com/office/drawing/2014/main" id="{B09CA181-A741-4FCD-883E-2E9A5A22A486}"/>
              </a:ext>
            </a:extLst>
          </p:cNvPr>
          <p:cNvSpPr/>
          <p:nvPr userDrawn="1"/>
        </p:nvSpPr>
        <p:spPr>
          <a:xfrm>
            <a:off x="11020553" y="110047"/>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7" name="Picture 2" descr="McDonald's Logo | Mcdonald menu, Mcdonalds, Mcdonalds prices">
            <a:extLst>
              <a:ext uri="{FF2B5EF4-FFF2-40B4-BE49-F238E27FC236}">
                <a16:creationId xmlns:a16="http://schemas.microsoft.com/office/drawing/2014/main" id="{911E3C12-C0EE-45FB-86F8-F29C9ED6632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27501" y="6367874"/>
            <a:ext cx="355390" cy="347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56913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3"/>
            <a:ext cx="3048000" cy="153888"/>
          </a:xfrm>
          <a:prstGeom prst="rect">
            <a:avLst/>
          </a:prstGeom>
          <a:noFill/>
        </p:spPr>
        <p:txBody>
          <a:bodyPr wrap="square" lIns="0" tIns="0" rIns="0" bIns="0" rtlCol="0" anchor="b" anchorCtr="0">
            <a:spAutoFit/>
          </a:bodyPr>
          <a:lstStyle/>
          <a:p>
            <a:pPr algn="l"/>
            <a:r>
              <a:rPr lang="en-US" sz="1000" b="0" i="0" dirty="0">
                <a:solidFill>
                  <a:schemeClr val="tx2"/>
                </a:solidFill>
                <a:latin typeface="Arial" panose="020B0604020202020204" pitchFamily="34" charset="0"/>
                <a:cs typeface="Arial" panose="020B0604020202020204" pitchFamily="34" charset="0"/>
              </a:rPr>
              <a:t>©2024</a:t>
            </a:r>
            <a:r>
              <a:rPr lang="en-US" sz="1000" b="0" i="0" baseline="0" dirty="0">
                <a:solidFill>
                  <a:schemeClr val="tx2"/>
                </a:solidFill>
                <a:latin typeface="Arial" panose="020B0604020202020204" pitchFamily="34" charset="0"/>
                <a:cs typeface="Arial" panose="020B0604020202020204" pitchFamily="34" charset="0"/>
              </a:rPr>
              <a:t> Brillio  |  Proprietary &amp; Confidential</a:t>
            </a:r>
            <a:endParaRPr lang="en-US" sz="1000" b="0" i="0" dirty="0">
              <a:solidFill>
                <a:schemeClr val="tx2"/>
              </a:solidFill>
              <a:latin typeface="Arial" panose="020B0604020202020204" pitchFamily="34" charset="0"/>
              <a:cs typeface="Arial" panose="020B0604020202020204" pitchFamily="34" charset="0"/>
            </a:endParaRP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93405" y="381001"/>
            <a:ext cx="1691640" cy="714613"/>
          </a:xfrm>
          <a:prstGeom prst="rect">
            <a:avLst/>
          </a:prstGeom>
        </p:spPr>
      </p:pic>
      <p:sp>
        <p:nvSpPr>
          <p:cNvPr id="7" name="Title 1">
            <a:extLst>
              <a:ext uri="{FF2B5EF4-FFF2-40B4-BE49-F238E27FC236}">
                <a16:creationId xmlns:a16="http://schemas.microsoft.com/office/drawing/2014/main" id="{954B71F4-B840-9A43-8EEC-1F77A91DE493}"/>
              </a:ext>
            </a:extLst>
          </p:cNvPr>
          <p:cNvSpPr>
            <a:spLocks noGrp="1"/>
          </p:cNvSpPr>
          <p:nvPr>
            <p:ph type="ctrTitle" hasCustomPrompt="1"/>
          </p:nvPr>
        </p:nvSpPr>
        <p:spPr>
          <a:xfrm>
            <a:off x="365760" y="2276857"/>
            <a:ext cx="6630463" cy="1599405"/>
          </a:xfrm>
        </p:spPr>
        <p:txBody>
          <a:bodyPr anchor="t" anchorCtr="0"/>
          <a:lstStyle>
            <a:lvl1pPr marL="0" indent="0" algn="l">
              <a:lnSpc>
                <a:spcPts val="5200"/>
              </a:lnSpc>
              <a:buFont typeface="Arial" panose="020B0604020202020204" pitchFamily="34" charset="0"/>
              <a:buNone/>
              <a:defRPr sz="4400" b="0" i="0">
                <a:solidFill>
                  <a:schemeClr val="tx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C439A878-73C7-EB47-A2B4-51DF910E01AD}"/>
              </a:ext>
            </a:extLst>
          </p:cNvPr>
          <p:cNvSpPr>
            <a:spLocks noGrp="1"/>
          </p:cNvSpPr>
          <p:nvPr>
            <p:ph type="subTitle" idx="1"/>
          </p:nvPr>
        </p:nvSpPr>
        <p:spPr>
          <a:xfrm>
            <a:off x="365761"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tx2"/>
                </a:solidFill>
                <a:latin typeface="Arial" panose="020B0604020202020204" pitchFamily="34" charset="0"/>
                <a:cs typeface="Arial" panose="020B0604020202020204" pitchFamily="34" charset="0"/>
              </a:defRPr>
            </a:lvl1pPr>
            <a:lvl2pPr marL="457212" indent="0" algn="ctr">
              <a:buNone/>
              <a:defRPr sz="2000"/>
            </a:lvl2pPr>
            <a:lvl3pPr marL="914423" indent="0" algn="ctr">
              <a:buNone/>
              <a:defRPr sz="1800"/>
            </a:lvl3pPr>
            <a:lvl4pPr marL="1371635" indent="0" algn="ctr">
              <a:buNone/>
              <a:defRPr sz="1600"/>
            </a:lvl4pPr>
            <a:lvl5pPr marL="1828845" indent="0" algn="ctr">
              <a:buNone/>
              <a:defRPr sz="1600"/>
            </a:lvl5pPr>
            <a:lvl6pPr marL="2286058" indent="0" algn="ctr">
              <a:buNone/>
              <a:defRPr sz="1600"/>
            </a:lvl6pPr>
            <a:lvl7pPr marL="2743268" indent="0" algn="ctr">
              <a:buNone/>
              <a:defRPr sz="1600"/>
            </a:lvl7pPr>
            <a:lvl8pPr marL="3200480" indent="0" algn="ctr">
              <a:buNone/>
              <a:defRPr sz="1600"/>
            </a:lvl8pPr>
            <a:lvl9pPr marL="3657692"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D70E704C-CDF3-3845-BFDB-477210C0F60F}"/>
              </a:ext>
            </a:extLst>
          </p:cNvPr>
          <p:cNvSpPr>
            <a:spLocks noGrp="1"/>
          </p:cNvSpPr>
          <p:nvPr>
            <p:ph type="dt" sz="half" idx="10"/>
          </p:nvPr>
        </p:nvSpPr>
        <p:spPr>
          <a:xfrm>
            <a:off x="365760" y="4645614"/>
            <a:ext cx="3663315" cy="325142"/>
          </a:xfrm>
          <a:prstGeom prst="rect">
            <a:avLst/>
          </a:prstGeom>
        </p:spPr>
        <p:txBody>
          <a:bodyPr lIns="0"/>
          <a:lstStyle>
            <a:lvl1pPr algn="l">
              <a:defRPr sz="1600" b="0" i="0" baseline="0">
                <a:solidFill>
                  <a:schemeClr val="tx2"/>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06619195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3"/>
            <a:ext cx="3048000" cy="153888"/>
          </a:xfrm>
          <a:prstGeom prst="rect">
            <a:avLst/>
          </a:prstGeom>
          <a:noFill/>
        </p:spPr>
        <p:txBody>
          <a:bodyPr wrap="square" lIns="0" tIns="0" rIns="0" bIns="0" rtlCol="0" anchor="b" anchorCtr="0">
            <a:spAutoFit/>
          </a:bodyPr>
          <a:lstStyle/>
          <a:p>
            <a:pPr algn="l"/>
            <a:r>
              <a:rPr lang="en-US" sz="1000" b="0" i="0" dirty="0">
                <a:solidFill>
                  <a:schemeClr val="tx2"/>
                </a:solidFill>
                <a:latin typeface="Arial" panose="020B0604020202020204" pitchFamily="34" charset="0"/>
                <a:cs typeface="Arial" panose="020B0604020202020204" pitchFamily="34" charset="0"/>
              </a:rPr>
              <a:t>©2024</a:t>
            </a:r>
            <a:r>
              <a:rPr lang="en-US" sz="1000" b="0" i="0" baseline="0" dirty="0">
                <a:solidFill>
                  <a:schemeClr val="tx2"/>
                </a:solidFill>
                <a:latin typeface="Arial" panose="020B0604020202020204" pitchFamily="34" charset="0"/>
                <a:cs typeface="Arial" panose="020B0604020202020204" pitchFamily="34" charset="0"/>
              </a:rPr>
              <a:t> Brillio  |  Proprietary &amp; Confidential</a:t>
            </a:r>
            <a:endParaRPr lang="en-US" sz="1000" b="0" i="0" dirty="0">
              <a:solidFill>
                <a:schemeClr val="tx2"/>
              </a:solidFill>
              <a:latin typeface="Arial" panose="020B0604020202020204" pitchFamily="34" charset="0"/>
              <a:cs typeface="Arial" panose="020B0604020202020204" pitchFamily="34" charset="0"/>
            </a:endParaRP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93405" y="381001"/>
            <a:ext cx="1691640" cy="714613"/>
          </a:xfrm>
          <a:prstGeom prst="rect">
            <a:avLst/>
          </a:prstGeom>
        </p:spPr>
      </p:pic>
      <p:sp>
        <p:nvSpPr>
          <p:cNvPr id="7" name="Title 1">
            <a:extLst>
              <a:ext uri="{FF2B5EF4-FFF2-40B4-BE49-F238E27FC236}">
                <a16:creationId xmlns:a16="http://schemas.microsoft.com/office/drawing/2014/main" id="{98ED0CA7-616B-F142-A0F5-9630FFC6DB84}"/>
              </a:ext>
            </a:extLst>
          </p:cNvPr>
          <p:cNvSpPr>
            <a:spLocks noGrp="1"/>
          </p:cNvSpPr>
          <p:nvPr>
            <p:ph type="ctrTitle" hasCustomPrompt="1"/>
          </p:nvPr>
        </p:nvSpPr>
        <p:spPr>
          <a:xfrm>
            <a:off x="365760" y="2276857"/>
            <a:ext cx="6630463" cy="1599405"/>
          </a:xfrm>
        </p:spPr>
        <p:txBody>
          <a:bodyPr anchor="t" anchorCtr="0"/>
          <a:lstStyle>
            <a:lvl1pPr marL="0" indent="0" algn="l">
              <a:lnSpc>
                <a:spcPts val="5200"/>
              </a:lnSpc>
              <a:buFont typeface="Arial" panose="020B0604020202020204" pitchFamily="34" charset="0"/>
              <a:buNone/>
              <a:defRPr sz="4400" b="0" i="0">
                <a:solidFill>
                  <a:schemeClr val="tx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6025DA8A-60C1-8441-A846-0CC434137F15}"/>
              </a:ext>
            </a:extLst>
          </p:cNvPr>
          <p:cNvSpPr>
            <a:spLocks noGrp="1"/>
          </p:cNvSpPr>
          <p:nvPr>
            <p:ph type="subTitle" idx="1"/>
          </p:nvPr>
        </p:nvSpPr>
        <p:spPr>
          <a:xfrm>
            <a:off x="365761"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tx2"/>
                </a:solidFill>
                <a:latin typeface="Arial" panose="020B0604020202020204" pitchFamily="34" charset="0"/>
                <a:cs typeface="Arial" panose="020B0604020202020204" pitchFamily="34" charset="0"/>
              </a:defRPr>
            </a:lvl1pPr>
            <a:lvl2pPr marL="457212" indent="0" algn="ctr">
              <a:buNone/>
              <a:defRPr sz="2000"/>
            </a:lvl2pPr>
            <a:lvl3pPr marL="914423" indent="0" algn="ctr">
              <a:buNone/>
              <a:defRPr sz="1800"/>
            </a:lvl3pPr>
            <a:lvl4pPr marL="1371635" indent="0" algn="ctr">
              <a:buNone/>
              <a:defRPr sz="1600"/>
            </a:lvl4pPr>
            <a:lvl5pPr marL="1828845" indent="0" algn="ctr">
              <a:buNone/>
              <a:defRPr sz="1600"/>
            </a:lvl5pPr>
            <a:lvl6pPr marL="2286058" indent="0" algn="ctr">
              <a:buNone/>
              <a:defRPr sz="1600"/>
            </a:lvl6pPr>
            <a:lvl7pPr marL="2743268" indent="0" algn="ctr">
              <a:buNone/>
              <a:defRPr sz="1600"/>
            </a:lvl7pPr>
            <a:lvl8pPr marL="3200480" indent="0" algn="ctr">
              <a:buNone/>
              <a:defRPr sz="1600"/>
            </a:lvl8pPr>
            <a:lvl9pPr marL="3657692"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9EEA70D8-27BC-5D4A-A41F-62235503A50C}"/>
              </a:ext>
            </a:extLst>
          </p:cNvPr>
          <p:cNvSpPr>
            <a:spLocks noGrp="1"/>
          </p:cNvSpPr>
          <p:nvPr>
            <p:ph type="dt" sz="half" idx="10"/>
          </p:nvPr>
        </p:nvSpPr>
        <p:spPr>
          <a:xfrm>
            <a:off x="365760" y="4645614"/>
            <a:ext cx="3663315" cy="325142"/>
          </a:xfrm>
          <a:prstGeom prst="rect">
            <a:avLst/>
          </a:prstGeom>
        </p:spPr>
        <p:txBody>
          <a:bodyPr lIns="0"/>
          <a:lstStyle>
            <a:lvl1pPr algn="l">
              <a:defRPr sz="1600" b="0" i="0" baseline="0">
                <a:solidFill>
                  <a:schemeClr val="tx2"/>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0467768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9"/>
            <a:ext cx="11460480" cy="4203827"/>
          </a:xfrm>
        </p:spPr>
        <p:txBody>
          <a:bodyPr>
            <a:noAutofit/>
          </a:bodyPr>
          <a:lstStyle>
            <a:lvl1pPr marL="345965" indent="-342917" defTabSz="914423">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619" indent="-342917">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702"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307">
              <a:defRPr sz="1867"/>
            </a:lvl6pPr>
            <a:lvl7pPr marL="463307" indent="-228605">
              <a:defRPr sz="1867"/>
            </a:lvl7pPr>
            <a:lvl8pPr marL="463307">
              <a:defRPr sz="1867"/>
            </a:lvl8pPr>
            <a:lvl9pPr marL="463307" indent="-228605">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7"/>
            <a:ext cx="1969452" cy="280563"/>
          </a:xfrm>
        </p:spPr>
        <p:txBody>
          <a:bodyPr/>
          <a:lstStyle/>
          <a:p>
            <a:r>
              <a:rPr lang="en-US" dirty="0"/>
              <a:t>©2024 Brillio  |  </a:t>
            </a:r>
            <a:fld id="{F1FE5E21-FD07-B44E-90A3-0254BFCDB49A}" type="slidenum">
              <a:rPr smtClean="0"/>
              <a:pPr/>
              <a:t>‹#›</a:t>
            </a:fld>
            <a:endParaRPr dirty="0"/>
          </a:p>
        </p:txBody>
      </p:sp>
      <p:pic>
        <p:nvPicPr>
          <p:cNvPr id="6" name="Picture 5" descr="A picture containing icon&#10;&#10;Description automatically generated">
            <a:extLst>
              <a:ext uri="{FF2B5EF4-FFF2-40B4-BE49-F238E27FC236}">
                <a16:creationId xmlns:a16="http://schemas.microsoft.com/office/drawing/2014/main" id="{E88FFED5-17A2-48FD-90ED-104E963697D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3" y="6250970"/>
            <a:ext cx="731653" cy="309078"/>
          </a:xfrm>
          <a:prstGeom prst="rect">
            <a:avLst/>
          </a:prstGeom>
        </p:spPr>
      </p:pic>
    </p:spTree>
    <p:extLst>
      <p:ext uri="{BB962C8B-B14F-4D97-AF65-F5344CB8AC3E}">
        <p14:creationId xmlns:p14="http://schemas.microsoft.com/office/powerpoint/2010/main" val="274083449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Brillio_Quot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1" y="2029922"/>
            <a:ext cx="9887803" cy="3621577"/>
          </a:xfrm>
        </p:spPr>
        <p:txBody>
          <a:bodyPr rIns="228600" anchor="t"/>
          <a:lstStyle>
            <a:lvl1pPr>
              <a:defRPr sz="5400" b="0">
                <a:solidFill>
                  <a:schemeClr val="tx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tx2"/>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1"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A742CD26-4E36-4648-B653-B545165C69B5}"/>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3" y="6250970"/>
            <a:ext cx="731653" cy="309078"/>
          </a:xfrm>
          <a:prstGeom prst="rect">
            <a:avLst/>
          </a:prstGeom>
        </p:spPr>
      </p:pic>
    </p:spTree>
    <p:extLst>
      <p:ext uri="{BB962C8B-B14F-4D97-AF65-F5344CB8AC3E}">
        <p14:creationId xmlns:p14="http://schemas.microsoft.com/office/powerpoint/2010/main" val="2326162492"/>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userDrawn="1"/>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800" dirty="0"/>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1"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9"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lang="en-US" smtClean="0"/>
              <a:pPr/>
              <a:t>‹#›</a:t>
            </a:fld>
            <a:endParaRPr lang="en-US" dirty="0"/>
          </a:p>
        </p:txBody>
      </p:sp>
      <p:pic>
        <p:nvPicPr>
          <p:cNvPr id="7" name="Picture 6" descr="A picture containing icon&#10;&#10;Description automatically generated">
            <a:extLst>
              <a:ext uri="{FF2B5EF4-FFF2-40B4-BE49-F238E27FC236}">
                <a16:creationId xmlns:a16="http://schemas.microsoft.com/office/drawing/2014/main" id="{AF52E734-CF0C-43D4-88D9-31370DEF5AE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212105"/>
            <a:ext cx="819150" cy="347175"/>
          </a:xfrm>
          <a:prstGeom prst="rect">
            <a:avLst/>
          </a:prstGeom>
        </p:spPr>
      </p:pic>
    </p:spTree>
    <p:extLst>
      <p:ext uri="{BB962C8B-B14F-4D97-AF65-F5344CB8AC3E}">
        <p14:creationId xmlns:p14="http://schemas.microsoft.com/office/powerpoint/2010/main" val="32614567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userDrawn="1"/>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800" dirty="0"/>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6" y="381001"/>
            <a:ext cx="5072513" cy="5349875"/>
          </a:xfrm>
        </p:spPr>
        <p:txBody>
          <a:bodyPr lIns="0" tIns="0" rIns="457200" bIns="0"/>
          <a:lstStyle>
            <a:lvl1pPr marL="9526" indent="0">
              <a:buNone/>
              <a:tabLst/>
              <a:defRPr sz="2400" b="1" baseline="0">
                <a:solidFill>
                  <a:srgbClr val="2CC84D"/>
                </a:solidFill>
              </a:defRPr>
            </a:lvl1pPr>
            <a:lvl2pPr marL="9526" indent="0">
              <a:buNone/>
              <a:tabLst/>
              <a:defRPr sz="2400" baseline="0">
                <a:solidFill>
                  <a:schemeClr val="bg1"/>
                </a:solidFill>
              </a:defRPr>
            </a:lvl2pPr>
            <a:lvl3pPr marL="9526" indent="0">
              <a:buNone/>
              <a:tabLst/>
              <a:defRPr sz="2400" baseline="0">
                <a:solidFill>
                  <a:schemeClr val="bg1"/>
                </a:solidFill>
              </a:defRPr>
            </a:lvl3pPr>
            <a:lvl4pPr marL="9526" indent="0">
              <a:buNone/>
              <a:tabLst/>
              <a:defRPr sz="2400" baseline="0">
                <a:solidFill>
                  <a:schemeClr val="bg1"/>
                </a:solidFill>
              </a:defRPr>
            </a:lvl4pPr>
            <a:lvl5pPr marL="9526"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9"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lang="en-US" smtClean="0"/>
              <a:pPr/>
              <a:t>‹#›</a:t>
            </a:fld>
            <a:endParaRPr lang="en-US" dirty="0"/>
          </a:p>
        </p:txBody>
      </p:sp>
      <p:pic>
        <p:nvPicPr>
          <p:cNvPr id="6" name="Picture 5" descr="A picture containing icon&#10;&#10;Description automatically generated">
            <a:extLst>
              <a:ext uri="{FF2B5EF4-FFF2-40B4-BE49-F238E27FC236}">
                <a16:creationId xmlns:a16="http://schemas.microsoft.com/office/drawing/2014/main" id="{9DF0E074-861C-4E26-A2B9-FF317B84AD63}"/>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212105"/>
            <a:ext cx="819150" cy="347175"/>
          </a:xfrm>
          <a:prstGeom prst="rect">
            <a:avLst/>
          </a:prstGeom>
        </p:spPr>
      </p:pic>
    </p:spTree>
    <p:extLst>
      <p:ext uri="{BB962C8B-B14F-4D97-AF65-F5344CB8AC3E}">
        <p14:creationId xmlns:p14="http://schemas.microsoft.com/office/powerpoint/2010/main" val="386917387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1"/>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lang="en-US" smtClean="0"/>
              <a:pPr/>
              <a:t>‹#›</a:t>
            </a:fld>
            <a:endParaRPr lang="en-US" dirty="0"/>
          </a:p>
        </p:txBody>
      </p:sp>
      <p:pic>
        <p:nvPicPr>
          <p:cNvPr id="6" name="Picture 5" descr="A picture containing icon&#10;&#10;Description automatically generated">
            <a:extLst>
              <a:ext uri="{FF2B5EF4-FFF2-40B4-BE49-F238E27FC236}">
                <a16:creationId xmlns:a16="http://schemas.microsoft.com/office/drawing/2014/main" id="{567A7EBE-01D2-476E-B945-0D2BBC4CCA5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3" y="6250970"/>
            <a:ext cx="731653" cy="309078"/>
          </a:xfrm>
          <a:prstGeom prst="rect">
            <a:avLst/>
          </a:prstGeom>
        </p:spPr>
      </p:pic>
    </p:spTree>
    <p:extLst>
      <p:ext uri="{BB962C8B-B14F-4D97-AF65-F5344CB8AC3E}">
        <p14:creationId xmlns:p14="http://schemas.microsoft.com/office/powerpoint/2010/main" val="147713292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1" y="381001"/>
            <a:ext cx="6630463" cy="5349875"/>
          </a:xfrm>
        </p:spPr>
        <p:txBody>
          <a:bodyPr rIns="228600" anchor="ctr"/>
          <a:lstStyle>
            <a:lvl1pPr>
              <a:defRPr sz="5400" b="0">
                <a:solidFill>
                  <a:schemeClr val="bg1"/>
                </a:solidFill>
              </a:defRPr>
            </a:lvl1pPr>
          </a:lstStyle>
          <a:p>
            <a:r>
              <a:rPr lang="en-US"/>
              <a:t>Click to edit Master title style</a:t>
            </a:r>
          </a:p>
        </p:txBody>
      </p:sp>
      <p:pic>
        <p:nvPicPr>
          <p:cNvPr id="4" name="Picture 3" descr="A picture containing icon&#10;&#10;Description automatically generated">
            <a:extLst>
              <a:ext uri="{FF2B5EF4-FFF2-40B4-BE49-F238E27FC236}">
                <a16:creationId xmlns:a16="http://schemas.microsoft.com/office/drawing/2014/main" id="{DC21A935-F615-4AA7-9C6F-E9B3120CF24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212105"/>
            <a:ext cx="819150" cy="347175"/>
          </a:xfrm>
          <a:prstGeom prst="rect">
            <a:avLst/>
          </a:prstGeom>
        </p:spPr>
      </p:pic>
    </p:spTree>
    <p:extLst>
      <p:ext uri="{BB962C8B-B14F-4D97-AF65-F5344CB8AC3E}">
        <p14:creationId xmlns:p14="http://schemas.microsoft.com/office/powerpoint/2010/main" val="12592575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365760" y="1527049"/>
            <a:ext cx="11460480" cy="4203827"/>
          </a:xfrm>
        </p:spPr>
        <p:txBody>
          <a:bodyPr>
            <a:noAutofit/>
          </a:bodyPr>
          <a:lstStyle>
            <a:lvl1pPr marL="345965" indent="-342917" defTabSz="914423">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619" indent="-342917">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702"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702"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307">
              <a:defRPr sz="1867"/>
            </a:lvl6pPr>
            <a:lvl7pPr marL="463307" indent="-228605">
              <a:defRPr sz="1867"/>
            </a:lvl7pPr>
            <a:lvl8pPr marL="463307">
              <a:defRPr sz="1867"/>
            </a:lvl8pPr>
            <a:lvl9pPr marL="463307" indent="-228605">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7"/>
            <a:ext cx="1969452" cy="280563"/>
          </a:xfrm>
        </p:spPr>
        <p:txBody>
          <a:bodyPr/>
          <a:lstStyle/>
          <a:p>
            <a:r>
              <a:rPr lang="en-US" dirty="0"/>
              <a:t>©2024 Brillio  |  </a:t>
            </a:r>
            <a:fld id="{F1FE5E21-FD07-B44E-90A3-0254BFCDB49A}" type="slidenum">
              <a:rPr smtClean="0"/>
              <a:pPr/>
              <a:t>‹#›</a:t>
            </a:fld>
            <a:endParaRPr dirty="0"/>
          </a:p>
        </p:txBody>
      </p:sp>
      <p:pic>
        <p:nvPicPr>
          <p:cNvPr id="7" name="Picture 6" descr="A picture containing icon&#10;&#10;Description automatically generated">
            <a:extLst>
              <a:ext uri="{FF2B5EF4-FFF2-40B4-BE49-F238E27FC236}">
                <a16:creationId xmlns:a16="http://schemas.microsoft.com/office/drawing/2014/main" id="{B1FE9049-F236-4693-BE57-F471DCD543E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3" y="6250970"/>
            <a:ext cx="731653" cy="309078"/>
          </a:xfrm>
          <a:prstGeom prst="rect">
            <a:avLst/>
          </a:prstGeom>
        </p:spPr>
      </p:pic>
    </p:spTree>
    <p:extLst>
      <p:ext uri="{BB962C8B-B14F-4D97-AF65-F5344CB8AC3E}">
        <p14:creationId xmlns:p14="http://schemas.microsoft.com/office/powerpoint/2010/main" val="316531886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1"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1"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icon&#10;&#10;Description automatically generated">
            <a:extLst>
              <a:ext uri="{FF2B5EF4-FFF2-40B4-BE49-F238E27FC236}">
                <a16:creationId xmlns:a16="http://schemas.microsoft.com/office/drawing/2014/main" id="{4590F609-34E7-499C-9A22-B46AF360C2F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212105"/>
            <a:ext cx="819150" cy="347175"/>
          </a:xfrm>
          <a:prstGeom prst="rect">
            <a:avLst/>
          </a:prstGeom>
        </p:spPr>
      </p:pic>
    </p:spTree>
    <p:extLst>
      <p:ext uri="{BB962C8B-B14F-4D97-AF65-F5344CB8AC3E}">
        <p14:creationId xmlns:p14="http://schemas.microsoft.com/office/powerpoint/2010/main" val="183615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5" name="Parallelogram 24">
            <a:extLst>
              <a:ext uri="{FF2B5EF4-FFF2-40B4-BE49-F238E27FC236}">
                <a16:creationId xmlns:a16="http://schemas.microsoft.com/office/drawing/2014/main" id="{46D8144E-784A-4038-9010-9A672F089B57}"/>
              </a:ext>
            </a:extLst>
          </p:cNvPr>
          <p:cNvSpPr/>
          <p:nvPr userDrawn="1"/>
        </p:nvSpPr>
        <p:spPr>
          <a:xfrm>
            <a:off x="124641" y="6698"/>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26" name="Slide Number Placeholder 5">
            <a:extLst>
              <a:ext uri="{FF2B5EF4-FFF2-40B4-BE49-F238E27FC236}">
                <a16:creationId xmlns:a16="http://schemas.microsoft.com/office/drawing/2014/main" id="{465E2EE2-DA64-4B27-BFB1-67141A6FDE88}"/>
              </a:ext>
            </a:extLst>
          </p:cNvPr>
          <p:cNvSpPr txBox="1">
            <a:spLocks/>
          </p:cNvSpPr>
          <p:nvPr userDrawn="1"/>
        </p:nvSpPr>
        <p:spPr>
          <a:xfrm>
            <a:off x="11526449" y="126797"/>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Oval 26">
            <a:extLst>
              <a:ext uri="{FF2B5EF4-FFF2-40B4-BE49-F238E27FC236}">
                <a16:creationId xmlns:a16="http://schemas.microsoft.com/office/drawing/2014/main" id="{099495C1-F4AC-4B68-8796-428E4621C5B8}"/>
              </a:ext>
            </a:extLst>
          </p:cNvPr>
          <p:cNvSpPr/>
          <p:nvPr userDrawn="1"/>
        </p:nvSpPr>
        <p:spPr>
          <a:xfrm>
            <a:off x="11440456"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Oval 27">
            <a:extLst>
              <a:ext uri="{FF2B5EF4-FFF2-40B4-BE49-F238E27FC236}">
                <a16:creationId xmlns:a16="http://schemas.microsoft.com/office/drawing/2014/main" id="{24E87B81-51FB-43BF-8CA5-EE8B964B4C80}"/>
              </a:ext>
            </a:extLst>
          </p:cNvPr>
          <p:cNvSpPr/>
          <p:nvPr userDrawn="1"/>
        </p:nvSpPr>
        <p:spPr>
          <a:xfrm>
            <a:off x="11053291"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Rectangle 9">
            <a:extLst>
              <a:ext uri="{FF2B5EF4-FFF2-40B4-BE49-F238E27FC236}">
                <a16:creationId xmlns:a16="http://schemas.microsoft.com/office/drawing/2014/main" id="{68BBCC3F-F002-4FFC-AC59-1E2C3F6C8921}"/>
              </a:ext>
            </a:extLst>
          </p:cNvPr>
          <p:cNvSpPr/>
          <p:nvPr userDrawn="1"/>
        </p:nvSpPr>
        <p:spPr>
          <a:xfrm rot="2700000">
            <a:off x="11181862"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Oval 29">
            <a:extLst>
              <a:ext uri="{FF2B5EF4-FFF2-40B4-BE49-F238E27FC236}">
                <a16:creationId xmlns:a16="http://schemas.microsoft.com/office/drawing/2014/main" id="{D422BB2F-1583-4A3E-BA78-032EFF2E664D}"/>
              </a:ext>
            </a:extLst>
          </p:cNvPr>
          <p:cNvSpPr/>
          <p:nvPr userDrawn="1"/>
        </p:nvSpPr>
        <p:spPr>
          <a:xfrm rot="10800000">
            <a:off x="11827620"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 name="Rectangle 9">
            <a:extLst>
              <a:ext uri="{FF2B5EF4-FFF2-40B4-BE49-F238E27FC236}">
                <a16:creationId xmlns:a16="http://schemas.microsoft.com/office/drawing/2014/main" id="{775987DC-52A7-4D1C-9715-47294F9595F0}"/>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42975" y="48473"/>
            <a:ext cx="10118886" cy="698611"/>
          </a:xfrm>
          <a:prstGeom prst="rect">
            <a:avLst/>
          </a:prstGeom>
        </p:spPr>
        <p:txBody>
          <a:bodyPr anchor="ctr"/>
          <a:lstStyle>
            <a:lvl1pPr>
              <a:defRPr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39"/>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pic>
        <p:nvPicPr>
          <p:cNvPr id="2" name="Picture 2" descr="Brillio - Wikipedia">
            <a:extLst>
              <a:ext uri="{FF2B5EF4-FFF2-40B4-BE49-F238E27FC236}">
                <a16:creationId xmlns:a16="http://schemas.microsoft.com/office/drawing/2014/main" id="{DC36C261-335E-4D79-A521-2AB20CA9CC98}"/>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4"/>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3" name="Action Button: Forward or Next 26">
            <a:hlinkClick r:id="" action="ppaction://hlinkshowjump?jump=nextslide" highlightClick="1"/>
            <a:extLst>
              <a:ext uri="{FF2B5EF4-FFF2-40B4-BE49-F238E27FC236}">
                <a16:creationId xmlns:a16="http://schemas.microsoft.com/office/drawing/2014/main" id="{11A69900-5921-46C6-A070-8BF6A1AEA647}"/>
              </a:ext>
            </a:extLst>
          </p:cNvPr>
          <p:cNvSpPr/>
          <p:nvPr userDrawn="1"/>
        </p:nvSpPr>
        <p:spPr>
          <a:xfrm>
            <a:off x="11799046" y="61288"/>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Action Button: Back or Previous 27">
            <a:hlinkClick r:id="" action="ppaction://hlinkshowjump?jump=previousslide" highlightClick="1"/>
            <a:extLst>
              <a:ext uri="{FF2B5EF4-FFF2-40B4-BE49-F238E27FC236}">
                <a16:creationId xmlns:a16="http://schemas.microsoft.com/office/drawing/2014/main" id="{AD78444A-11F3-4B4C-A623-AF963CBB57A1}"/>
              </a:ext>
            </a:extLst>
          </p:cNvPr>
          <p:cNvSpPr/>
          <p:nvPr userDrawn="1"/>
        </p:nvSpPr>
        <p:spPr>
          <a:xfrm>
            <a:off x="11020553" y="100108"/>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5" name="Picture 14">
            <a:extLst>
              <a:ext uri="{FF2B5EF4-FFF2-40B4-BE49-F238E27FC236}">
                <a16:creationId xmlns:a16="http://schemas.microsoft.com/office/drawing/2014/main" id="{D92D8E6B-2064-4A66-8093-68703379E8E4}"/>
              </a:ext>
            </a:extLst>
          </p:cNvPr>
          <p:cNvPicPr>
            <a:picLocks noChangeAspect="1"/>
          </p:cNvPicPr>
          <p:nvPr userDrawn="1"/>
        </p:nvPicPr>
        <p:blipFill rotWithShape="1">
          <a:blip r:embed="rId3">
            <a:clrChange>
              <a:clrFrom>
                <a:srgbClr val="FFFFFF"/>
              </a:clrFrom>
              <a:clrTo>
                <a:srgbClr val="FFFFFF">
                  <a:alpha val="0"/>
                </a:srgbClr>
              </a:clrTo>
            </a:clrChange>
          </a:blip>
          <a:srcRect t="30096" b="30383"/>
          <a:stretch/>
        </p:blipFill>
        <p:spPr>
          <a:xfrm>
            <a:off x="124641" y="6424770"/>
            <a:ext cx="738062" cy="291685"/>
          </a:xfrm>
          <a:prstGeom prst="rect">
            <a:avLst/>
          </a:prstGeom>
        </p:spPr>
      </p:pic>
    </p:spTree>
    <p:extLst>
      <p:ext uri="{BB962C8B-B14F-4D97-AF65-F5344CB8AC3E}">
        <p14:creationId xmlns:p14="http://schemas.microsoft.com/office/powerpoint/2010/main" val="26835162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365760" y="1524001"/>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3"/>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lang="en-US" smtClean="0"/>
              <a:pPr/>
              <a:t>‹#›</a:t>
            </a:fld>
            <a:endParaRPr lang="en-US" dirty="0"/>
          </a:p>
        </p:txBody>
      </p:sp>
      <p:pic>
        <p:nvPicPr>
          <p:cNvPr id="7" name="Picture 6" descr="A picture containing icon&#10;&#10;Description automatically generated">
            <a:extLst>
              <a:ext uri="{FF2B5EF4-FFF2-40B4-BE49-F238E27FC236}">
                <a16:creationId xmlns:a16="http://schemas.microsoft.com/office/drawing/2014/main" id="{9979B2FD-5818-4FAB-AC37-85AF07027C4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3" y="6250970"/>
            <a:ext cx="731653" cy="309078"/>
          </a:xfrm>
          <a:prstGeom prst="rect">
            <a:avLst/>
          </a:prstGeom>
        </p:spPr>
      </p:pic>
    </p:spTree>
    <p:extLst>
      <p:ext uri="{BB962C8B-B14F-4D97-AF65-F5344CB8AC3E}">
        <p14:creationId xmlns:p14="http://schemas.microsoft.com/office/powerpoint/2010/main" val="384198335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1" y="381001"/>
            <a:ext cx="6630463" cy="5349875"/>
          </a:xfrm>
        </p:spPr>
        <p:txBody>
          <a:bodyPr rIns="457200" anchor="ctr"/>
          <a:lstStyle>
            <a:lvl1pPr>
              <a:defRPr sz="5400" b="0">
                <a:solidFill>
                  <a:schemeClr val="tx1"/>
                </a:solidFill>
              </a:defRPr>
            </a:lvl1pPr>
          </a:lstStyle>
          <a:p>
            <a:r>
              <a:rPr lang="en-US"/>
              <a:t>Click to edit Master title style</a:t>
            </a:r>
          </a:p>
        </p:txBody>
      </p:sp>
      <p:pic>
        <p:nvPicPr>
          <p:cNvPr id="5" name="Picture 4" descr="A picture containing icon&#10;&#10;Description automatically generated">
            <a:extLst>
              <a:ext uri="{FF2B5EF4-FFF2-40B4-BE49-F238E27FC236}">
                <a16:creationId xmlns:a16="http://schemas.microsoft.com/office/drawing/2014/main" id="{9FE727C3-38D6-4FFC-A216-64DE47B6AC3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3" y="6250970"/>
            <a:ext cx="731653" cy="309078"/>
          </a:xfrm>
          <a:prstGeom prst="rect">
            <a:avLst/>
          </a:prstGeom>
        </p:spPr>
      </p:pic>
    </p:spTree>
    <p:extLst>
      <p:ext uri="{BB962C8B-B14F-4D97-AF65-F5344CB8AC3E}">
        <p14:creationId xmlns:p14="http://schemas.microsoft.com/office/powerpoint/2010/main" val="374167061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1" y="381001"/>
            <a:ext cx="6630463" cy="5349875"/>
          </a:xfrm>
        </p:spPr>
        <p:txBody>
          <a:bodyPr rIns="457200" anchor="ctr"/>
          <a:lstStyle>
            <a:lvl1pPr>
              <a:defRPr sz="5400" b="0">
                <a:solidFill>
                  <a:schemeClr val="tx1"/>
                </a:solidFill>
              </a:defRPr>
            </a:lvl1pPr>
          </a:lstStyle>
          <a:p>
            <a:r>
              <a:rPr lang="en-US"/>
              <a:t>Click to edit Master title style</a:t>
            </a:r>
          </a:p>
        </p:txBody>
      </p:sp>
      <p:pic>
        <p:nvPicPr>
          <p:cNvPr id="5" name="Picture 4" descr="A picture containing icon&#10;&#10;Description automatically generated">
            <a:extLst>
              <a:ext uri="{FF2B5EF4-FFF2-40B4-BE49-F238E27FC236}">
                <a16:creationId xmlns:a16="http://schemas.microsoft.com/office/drawing/2014/main" id="{B75D102D-FDAA-4115-B849-015A3BBA50D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3" y="6250970"/>
            <a:ext cx="731653" cy="309078"/>
          </a:xfrm>
          <a:prstGeom prst="rect">
            <a:avLst/>
          </a:prstGeom>
        </p:spPr>
      </p:pic>
    </p:spTree>
    <p:extLst>
      <p:ext uri="{BB962C8B-B14F-4D97-AF65-F5344CB8AC3E}">
        <p14:creationId xmlns:p14="http://schemas.microsoft.com/office/powerpoint/2010/main" val="375478766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userDrawn="1"/>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800" dirty="0"/>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1" y="22888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212105"/>
            <a:ext cx="819150" cy="347175"/>
          </a:xfrm>
          <a:prstGeom prst="rect">
            <a:avLst/>
          </a:prstGeom>
        </p:spPr>
      </p:pic>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9"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lang="en-US" smtClean="0"/>
              <a:pPr/>
              <a:t>‹#›</a:t>
            </a:fld>
            <a:endParaRPr lang="en-US" dirty="0"/>
          </a:p>
        </p:txBody>
      </p:sp>
    </p:spTree>
    <p:extLst>
      <p:ext uri="{BB962C8B-B14F-4D97-AF65-F5344CB8AC3E}">
        <p14:creationId xmlns:p14="http://schemas.microsoft.com/office/powerpoint/2010/main" val="340884366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D759AFEE-79A3-4996-B06D-D9A66A9C5048}"/>
              </a:ext>
            </a:extLst>
          </p:cNvPr>
          <p:cNvSpPr>
            <a:spLocks noGrp="1"/>
          </p:cNvSpPr>
          <p:nvPr>
            <p:ph type="title" hasCustomPrompt="1"/>
          </p:nvPr>
        </p:nvSpPr>
        <p:spPr>
          <a:xfrm>
            <a:off x="512064" y="365763"/>
            <a:ext cx="11180064" cy="332399"/>
          </a:xfrm>
        </p:spPr>
        <p:txBody>
          <a:bodyPr>
            <a:spAutoFit/>
          </a:bodyPr>
          <a:lstStyle>
            <a:lvl1pPr>
              <a:defRPr sz="2400" b="1" cap="none" spc="-15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4"/>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4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50" y="6017337"/>
            <a:ext cx="1481977" cy="810596"/>
          </a:xfrm>
          <a:prstGeom prst="rect">
            <a:avLst/>
          </a:prstGeom>
        </p:spPr>
      </p:pic>
    </p:spTree>
    <p:extLst>
      <p:ext uri="{BB962C8B-B14F-4D97-AF65-F5344CB8AC3E}">
        <p14:creationId xmlns:p14="http://schemas.microsoft.com/office/powerpoint/2010/main" val="82395354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ver Slide 1">
    <p:spTree>
      <p:nvGrpSpPr>
        <p:cNvPr id="1" name=""/>
        <p:cNvGrpSpPr/>
        <p:nvPr/>
      </p:nvGrpSpPr>
      <p:grpSpPr>
        <a:xfrm>
          <a:off x="0" y="0"/>
          <a:ext cx="0" cy="0"/>
          <a:chOff x="0" y="0"/>
          <a:chExt cx="0" cy="0"/>
        </a:xfrm>
      </p:grpSpPr>
      <p:sp>
        <p:nvSpPr>
          <p:cNvPr id="6" name="Title 5"/>
          <p:cNvSpPr>
            <a:spLocks noGrp="1"/>
          </p:cNvSpPr>
          <p:nvPr>
            <p:ph type="title"/>
          </p:nvPr>
        </p:nvSpPr>
        <p:spPr>
          <a:xfrm>
            <a:off x="1019176" y="922021"/>
            <a:ext cx="9152697" cy="553998"/>
          </a:xfrm>
        </p:spPr>
        <p:txBody>
          <a:bodyPr>
            <a:spAutoFit/>
          </a:bodyPr>
          <a:lstStyle>
            <a:lvl1pPr>
              <a:defRPr sz="4000" b="0" i="0" cap="none" spc="0" baseline="0">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Tree>
    <p:extLst>
      <p:ext uri="{BB962C8B-B14F-4D97-AF65-F5344CB8AC3E}">
        <p14:creationId xmlns:p14="http://schemas.microsoft.com/office/powerpoint/2010/main" val="7488420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CDD1B40-43EA-172D-3789-A7E2E7749173}"/>
              </a:ext>
            </a:extLst>
          </p:cNvPr>
          <p:cNvSpPr>
            <a:spLocks noGrp="1"/>
          </p:cNvSpPr>
          <p:nvPr>
            <p:ph type="title"/>
          </p:nvPr>
        </p:nvSpPr>
        <p:spPr>
          <a:xfrm>
            <a:off x="371079" y="456358"/>
            <a:ext cx="11369637" cy="685995"/>
          </a:xfrm>
          <a:prstGeom prst="rect">
            <a:avLst/>
          </a:prstGeom>
        </p:spPr>
        <p:txBody>
          <a:bodyPr vert="horz" lIns="91440" tIns="45720" rIns="91440" bIns="45720" rtlCol="0" anchor="t" anchorCtr="0">
            <a:noAutofit/>
          </a:bodyPr>
          <a:lstStyle>
            <a:lvl1pPr>
              <a:defRPr spc="20" baseline="0"/>
            </a:lvl1pPr>
          </a:lstStyle>
          <a:p>
            <a:r>
              <a:rPr lang="en-US"/>
              <a:t>Click to edit Master title style</a:t>
            </a:r>
          </a:p>
        </p:txBody>
      </p:sp>
      <p:sp>
        <p:nvSpPr>
          <p:cNvPr id="5" name="Text Placeholder 2">
            <a:extLst>
              <a:ext uri="{FF2B5EF4-FFF2-40B4-BE49-F238E27FC236}">
                <a16:creationId xmlns:a16="http://schemas.microsoft.com/office/drawing/2014/main" id="{65D8388A-35C3-33B2-2FDF-EFBFB4D2E284}"/>
              </a:ext>
            </a:extLst>
          </p:cNvPr>
          <p:cNvSpPr>
            <a:spLocks noGrp="1"/>
          </p:cNvSpPr>
          <p:nvPr>
            <p:ph idx="1"/>
          </p:nvPr>
        </p:nvSpPr>
        <p:spPr>
          <a:xfrm>
            <a:off x="364902" y="1816844"/>
            <a:ext cx="11375814" cy="4318718"/>
          </a:xfrm>
          <a:prstGeom prst="rect">
            <a:avLst/>
          </a:prstGeom>
        </p:spPr>
        <p:txBody>
          <a:bodyPr vert="horz" lIns="91440" tIns="45720" rIns="91440" bIns="45720" rtlCol="0">
            <a:noAutofit/>
          </a:bodyPr>
          <a:lstStyle>
            <a:lvl1pPr>
              <a:defRPr b="0" i="0">
                <a:latin typeface="Helvetica Neue Light" panose="02000403000000020004" pitchFamily="2" charset="0"/>
                <a:ea typeface="Helvetica Neue Light" panose="02000403000000020004" pitchFamily="2" charset="0"/>
              </a:defRPr>
            </a:lvl1pPr>
            <a:lvl2pPr>
              <a:defRPr b="0" i="0">
                <a:latin typeface="Helvetica Neue Light" panose="02000403000000020004" pitchFamily="2" charset="0"/>
                <a:ea typeface="Helvetica Neue Light" panose="02000403000000020004" pitchFamily="2" charset="0"/>
              </a:defRPr>
            </a:lvl2pPr>
            <a:lvl3pPr>
              <a:defRPr b="0" i="0">
                <a:latin typeface="Helvetica Neue Light" panose="02000403000000020004" pitchFamily="2" charset="0"/>
                <a:ea typeface="Helvetica Neue Light" panose="02000403000000020004" pitchFamily="2" charset="0"/>
              </a:defRPr>
            </a:lvl3pPr>
            <a:lvl4pPr>
              <a:defRPr b="0" i="0">
                <a:latin typeface="Helvetica Neue Light" panose="02000403000000020004" pitchFamily="2" charset="0"/>
                <a:ea typeface="Helvetica Neue Light" panose="02000403000000020004" pitchFamily="2" charset="0"/>
              </a:defRPr>
            </a:lvl4pPr>
            <a:lvl5pPr>
              <a:defRPr b="0" i="0">
                <a:latin typeface="Helvetica Neue Light" panose="02000403000000020004" pitchFamily="2" charset="0"/>
                <a:ea typeface="Helvetica Neue Light" panose="020004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CB71A7F-8B2C-9D84-6D56-F9E6AB5D0955}"/>
              </a:ext>
            </a:extLst>
          </p:cNvPr>
          <p:cNvSpPr>
            <a:spLocks noGrp="1"/>
          </p:cNvSpPr>
          <p:nvPr>
            <p:ph type="sldNum" sz="quarter" idx="4"/>
          </p:nvPr>
        </p:nvSpPr>
        <p:spPr>
          <a:xfrm>
            <a:off x="11338560" y="6405298"/>
            <a:ext cx="498806" cy="269738"/>
          </a:xfrm>
          <a:prstGeom prst="rect">
            <a:avLst/>
          </a:prstGeom>
        </p:spPr>
        <p:txBody>
          <a:bodyPr vert="horz" lIns="91440" tIns="45720" rIns="91440" bIns="45720" rtlCol="0" anchor="ctr"/>
          <a:lstStyle>
            <a:lvl1pPr algn="r">
              <a:defRPr sz="800">
                <a:solidFill>
                  <a:sysClr val="windowText" lastClr="000000"/>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72410227-0A74-4DD0-97A1-EFCFB8B7378B}" type="slidenum">
              <a:rPr lang="en-US" smtClean="0"/>
              <a:pPr/>
              <a:t>‹#›</a:t>
            </a:fld>
            <a:endParaRPr lang="en-US" dirty="0"/>
          </a:p>
        </p:txBody>
      </p:sp>
      <p:sp>
        <p:nvSpPr>
          <p:cNvPr id="8" name="Text Placeholder 2">
            <a:extLst>
              <a:ext uri="{FF2B5EF4-FFF2-40B4-BE49-F238E27FC236}">
                <a16:creationId xmlns:a16="http://schemas.microsoft.com/office/drawing/2014/main" id="{A41ACCDF-469A-5AF1-95B4-166FE09C88C6}"/>
              </a:ext>
            </a:extLst>
          </p:cNvPr>
          <p:cNvSpPr>
            <a:spLocks noGrp="1"/>
          </p:cNvSpPr>
          <p:nvPr>
            <p:ph idx="10" hasCustomPrompt="1"/>
          </p:nvPr>
        </p:nvSpPr>
        <p:spPr>
          <a:xfrm>
            <a:off x="383190" y="1089888"/>
            <a:ext cx="11375814" cy="685995"/>
          </a:xfrm>
          <a:prstGeom prst="rect">
            <a:avLst/>
          </a:prstGeom>
        </p:spPr>
        <p:txBody>
          <a:bodyPr vert="horz" lIns="91440" tIns="45720" rIns="91440" bIns="45720" rtlCol="0">
            <a:noAutofit/>
          </a:bodyPr>
          <a:lstStyle>
            <a:lvl1pPr marL="0" indent="0">
              <a:lnSpc>
                <a:spcPct val="100000"/>
              </a:lnSpc>
              <a:spcBef>
                <a:spcPts val="0"/>
              </a:spcBef>
              <a:spcAft>
                <a:spcPts val="600"/>
              </a:spcAft>
              <a:buNone/>
              <a:defRPr sz="1400" b="0" i="0" spc="20" baseline="0">
                <a:latin typeface="Helvetica Neue Thin" panose="020B0403020202020204" pitchFamily="34" charset="0"/>
                <a:ea typeface="Helvetica Neue Thin" panose="020B0403020202020204" pitchFamily="34" charset="0"/>
              </a:defRPr>
            </a:lvl1pPr>
          </a:lstStyle>
          <a:p>
            <a:pPr lvl="0"/>
            <a:r>
              <a:rPr lang="en-US"/>
              <a:t>Enter super long subtitle here</a:t>
            </a:r>
          </a:p>
          <a:p>
            <a:pPr marL="0" marR="0" lvl="0" indent="0" algn="l" defTabSz="914446" rtl="0" eaLnBrk="1" fontAlgn="auto" latinLnBrk="0" hangingPunct="1">
              <a:lnSpc>
                <a:spcPct val="100000"/>
              </a:lnSpc>
              <a:spcBef>
                <a:spcPct val="20000"/>
              </a:spcBef>
              <a:spcAft>
                <a:spcPts val="0"/>
              </a:spcAft>
              <a:buClr>
                <a:srgbClr val="39BA56"/>
              </a:buClr>
              <a:buSzPct val="100000"/>
              <a:buFont typeface="Arial" pitchFamily="34" charset="0"/>
              <a:buNone/>
              <a:tabLst/>
              <a:defRPr/>
            </a:pPr>
            <a:r>
              <a:rPr lang="en-US"/>
              <a:t>Enter super long subtitle here</a:t>
            </a:r>
          </a:p>
        </p:txBody>
      </p:sp>
    </p:spTree>
    <p:extLst>
      <p:ext uri="{BB962C8B-B14F-4D97-AF65-F5344CB8AC3E}">
        <p14:creationId xmlns:p14="http://schemas.microsoft.com/office/powerpoint/2010/main" val="254369301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Brillio_Quote slide">
    <p:bg>
      <p:bgPr>
        <a:solidFill>
          <a:srgbClr val="211747"/>
        </a:solidFill>
        <a:effectLst/>
      </p:bgPr>
    </p:bg>
    <p:spTree>
      <p:nvGrpSpPr>
        <p:cNvPr id="1" name=""/>
        <p:cNvGrpSpPr/>
        <p:nvPr/>
      </p:nvGrpSpPr>
      <p:grpSpPr>
        <a:xfrm>
          <a:off x="0" y="0"/>
          <a:ext cx="0" cy="0"/>
          <a:chOff x="0" y="0"/>
          <a:chExt cx="0" cy="0"/>
        </a:xfrm>
      </p:grpSpPr>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339908"/>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dirty="0"/>
              <a:t>©2024 Brillio  |  </a:t>
            </a:r>
            <a:fld id="{F1FE5E21-FD07-B44E-90A3-0254BFCDB49A}" type="slidenum">
              <a:rPr smtClean="0"/>
              <a:pPr/>
              <a:t>‹#›</a:t>
            </a:fld>
            <a:endParaRPr dirty="0"/>
          </a:p>
        </p:txBody>
      </p:sp>
      <p:pic>
        <p:nvPicPr>
          <p:cNvPr id="2" name="Picture 1" descr="A picture containing icon&#10;&#10;Description automatically generated">
            <a:extLst>
              <a:ext uri="{FF2B5EF4-FFF2-40B4-BE49-F238E27FC236}">
                <a16:creationId xmlns:a16="http://schemas.microsoft.com/office/drawing/2014/main" id="{F1D9E5F6-8981-4859-1FF2-5BDAE851319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212105"/>
            <a:ext cx="819150" cy="347175"/>
          </a:xfrm>
          <a:prstGeom prst="rect">
            <a:avLst/>
          </a:prstGeom>
        </p:spPr>
      </p:pic>
    </p:spTree>
    <p:extLst>
      <p:ext uri="{BB962C8B-B14F-4D97-AF65-F5344CB8AC3E}">
        <p14:creationId xmlns:p14="http://schemas.microsoft.com/office/powerpoint/2010/main" val="10910162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1">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dirty="0"/>
              <a:t>© 2024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dirty="0"/>
          </a:p>
        </p:txBody>
      </p:sp>
      <p:sp>
        <p:nvSpPr>
          <p:cNvPr id="7" name="Text Placeholder 6">
            <a:extLst>
              <a:ext uri="{FF2B5EF4-FFF2-40B4-BE49-F238E27FC236}">
                <a16:creationId xmlns:a16="http://schemas.microsoft.com/office/drawing/2014/main" id="{AB09D225-0CEA-4248-825C-7FE836C043C5}"/>
              </a:ext>
            </a:extLst>
          </p:cNvPr>
          <p:cNvSpPr>
            <a:spLocks noGrp="1"/>
          </p:cNvSpPr>
          <p:nvPr>
            <p:ph type="body" sz="quarter" idx="12" hasCustomPrompt="1"/>
          </p:nvPr>
        </p:nvSpPr>
        <p:spPr>
          <a:xfrm>
            <a:off x="512763" y="825502"/>
            <a:ext cx="11222037" cy="396875"/>
          </a:xfrm>
        </p:spPr>
        <p:txBody>
          <a:bodyPr vert="horz" lIns="0" tIns="0" rIns="0" bIns="0" rtlCol="0" anchor="t" anchorCtr="0">
            <a:normAutofit/>
          </a:bodyPr>
          <a:lstStyle>
            <a:lvl1pPr>
              <a:defRPr lang="en-US" sz="1600" b="1" cap="none" spc="-151"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1722221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CDD1B40-43EA-172D-3789-A7E2E7749173}"/>
              </a:ext>
            </a:extLst>
          </p:cNvPr>
          <p:cNvSpPr>
            <a:spLocks noGrp="1"/>
          </p:cNvSpPr>
          <p:nvPr>
            <p:ph type="title"/>
          </p:nvPr>
        </p:nvSpPr>
        <p:spPr>
          <a:xfrm>
            <a:off x="371079" y="456358"/>
            <a:ext cx="11369637" cy="685995"/>
          </a:xfrm>
          <a:prstGeom prst="rect">
            <a:avLst/>
          </a:prstGeom>
        </p:spPr>
        <p:txBody>
          <a:bodyPr vert="horz" lIns="91440" tIns="45720" rIns="91440" bIns="45720" rtlCol="0" anchor="t" anchorCtr="0">
            <a:noAutofit/>
          </a:bodyPr>
          <a:lstStyle>
            <a:lvl1pPr>
              <a:defRPr sz="3000" b="1" i="0" spc="0" baseline="0">
                <a:solidFill>
                  <a:schemeClr val="accent6">
                    <a:lumMod val="50000"/>
                  </a:schemeClr>
                </a:solidFill>
                <a:latin typeface="Univers" panose="020B0503020202020204" pitchFamily="34" charset="0"/>
                <a:cs typeface="Arial Nova Light" panose="020F0302020204030204" pitchFamily="34" charset="0"/>
              </a:defRPr>
            </a:lvl1pPr>
          </a:lstStyle>
          <a:p>
            <a:r>
              <a:rPr lang="en-US"/>
              <a:t>Click to edit Master title style</a:t>
            </a:r>
          </a:p>
        </p:txBody>
      </p:sp>
      <p:sp>
        <p:nvSpPr>
          <p:cNvPr id="8" name="Text Placeholder 2">
            <a:extLst>
              <a:ext uri="{FF2B5EF4-FFF2-40B4-BE49-F238E27FC236}">
                <a16:creationId xmlns:a16="http://schemas.microsoft.com/office/drawing/2014/main" id="{A41ACCDF-469A-5AF1-95B4-166FE09C88C6}"/>
              </a:ext>
            </a:extLst>
          </p:cNvPr>
          <p:cNvSpPr>
            <a:spLocks noGrp="1"/>
          </p:cNvSpPr>
          <p:nvPr>
            <p:ph idx="10" hasCustomPrompt="1"/>
          </p:nvPr>
        </p:nvSpPr>
        <p:spPr>
          <a:xfrm>
            <a:off x="383190" y="1089888"/>
            <a:ext cx="11375814" cy="685995"/>
          </a:xfrm>
          <a:prstGeom prst="rect">
            <a:avLst/>
          </a:prstGeom>
        </p:spPr>
        <p:txBody>
          <a:bodyPr vert="horz" lIns="91440" tIns="45720" rIns="91440" bIns="45720" rtlCol="0">
            <a:noAutofit/>
          </a:bodyPr>
          <a:lstStyle>
            <a:lvl1pPr marL="0" indent="0">
              <a:lnSpc>
                <a:spcPct val="120000"/>
              </a:lnSpc>
              <a:spcBef>
                <a:spcPts val="0"/>
              </a:spcBef>
              <a:spcAft>
                <a:spcPts val="600"/>
              </a:spcAft>
              <a:buNone/>
              <a:defRPr sz="1400" b="0" i="0" spc="30" baseline="0">
                <a:solidFill>
                  <a:schemeClr val="accent6">
                    <a:lumMod val="50000"/>
                  </a:schemeClr>
                </a:solidFill>
                <a:latin typeface="Univers" panose="020B0503020202020204" pitchFamily="34" charset="0"/>
                <a:ea typeface="Helvetica Neue Thin" panose="020B0403020202020204" pitchFamily="34" charset="0"/>
              </a:defRPr>
            </a:lvl1pPr>
          </a:lstStyle>
          <a:p>
            <a:pPr lvl="0"/>
            <a:r>
              <a:rPr lang="en-US"/>
              <a:t>Enter super long subtitle here</a:t>
            </a:r>
          </a:p>
          <a:p>
            <a:pPr marL="0" marR="0" lvl="0" indent="0" algn="l" defTabSz="914446" rtl="0" eaLnBrk="1" fontAlgn="auto" latinLnBrk="0" hangingPunct="1">
              <a:lnSpc>
                <a:spcPct val="100000"/>
              </a:lnSpc>
              <a:spcBef>
                <a:spcPct val="20000"/>
              </a:spcBef>
              <a:spcAft>
                <a:spcPts val="0"/>
              </a:spcAft>
              <a:buClr>
                <a:srgbClr val="39BA56"/>
              </a:buClr>
              <a:buSzPct val="100000"/>
              <a:buFont typeface="Arial" pitchFamily="34" charset="0"/>
              <a:buNone/>
              <a:tabLst/>
              <a:defRPr/>
            </a:pPr>
            <a:r>
              <a:rPr lang="en-US"/>
              <a:t>Enter super long subtitle here</a:t>
            </a:r>
          </a:p>
        </p:txBody>
      </p:sp>
    </p:spTree>
    <p:extLst>
      <p:ext uri="{BB962C8B-B14F-4D97-AF65-F5344CB8AC3E}">
        <p14:creationId xmlns:p14="http://schemas.microsoft.com/office/powerpoint/2010/main" val="14032972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5" name="Parallelogram 24">
            <a:extLst>
              <a:ext uri="{FF2B5EF4-FFF2-40B4-BE49-F238E27FC236}">
                <a16:creationId xmlns:a16="http://schemas.microsoft.com/office/drawing/2014/main" id="{46D8144E-784A-4038-9010-9A672F089B57}"/>
              </a:ext>
            </a:extLst>
          </p:cNvPr>
          <p:cNvSpPr/>
          <p:nvPr userDrawn="1"/>
        </p:nvSpPr>
        <p:spPr>
          <a:xfrm>
            <a:off x="124641" y="6698"/>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26" name="Slide Number Placeholder 5">
            <a:extLst>
              <a:ext uri="{FF2B5EF4-FFF2-40B4-BE49-F238E27FC236}">
                <a16:creationId xmlns:a16="http://schemas.microsoft.com/office/drawing/2014/main" id="{465E2EE2-DA64-4B27-BFB1-67141A6FDE88}"/>
              </a:ext>
            </a:extLst>
          </p:cNvPr>
          <p:cNvSpPr txBox="1">
            <a:spLocks/>
          </p:cNvSpPr>
          <p:nvPr userDrawn="1"/>
        </p:nvSpPr>
        <p:spPr>
          <a:xfrm>
            <a:off x="11526449" y="126797"/>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Oval 26">
            <a:extLst>
              <a:ext uri="{FF2B5EF4-FFF2-40B4-BE49-F238E27FC236}">
                <a16:creationId xmlns:a16="http://schemas.microsoft.com/office/drawing/2014/main" id="{099495C1-F4AC-4B68-8796-428E4621C5B8}"/>
              </a:ext>
            </a:extLst>
          </p:cNvPr>
          <p:cNvSpPr/>
          <p:nvPr userDrawn="1"/>
        </p:nvSpPr>
        <p:spPr>
          <a:xfrm>
            <a:off x="11440456"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Oval 27">
            <a:extLst>
              <a:ext uri="{FF2B5EF4-FFF2-40B4-BE49-F238E27FC236}">
                <a16:creationId xmlns:a16="http://schemas.microsoft.com/office/drawing/2014/main" id="{24E87B81-51FB-43BF-8CA5-EE8B964B4C80}"/>
              </a:ext>
            </a:extLst>
          </p:cNvPr>
          <p:cNvSpPr/>
          <p:nvPr userDrawn="1"/>
        </p:nvSpPr>
        <p:spPr>
          <a:xfrm>
            <a:off x="11053291"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Rectangle 9">
            <a:extLst>
              <a:ext uri="{FF2B5EF4-FFF2-40B4-BE49-F238E27FC236}">
                <a16:creationId xmlns:a16="http://schemas.microsoft.com/office/drawing/2014/main" id="{68BBCC3F-F002-4FFC-AC59-1E2C3F6C8921}"/>
              </a:ext>
            </a:extLst>
          </p:cNvPr>
          <p:cNvSpPr/>
          <p:nvPr userDrawn="1"/>
        </p:nvSpPr>
        <p:spPr>
          <a:xfrm rot="2700000">
            <a:off x="11181862"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Oval 29">
            <a:extLst>
              <a:ext uri="{FF2B5EF4-FFF2-40B4-BE49-F238E27FC236}">
                <a16:creationId xmlns:a16="http://schemas.microsoft.com/office/drawing/2014/main" id="{D422BB2F-1583-4A3E-BA78-032EFF2E664D}"/>
              </a:ext>
            </a:extLst>
          </p:cNvPr>
          <p:cNvSpPr/>
          <p:nvPr userDrawn="1"/>
        </p:nvSpPr>
        <p:spPr>
          <a:xfrm rot="10800000">
            <a:off x="11827620"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 name="Rectangle 9">
            <a:extLst>
              <a:ext uri="{FF2B5EF4-FFF2-40B4-BE49-F238E27FC236}">
                <a16:creationId xmlns:a16="http://schemas.microsoft.com/office/drawing/2014/main" id="{775987DC-52A7-4D1C-9715-47294F9595F0}"/>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42975" y="48473"/>
            <a:ext cx="10118886" cy="698611"/>
          </a:xfrm>
          <a:prstGeom prst="rect">
            <a:avLst/>
          </a:prstGeom>
        </p:spPr>
        <p:txBody>
          <a:bodyPr anchor="ctr"/>
          <a:lstStyle>
            <a:lvl1pPr>
              <a:defRPr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39"/>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3" name="Text Placeholder 2">
            <a:extLst>
              <a:ext uri="{FF2B5EF4-FFF2-40B4-BE49-F238E27FC236}">
                <a16:creationId xmlns:a16="http://schemas.microsoft.com/office/drawing/2014/main" id="{7F821F01-3422-422B-BB80-A117C5A0BBBA}"/>
              </a:ext>
            </a:extLst>
          </p:cNvPr>
          <p:cNvSpPr>
            <a:spLocks noGrp="1"/>
          </p:cNvSpPr>
          <p:nvPr>
            <p:ph type="body" sz="quarter" idx="10" hasCustomPrompt="1"/>
          </p:nvPr>
        </p:nvSpPr>
        <p:spPr>
          <a:xfrm>
            <a:off x="842963" y="677647"/>
            <a:ext cx="7222332" cy="185738"/>
          </a:xfrm>
          <a:prstGeom prst="rect">
            <a:avLst/>
          </a:prstGeom>
        </p:spPr>
        <p:txBody>
          <a:bodyPr anchor="ctr"/>
          <a:lstStyle>
            <a:lvl1pPr marL="0" indent="0">
              <a:buNone/>
              <a:defRPr sz="1200" cap="all" spc="300" baseline="0">
                <a:solidFill>
                  <a:schemeClr val="tx1">
                    <a:lumMod val="75000"/>
                    <a:lumOff val="25000"/>
                  </a:schemeClr>
                </a:solidFill>
                <a:latin typeface="+mj-lt"/>
              </a:defRPr>
            </a:lvl1pPr>
            <a:lvl2pPr marL="228600" indent="0">
              <a:buNone/>
              <a:defRPr cap="all" baseline="0">
                <a:solidFill>
                  <a:schemeClr val="tx1">
                    <a:lumMod val="75000"/>
                    <a:lumOff val="25000"/>
                  </a:schemeClr>
                </a:solidFill>
                <a:latin typeface="+mj-lt"/>
              </a:defRPr>
            </a:lvl2pPr>
            <a:lvl3pPr marL="457200" indent="0">
              <a:buNone/>
              <a:defRPr cap="all" baseline="0">
                <a:solidFill>
                  <a:schemeClr val="tx1">
                    <a:lumMod val="75000"/>
                    <a:lumOff val="25000"/>
                  </a:schemeClr>
                </a:solidFill>
                <a:latin typeface="+mj-lt"/>
              </a:defRPr>
            </a:lvl3pPr>
            <a:lvl4pPr marL="685800" indent="0">
              <a:buNone/>
              <a:defRPr cap="all" baseline="0">
                <a:solidFill>
                  <a:schemeClr val="tx1">
                    <a:lumMod val="75000"/>
                    <a:lumOff val="25000"/>
                  </a:schemeClr>
                </a:solidFill>
                <a:latin typeface="+mj-lt"/>
              </a:defRPr>
            </a:lvl4pPr>
            <a:lvl5pPr marL="914400" indent="0">
              <a:buNone/>
              <a:defRPr cap="all" baseline="0">
                <a:solidFill>
                  <a:schemeClr val="tx1">
                    <a:lumMod val="75000"/>
                    <a:lumOff val="25000"/>
                  </a:schemeClr>
                </a:solidFill>
                <a:latin typeface="+mj-lt"/>
              </a:defRPr>
            </a:lvl5pPr>
          </a:lstStyle>
          <a:p>
            <a:pPr lvl="0"/>
            <a:r>
              <a:rPr lang="en-US"/>
              <a:t>CLICK HERE TO EDIT SUBTITLES</a:t>
            </a:r>
            <a:endParaRPr lang="en-IN"/>
          </a:p>
        </p:txBody>
      </p:sp>
      <p:pic>
        <p:nvPicPr>
          <p:cNvPr id="2" name="Picture 2" descr="Brillio - Wikipedia">
            <a:extLst>
              <a:ext uri="{FF2B5EF4-FFF2-40B4-BE49-F238E27FC236}">
                <a16:creationId xmlns:a16="http://schemas.microsoft.com/office/drawing/2014/main" id="{BFFFE76F-4621-4269-A981-C98F1EEA1726}"/>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4"/>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8" name="Action Button: Forward or Next 26">
            <a:hlinkClick r:id="" action="ppaction://hlinkshowjump?jump=nextslide" highlightClick="1"/>
            <a:extLst>
              <a:ext uri="{FF2B5EF4-FFF2-40B4-BE49-F238E27FC236}">
                <a16:creationId xmlns:a16="http://schemas.microsoft.com/office/drawing/2014/main" id="{F7973308-74DB-44A7-A962-1E0A53567124}"/>
              </a:ext>
            </a:extLst>
          </p:cNvPr>
          <p:cNvSpPr/>
          <p:nvPr userDrawn="1"/>
        </p:nvSpPr>
        <p:spPr>
          <a:xfrm>
            <a:off x="11799046" y="71227"/>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Action Button: Back or Previous 27">
            <a:hlinkClick r:id="" action="ppaction://hlinkshowjump?jump=previousslide" highlightClick="1"/>
            <a:extLst>
              <a:ext uri="{FF2B5EF4-FFF2-40B4-BE49-F238E27FC236}">
                <a16:creationId xmlns:a16="http://schemas.microsoft.com/office/drawing/2014/main" id="{90039638-2102-4298-A9D9-2EE34F96E244}"/>
              </a:ext>
            </a:extLst>
          </p:cNvPr>
          <p:cNvSpPr/>
          <p:nvPr userDrawn="1"/>
        </p:nvSpPr>
        <p:spPr>
          <a:xfrm>
            <a:off x="11020553" y="110047"/>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6" name="Picture 15">
            <a:extLst>
              <a:ext uri="{FF2B5EF4-FFF2-40B4-BE49-F238E27FC236}">
                <a16:creationId xmlns:a16="http://schemas.microsoft.com/office/drawing/2014/main" id="{F225B891-F670-420B-A742-8CE225F0800D}"/>
              </a:ext>
            </a:extLst>
          </p:cNvPr>
          <p:cNvPicPr>
            <a:picLocks noChangeAspect="1"/>
          </p:cNvPicPr>
          <p:nvPr userDrawn="1"/>
        </p:nvPicPr>
        <p:blipFill rotWithShape="1">
          <a:blip r:embed="rId3">
            <a:clrChange>
              <a:clrFrom>
                <a:srgbClr val="FFFFFF"/>
              </a:clrFrom>
              <a:clrTo>
                <a:srgbClr val="FFFFFF">
                  <a:alpha val="0"/>
                </a:srgbClr>
              </a:clrTo>
            </a:clrChange>
          </a:blip>
          <a:srcRect t="30096" b="30383"/>
          <a:stretch/>
        </p:blipFill>
        <p:spPr>
          <a:xfrm>
            <a:off x="124641" y="6424770"/>
            <a:ext cx="738062" cy="291685"/>
          </a:xfrm>
          <a:prstGeom prst="rect">
            <a:avLst/>
          </a:prstGeom>
        </p:spPr>
      </p:pic>
    </p:spTree>
    <p:extLst>
      <p:ext uri="{BB962C8B-B14F-4D97-AF65-F5344CB8AC3E}">
        <p14:creationId xmlns:p14="http://schemas.microsoft.com/office/powerpoint/2010/main" val="149850065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3"/>
            <a:ext cx="3048000" cy="153888"/>
          </a:xfrm>
          <a:prstGeom prst="rect">
            <a:avLst/>
          </a:prstGeom>
          <a:noFill/>
        </p:spPr>
        <p:txBody>
          <a:bodyPr wrap="square" lIns="0" tIns="0" rIns="0" bIns="0" rtlCol="0" anchor="b" anchorCtr="0">
            <a:spAutoFit/>
          </a:bodyPr>
          <a:lstStyle/>
          <a:p>
            <a:pPr algn="l"/>
            <a:r>
              <a:rPr lang="en-US" sz="1000" b="0" i="0" dirty="0">
                <a:solidFill>
                  <a:schemeClr val="bg1"/>
                </a:solidFill>
                <a:latin typeface="Arial" panose="020B0604020202020204" pitchFamily="34" charset="0"/>
                <a:cs typeface="Arial" panose="020B0604020202020204" pitchFamily="34" charset="0"/>
              </a:rPr>
              <a:t>©2022</a:t>
            </a:r>
            <a:r>
              <a:rPr lang="en-US" sz="1000" b="0" i="0" baseline="0" dirty="0">
                <a:solidFill>
                  <a:schemeClr val="bg1"/>
                </a:solidFill>
                <a:latin typeface="Arial" panose="020B0604020202020204" pitchFamily="34" charset="0"/>
                <a:cs typeface="Arial" panose="020B0604020202020204" pitchFamily="34" charset="0"/>
              </a:rPr>
              <a:t> Brillio  |  Proprietary &amp; Confidential</a:t>
            </a:r>
            <a:endParaRPr lang="en-US" sz="1000" b="0" i="0" dirty="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60" y="2276857"/>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1"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212" indent="0" algn="ctr">
              <a:buNone/>
              <a:defRPr sz="2000"/>
            </a:lvl2pPr>
            <a:lvl3pPr marL="914423" indent="0" algn="ctr">
              <a:buNone/>
              <a:defRPr sz="1800"/>
            </a:lvl3pPr>
            <a:lvl4pPr marL="1371635" indent="0" algn="ctr">
              <a:buNone/>
              <a:defRPr sz="1600"/>
            </a:lvl4pPr>
            <a:lvl5pPr marL="1828845" indent="0" algn="ctr">
              <a:buNone/>
              <a:defRPr sz="1600"/>
            </a:lvl5pPr>
            <a:lvl6pPr marL="2286058" indent="0" algn="ctr">
              <a:buNone/>
              <a:defRPr sz="1600"/>
            </a:lvl6pPr>
            <a:lvl7pPr marL="2743268" indent="0" algn="ctr">
              <a:buNone/>
              <a:defRPr sz="1600"/>
            </a:lvl7pPr>
            <a:lvl8pPr marL="3200480" indent="0" algn="ctr">
              <a:buNone/>
              <a:defRPr sz="1600"/>
            </a:lvl8pPr>
            <a:lvl9pPr marL="3657692"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60" y="4645614"/>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79294017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Brillio_Title only slide-L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9D0D82-D2F7-748C-E12F-053FF95422AA}"/>
              </a:ext>
            </a:extLst>
          </p:cNvPr>
          <p:cNvSpPr/>
          <p:nvPr userDrawn="1"/>
        </p:nvSpPr>
        <p:spPr>
          <a:xfrm>
            <a:off x="0" y="0"/>
            <a:ext cx="12192000" cy="6864957"/>
          </a:xfrm>
          <a:prstGeom prst="rect">
            <a:avLst/>
          </a:prstGeom>
          <a:solidFill>
            <a:srgbClr val="2117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8" name="Slide Number Placeholder 10">
            <a:extLst>
              <a:ext uri="{FF2B5EF4-FFF2-40B4-BE49-F238E27FC236}">
                <a16:creationId xmlns:a16="http://schemas.microsoft.com/office/drawing/2014/main" id="{1FB6BB63-B093-E847-B4B0-0ECF800ADF8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IN" dirty="0"/>
              <a:t>©2024 Brillio  |  </a:t>
            </a:r>
            <a:fld id="{F1FE5E21-FD07-B44E-90A3-0254BFCDB49A}" type="slidenum">
              <a:rPr smtClean="0"/>
              <a:pPr/>
              <a:t>‹#›</a:t>
            </a:fld>
            <a:endParaRPr dirty="0"/>
          </a:p>
        </p:txBody>
      </p:sp>
      <p:sp>
        <p:nvSpPr>
          <p:cNvPr id="4" name="Holder 2">
            <a:extLst>
              <a:ext uri="{FF2B5EF4-FFF2-40B4-BE49-F238E27FC236}">
                <a16:creationId xmlns:a16="http://schemas.microsoft.com/office/drawing/2014/main" id="{9EE548A2-2C90-E581-45F5-173FED08DB3E}"/>
              </a:ext>
            </a:extLst>
          </p:cNvPr>
          <p:cNvSpPr>
            <a:spLocks noGrp="1"/>
          </p:cNvSpPr>
          <p:nvPr>
            <p:ph type="title"/>
          </p:nvPr>
        </p:nvSpPr>
        <p:spPr>
          <a:xfrm>
            <a:off x="499362" y="308559"/>
            <a:ext cx="11387837" cy="391795"/>
          </a:xfrm>
        </p:spPr>
        <p:txBody>
          <a:bodyPr lIns="0" tIns="0" rIns="0" bIns="0"/>
          <a:lstStyle>
            <a:lvl1pPr>
              <a:defRPr sz="2800" b="1" i="0">
                <a:solidFill>
                  <a:schemeClr val="bg1"/>
                </a:solidFill>
                <a:latin typeface="Arial"/>
                <a:cs typeface="Arial"/>
              </a:defRPr>
            </a:lvl1pPr>
          </a:lstStyle>
          <a:p>
            <a:endParaRPr dirty="0"/>
          </a:p>
        </p:txBody>
      </p:sp>
      <p:pic>
        <p:nvPicPr>
          <p:cNvPr id="2" name="Picture 1" descr="A picture containing icon&#10;&#10;Description automatically generated">
            <a:extLst>
              <a:ext uri="{FF2B5EF4-FFF2-40B4-BE49-F238E27FC236}">
                <a16:creationId xmlns:a16="http://schemas.microsoft.com/office/drawing/2014/main" id="{7F3DCF4D-EBB4-5F3C-F3E4-A8FCC1CDD1F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212105"/>
            <a:ext cx="819150" cy="347175"/>
          </a:xfrm>
          <a:prstGeom prst="rect">
            <a:avLst/>
          </a:prstGeom>
        </p:spPr>
      </p:pic>
    </p:spTree>
    <p:extLst>
      <p:ext uri="{BB962C8B-B14F-4D97-AF65-F5344CB8AC3E}">
        <p14:creationId xmlns:p14="http://schemas.microsoft.com/office/powerpoint/2010/main" val="124041049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fld id="{EDBC6CF7-6BEC-A14D-BE26-7FF0FF291A0A}" type="datetimeyyyy">
              <a:rPr kumimoji="0" 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rillio  |  Proprietary &amp; Confidential</a:t>
            </a: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93405" y="381000"/>
            <a:ext cx="1691640" cy="714613"/>
          </a:xfrm>
          <a:prstGeom prst="rect">
            <a:avLst/>
          </a:prstGeom>
        </p:spPr>
      </p:pic>
      <p:sp>
        <p:nvSpPr>
          <p:cNvPr id="7" name="Title 1">
            <a:extLst>
              <a:ext uri="{FF2B5EF4-FFF2-40B4-BE49-F238E27FC236}">
                <a16:creationId xmlns:a16="http://schemas.microsoft.com/office/drawing/2014/main" id="{954B71F4-B840-9A43-8EEC-1F77A91DE493}"/>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tx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C439A878-73C7-EB47-A2B4-51DF910E01AD}"/>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tx2"/>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D70E704C-CDF3-3845-BFDB-477210C0F60F}"/>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tx2"/>
                </a:solidFill>
                <a:latin typeface="Arial" panose="020B0604020202020204" pitchFamily="34" charset="0"/>
                <a:cs typeface="Arial" panose="020B0604020202020204" pitchFamily="34" charset="0"/>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89694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fld id="{3F936D15-7CBD-E540-90D2-938597AA3A64}" type="datetimeyyyy">
              <a:rPr kumimoji="0" 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rillio  |  Proprietary &amp; Confidential</a:t>
            </a: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93405" y="381000"/>
            <a:ext cx="1691640" cy="714613"/>
          </a:xfrm>
          <a:prstGeom prst="rect">
            <a:avLst/>
          </a:prstGeom>
        </p:spPr>
      </p:pic>
      <p:sp>
        <p:nvSpPr>
          <p:cNvPr id="7" name="Title 1">
            <a:extLst>
              <a:ext uri="{FF2B5EF4-FFF2-40B4-BE49-F238E27FC236}">
                <a16:creationId xmlns:a16="http://schemas.microsoft.com/office/drawing/2014/main" id="{98ED0CA7-616B-F142-A0F5-9630FFC6DB84}"/>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tx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6025DA8A-60C1-8441-A846-0CC434137F15}"/>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tx2"/>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9EEA70D8-27BC-5D4A-A41F-62235503A50C}"/>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tx2"/>
                </a:solidFill>
                <a:latin typeface="Arial" panose="020B0604020202020204" pitchFamily="34" charset="0"/>
                <a:cs typeface="Arial" panose="020B0604020202020204" pitchFamily="34" charset="0"/>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759181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FEDD212B-ED5F-E84E-848F-D17DDDBD00F9}"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0861327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rillio_Quot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9921"/>
            <a:ext cx="9887803" cy="3621577"/>
          </a:xfrm>
        </p:spPr>
        <p:txBody>
          <a:bodyPr rIns="228600" anchor="t"/>
          <a:lstStyle>
            <a:lvl1pPr>
              <a:defRPr sz="5400" b="0">
                <a:solidFill>
                  <a:schemeClr val="tx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tx2"/>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fld id="{CC5D2712-2857-AC4F-817D-787A6F7C2FFA}" type="datetimeyyyy">
              <a:rPr kumimoji="0" 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icon&#10;&#10;Description automatically generated">
            <a:extLst>
              <a:ext uri="{FF2B5EF4-FFF2-40B4-BE49-F238E27FC236}">
                <a16:creationId xmlns:a16="http://schemas.microsoft.com/office/drawing/2014/main" id="{7AF86B4B-A493-AE4C-822B-61CED7AD5E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2207511700"/>
      </p:ext>
    </p:extLst>
  </p:cSld>
  <p:clrMapOvr>
    <a:overrideClrMapping bg1="lt1" tx1="dk1" bg2="lt2" tx2="dk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userDrawn="1"/>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0"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fld id="{4B3FF97B-E1DD-1E41-A56E-A0A29530A95C}" type="datetimeyyyy">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5829252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userDrawn="1"/>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5" y="381000"/>
            <a:ext cx="5072513" cy="5349875"/>
          </a:xfrm>
        </p:spPr>
        <p:txBody>
          <a:bodyPr lIns="0" tIns="0" rIns="457200" bIns="0"/>
          <a:lstStyle>
            <a:lvl1pPr marL="9525" indent="0">
              <a:buNone/>
              <a:tabLst/>
              <a:defRPr sz="2400" b="1" baseline="0">
                <a:solidFill>
                  <a:srgbClr val="2CC84D"/>
                </a:solidFill>
              </a:defRPr>
            </a:lvl1pPr>
            <a:lvl2pPr marL="9525" indent="0">
              <a:buNone/>
              <a:tabLst/>
              <a:defRPr sz="2400" baseline="0">
                <a:solidFill>
                  <a:schemeClr val="bg1"/>
                </a:solidFill>
              </a:defRPr>
            </a:lvl2pPr>
            <a:lvl3pPr marL="9525" indent="0">
              <a:buNone/>
              <a:tabLst/>
              <a:defRPr sz="2400" baseline="0">
                <a:solidFill>
                  <a:schemeClr val="bg1"/>
                </a:solidFill>
              </a:defRPr>
            </a:lvl3pPr>
            <a:lvl4pPr marL="9525" indent="0">
              <a:buNone/>
              <a:tabLst/>
              <a:defRPr sz="2400" baseline="0">
                <a:solidFill>
                  <a:schemeClr val="bg1"/>
                </a:solidFill>
              </a:defRPr>
            </a:lvl4pPr>
            <a:lvl5pPr marL="9525"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fld id="{02FB6101-CDB5-9E4A-8B71-3B5EC8589CD9}" type="datetimeyyyy">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994310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AC4B18A9-6E7B-034D-A04C-E5F4570032E7}"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191663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Brillio_Text slide_2-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524000"/>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34CB5D87-9C63-F742-8789-467D066A468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0A7CBB16-E582-0C40-AE06-BA402F61B92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60C9CAAB-B3B4-B64C-95B7-FA8513851582}"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ECA16358-F534-8F44-9052-ED8F6243B021}"/>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37431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A room filled with people&#10;&#10;Description automatically generated">
            <a:extLst>
              <a:ext uri="{FF2B5EF4-FFF2-40B4-BE49-F238E27FC236}">
                <a16:creationId xmlns:a16="http://schemas.microsoft.com/office/drawing/2014/main" id="{873C51FE-BA44-4B9B-8A64-ADA0E5B3D5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849" y="0"/>
            <a:ext cx="12233849" cy="6868064"/>
          </a:xfrm>
          <a:prstGeom prst="rect">
            <a:avLst/>
          </a:prstGeom>
        </p:spPr>
      </p:pic>
      <p:sp>
        <p:nvSpPr>
          <p:cNvPr id="3" name="Date Placeholder 2">
            <a:extLst>
              <a:ext uri="{FF2B5EF4-FFF2-40B4-BE49-F238E27FC236}">
                <a16:creationId xmlns:a16="http://schemas.microsoft.com/office/drawing/2014/main" id="{BC1525C0-2461-4254-A1B4-DBF61F462B3E}"/>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8934F281-07B7-405A-9A57-7B8B8F1306E4}"/>
              </a:ext>
            </a:extLst>
          </p:cNvPr>
          <p:cNvSpPr>
            <a:spLocks noGrp="1"/>
          </p:cNvSpPr>
          <p:nvPr>
            <p:ph type="ftr" sz="quarter" idx="11"/>
          </p:nvPr>
        </p:nvSpPr>
        <p:spPr/>
        <p:txBody>
          <a:bodyPr/>
          <a:lstStyle/>
          <a:p>
            <a:endParaRPr lang="en-IN" dirty="0"/>
          </a:p>
        </p:txBody>
      </p:sp>
      <p:sp>
        <p:nvSpPr>
          <p:cNvPr id="22" name="Rectangle 21">
            <a:extLst>
              <a:ext uri="{FF2B5EF4-FFF2-40B4-BE49-F238E27FC236}">
                <a16:creationId xmlns:a16="http://schemas.microsoft.com/office/drawing/2014/main" id="{D261F4AF-1E20-4E43-8D7B-ED4E2B536F11}"/>
              </a:ext>
            </a:extLst>
          </p:cNvPr>
          <p:cNvSpPr>
            <a:spLocks noChangeArrowheads="1"/>
          </p:cNvSpPr>
          <p:nvPr userDrawn="1"/>
        </p:nvSpPr>
        <p:spPr bwMode="auto">
          <a:xfrm>
            <a:off x="-41850" y="0"/>
            <a:ext cx="12233849" cy="6868064"/>
          </a:xfrm>
          <a:prstGeom prst="rect">
            <a:avLst/>
          </a:prstGeom>
          <a:solidFill>
            <a:schemeClr val="bg1">
              <a:alpha val="9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Title 1">
            <a:extLst>
              <a:ext uri="{FF2B5EF4-FFF2-40B4-BE49-F238E27FC236}">
                <a16:creationId xmlns:a16="http://schemas.microsoft.com/office/drawing/2014/main" id="{79FFB942-71A8-49F1-9090-2A500223E2BC}"/>
              </a:ext>
            </a:extLst>
          </p:cNvPr>
          <p:cNvSpPr>
            <a:spLocks noGrp="1"/>
          </p:cNvSpPr>
          <p:nvPr>
            <p:ph type="title" hasCustomPrompt="1"/>
          </p:nvPr>
        </p:nvSpPr>
        <p:spPr>
          <a:xfrm>
            <a:off x="1241683" y="3721300"/>
            <a:ext cx="7333880" cy="898128"/>
          </a:xfrm>
        </p:spPr>
        <p:txBody>
          <a:bodyPr/>
          <a:lstStyle>
            <a:lvl1pPr>
              <a:defRPr/>
            </a:lvl1pPr>
          </a:lstStyle>
          <a:p>
            <a:r>
              <a:rPr lang="en-US"/>
              <a:t>Enter Section Header</a:t>
            </a:r>
            <a:endParaRPr lang="en-IN"/>
          </a:p>
        </p:txBody>
      </p:sp>
      <p:sp>
        <p:nvSpPr>
          <p:cNvPr id="23" name="Isosceles Triangle 22">
            <a:extLst>
              <a:ext uri="{FF2B5EF4-FFF2-40B4-BE49-F238E27FC236}">
                <a16:creationId xmlns:a16="http://schemas.microsoft.com/office/drawing/2014/main" id="{AF04030F-0023-446F-B446-4E0A424B00BD}"/>
              </a:ext>
            </a:extLst>
          </p:cNvPr>
          <p:cNvSpPr/>
          <p:nvPr userDrawn="1"/>
        </p:nvSpPr>
        <p:spPr>
          <a:xfrm>
            <a:off x="11107710" y="3282847"/>
            <a:ext cx="1084289" cy="3575153"/>
          </a:xfrm>
          <a:prstGeom prst="triangle">
            <a:avLst>
              <a:gd name="adj" fmla="val 100000"/>
            </a:avLst>
          </a:prstGeom>
          <a:solidFill>
            <a:srgbClr val="18B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5" name="Picture 2" descr="Brillio">
            <a:extLst>
              <a:ext uri="{FF2B5EF4-FFF2-40B4-BE49-F238E27FC236}">
                <a16:creationId xmlns:a16="http://schemas.microsoft.com/office/drawing/2014/main" id="{D8532598-45E7-4A74-B677-E67FDCBE0077}"/>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01311" y="264610"/>
            <a:ext cx="940372" cy="394957"/>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25">
            <a:extLst>
              <a:ext uri="{FF2B5EF4-FFF2-40B4-BE49-F238E27FC236}">
                <a16:creationId xmlns:a16="http://schemas.microsoft.com/office/drawing/2014/main" id="{A07B68E0-1549-4311-A433-DC7FF64BAA00}"/>
              </a:ext>
            </a:extLst>
          </p:cNvPr>
          <p:cNvSpPr>
            <a:spLocks/>
          </p:cNvSpPr>
          <p:nvPr userDrawn="1"/>
        </p:nvSpPr>
        <p:spPr bwMode="auto">
          <a:xfrm>
            <a:off x="301310" y="4880519"/>
            <a:ext cx="7091821" cy="186787"/>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lt1"/>
                </a:solidFill>
              </a:rPr>
              <a:t> </a:t>
            </a:r>
          </a:p>
        </p:txBody>
      </p:sp>
      <p:sp>
        <p:nvSpPr>
          <p:cNvPr id="24" name="Isosceles Triangle 23">
            <a:extLst>
              <a:ext uri="{FF2B5EF4-FFF2-40B4-BE49-F238E27FC236}">
                <a16:creationId xmlns:a16="http://schemas.microsoft.com/office/drawing/2014/main" id="{C49AA888-617B-4F43-AF14-644AF66307E8}"/>
              </a:ext>
            </a:extLst>
          </p:cNvPr>
          <p:cNvSpPr/>
          <p:nvPr userDrawn="1"/>
        </p:nvSpPr>
        <p:spPr>
          <a:xfrm rot="10800000">
            <a:off x="-32096" y="0"/>
            <a:ext cx="1937287" cy="6261320"/>
          </a:xfrm>
          <a:prstGeom prst="triangle">
            <a:avLst>
              <a:gd name="adj" fmla="val 100000"/>
            </a:avLst>
          </a:prstGeom>
          <a:gradFill flip="none" rotWithShape="1">
            <a:gsLst>
              <a:gs pos="51000">
                <a:srgbClr val="6ACD60"/>
              </a:gs>
              <a:gs pos="0">
                <a:srgbClr val="29B984"/>
              </a:gs>
              <a:gs pos="10000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Parallelogram 10">
            <a:extLst>
              <a:ext uri="{FF2B5EF4-FFF2-40B4-BE49-F238E27FC236}">
                <a16:creationId xmlns:a16="http://schemas.microsoft.com/office/drawing/2014/main" id="{7C8C70D5-C0B9-4AEA-B13D-58858838C615}"/>
              </a:ext>
            </a:extLst>
          </p:cNvPr>
          <p:cNvSpPr>
            <a:spLocks/>
          </p:cNvSpPr>
          <p:nvPr userDrawn="1"/>
        </p:nvSpPr>
        <p:spPr bwMode="auto">
          <a:xfrm>
            <a:off x="7451022" y="4880519"/>
            <a:ext cx="569659" cy="187200"/>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lt1"/>
                </a:solidFill>
              </a:rPr>
              <a:t> </a:t>
            </a:r>
          </a:p>
        </p:txBody>
      </p:sp>
      <p:sp>
        <p:nvSpPr>
          <p:cNvPr id="12" name="Parallelogram 11">
            <a:extLst>
              <a:ext uri="{FF2B5EF4-FFF2-40B4-BE49-F238E27FC236}">
                <a16:creationId xmlns:a16="http://schemas.microsoft.com/office/drawing/2014/main" id="{35DC3CDE-0D95-4203-8791-1B8AEFF9E5B3}"/>
              </a:ext>
            </a:extLst>
          </p:cNvPr>
          <p:cNvSpPr>
            <a:spLocks/>
          </p:cNvSpPr>
          <p:nvPr userDrawn="1"/>
        </p:nvSpPr>
        <p:spPr bwMode="auto">
          <a:xfrm>
            <a:off x="8113870" y="4880519"/>
            <a:ext cx="569659" cy="187200"/>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lt1"/>
                </a:solidFill>
              </a:rPr>
              <a:t> </a:t>
            </a:r>
          </a:p>
        </p:txBody>
      </p:sp>
      <p:sp>
        <p:nvSpPr>
          <p:cNvPr id="13" name="Parallelogram 12">
            <a:extLst>
              <a:ext uri="{FF2B5EF4-FFF2-40B4-BE49-F238E27FC236}">
                <a16:creationId xmlns:a16="http://schemas.microsoft.com/office/drawing/2014/main" id="{6986C48A-C926-47D3-B77E-BCF5B4CEB2F3}"/>
              </a:ext>
            </a:extLst>
          </p:cNvPr>
          <p:cNvSpPr>
            <a:spLocks/>
          </p:cNvSpPr>
          <p:nvPr userDrawn="1"/>
        </p:nvSpPr>
        <p:spPr bwMode="auto">
          <a:xfrm>
            <a:off x="8789502" y="4880519"/>
            <a:ext cx="569659" cy="187200"/>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lt1"/>
                </a:solidFill>
              </a:rPr>
              <a:t> </a:t>
            </a:r>
          </a:p>
        </p:txBody>
      </p:sp>
      <p:pic>
        <p:nvPicPr>
          <p:cNvPr id="14" name="Picture 2" descr="Brillio">
            <a:extLst>
              <a:ext uri="{FF2B5EF4-FFF2-40B4-BE49-F238E27FC236}">
                <a16:creationId xmlns:a16="http://schemas.microsoft.com/office/drawing/2014/main" id="{E100B4E4-211A-49A4-9D34-60ACE5CD731E}"/>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01323" y="264610"/>
            <a:ext cx="940372" cy="394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74169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Brillio_Text slide_2-Column: 1/3, 2/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755269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0CB1FD68-14F9-FE47-BF6A-F5E2D40B20D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F00C1D94-4F81-1546-B652-53D50C45A20D}"/>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B1397C11-8C0E-DD4B-9585-8FBA3661DC58}"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E086B0DF-D1AA-9E44-A17A-5AC6AEECFE14}"/>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238728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Brillio_Text slide_2-Column: 2/3, 1/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753364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143874" y="1524000"/>
            <a:ext cx="368236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7248002A-364A-3C41-B621-7CFA698732E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D7B71F9E-FFDF-D64D-A048-B3B4C35F9B23}"/>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98A35EC0-10B9-3246-A875-19EA9E0ACA35}"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99C4DDD6-1D90-E948-A659-5FF6322AFAB6}"/>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315966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Brillio_Text slide_3-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59" y="1524000"/>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168640" y="1524000"/>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icon&#10;&#10;Description automatically generated">
            <a:extLst>
              <a:ext uri="{FF2B5EF4-FFF2-40B4-BE49-F238E27FC236}">
                <a16:creationId xmlns:a16="http://schemas.microsoft.com/office/drawing/2014/main" id="{888F6ED4-3138-304A-80F6-0C7849857F3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31DBF3D1-5D71-B84B-930F-EE2A488D3BA4}"/>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2B23C509-04DE-CE41-A2B4-07B0A18C6521}"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91663619-FBBC-D442-AFAB-520DE097918D}"/>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9ADF1C-4CF6-2541-995D-FB35856D1159}"/>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427877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Brillio_Text slide_4-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29184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621792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914400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icon&#10;&#10;Description automatically generated">
            <a:extLst>
              <a:ext uri="{FF2B5EF4-FFF2-40B4-BE49-F238E27FC236}">
                <a16:creationId xmlns:a16="http://schemas.microsoft.com/office/drawing/2014/main" id="{A740E73F-1776-4C42-ABED-B51FA3ADEF8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2" name="Slide Number Placeholder 10">
            <a:extLst>
              <a:ext uri="{FF2B5EF4-FFF2-40B4-BE49-F238E27FC236}">
                <a16:creationId xmlns:a16="http://schemas.microsoft.com/office/drawing/2014/main" id="{79DFD098-5171-5747-8B63-78DD1B299910}"/>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2FCAA546-857E-4246-8A16-60A9DE54C3AA}"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8E7C3C1B-E5B5-2548-84A8-5032EB1432DE}"/>
              </a:ext>
            </a:extLst>
          </p:cNvPr>
          <p:cNvCxnSpPr/>
          <p:nvPr userDrawn="1"/>
        </p:nvCxnSpPr>
        <p:spPr>
          <a:xfrm>
            <a:off x="317913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7CE440-FE24-9147-8F23-C62C05699004}"/>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97C0AC-8F24-1D4A-8770-9249F659CD0F}"/>
              </a:ext>
            </a:extLst>
          </p:cNvPr>
          <p:cNvCxnSpPr/>
          <p:nvPr userDrawn="1"/>
        </p:nvCxnSpPr>
        <p:spPr>
          <a:xfrm>
            <a:off x="903058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12567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reserve="1">
  <p:cSld name="Brillio_Title only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258798"/>
            <a:ext cx="11460480" cy="914400"/>
          </a:xfrm>
        </p:spPr>
        <p:txBody>
          <a:body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D65055FB-54FD-674A-AD0A-92E1D45B08F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8" name="Slide Number Placeholder 10">
            <a:extLst>
              <a:ext uri="{FF2B5EF4-FFF2-40B4-BE49-F238E27FC236}">
                <a16:creationId xmlns:a16="http://schemas.microsoft.com/office/drawing/2014/main" id="{1FB6BB63-B093-E847-B4B0-0ECF800ADF8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C00855AC-0D86-7A4F-A082-2F47E9676EA3}"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3282686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_Brillio_Title only slide-L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FC6D0B-EEB0-246F-B863-2E6E6B144DD3}"/>
              </a:ext>
            </a:extLst>
          </p:cNvPr>
          <p:cNvSpPr/>
          <p:nvPr userDrawn="1"/>
        </p:nvSpPr>
        <p:spPr>
          <a:xfrm>
            <a:off x="2103" y="0"/>
            <a:ext cx="12187794" cy="6858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Title 1"/>
          <p:cNvSpPr>
            <a:spLocks noGrp="1"/>
          </p:cNvSpPr>
          <p:nvPr>
            <p:ph type="title"/>
          </p:nvPr>
        </p:nvSpPr>
        <p:spPr>
          <a:xfrm>
            <a:off x="365760" y="258798"/>
            <a:ext cx="11460480" cy="914400"/>
          </a:xfrm>
        </p:spPr>
        <p:txBody>
          <a:body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D65055FB-54FD-674A-AD0A-92E1D45B08F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8" name="Slide Number Placeholder 10">
            <a:extLst>
              <a:ext uri="{FF2B5EF4-FFF2-40B4-BE49-F238E27FC236}">
                <a16:creationId xmlns:a16="http://schemas.microsoft.com/office/drawing/2014/main" id="{1FB6BB63-B093-E847-B4B0-0ECF800ADF8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C00855AC-0D86-7A4F-A082-2F47E9676EA3}"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194379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rillio_Blank slide-Light">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2851F077-B501-4F4A-9865-7723A0CE217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1E7815C5-F1A2-E14B-9035-9705ECE1E375}"/>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577BCB7A-0A27-224D-934F-91B399781A18}"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7097899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499446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5DF05990-8E26-184B-9937-197EF3C5C65B}"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3906886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fld id="{4E03BF59-F9BA-2743-A773-60F4F8AACC95}" type="datetimeyyyy">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89620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91A3B-F3E5-78D5-3E40-5BE249FC029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62B20FE-4144-7CB9-D945-A9E9F02309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736D011-3037-C2F0-0D5D-6FDF802BA922}"/>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5" name="Footer Placeholder 4">
            <a:extLst>
              <a:ext uri="{FF2B5EF4-FFF2-40B4-BE49-F238E27FC236}">
                <a16:creationId xmlns:a16="http://schemas.microsoft.com/office/drawing/2014/main" id="{E0A28780-967D-F320-EBAA-61D4F586381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599D152F-920E-77EF-AC5A-15D85449FF4D}"/>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26415567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0A701C-E85C-4CDE-8E72-B76CD5454606}"/>
              </a:ext>
            </a:extLst>
          </p:cNvPr>
          <p:cNvSpPr>
            <a:spLocks noGrp="1"/>
          </p:cNvSpPr>
          <p:nvPr>
            <p:ph type="dt" sz="half" idx="10"/>
          </p:nvPr>
        </p:nvSpPr>
        <p:spPr/>
        <p:txBody>
          <a:bodyPr/>
          <a:lstStyle/>
          <a:p>
            <a:fld id="{74CDACD8-15DE-429F-8304-A430BF3095F5}" type="datetime1">
              <a:rPr lang="en-IN" smtClean="0"/>
              <a:t>28-05-2024</a:t>
            </a:fld>
            <a:endParaRPr lang="en-IN" dirty="0"/>
          </a:p>
        </p:txBody>
      </p:sp>
      <p:sp>
        <p:nvSpPr>
          <p:cNvPr id="3" name="Footer Placeholder 2">
            <a:extLst>
              <a:ext uri="{FF2B5EF4-FFF2-40B4-BE49-F238E27FC236}">
                <a16:creationId xmlns:a16="http://schemas.microsoft.com/office/drawing/2014/main" id="{39D74028-9D6E-4833-9459-1492CF1F2826}"/>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96FD39B-BF21-40B4-8B8C-26AC561D175C}"/>
              </a:ext>
            </a:extLst>
          </p:cNvPr>
          <p:cNvSpPr>
            <a:spLocks noGrp="1"/>
          </p:cNvSpPr>
          <p:nvPr>
            <p:ph type="sldNum" sz="quarter" idx="12"/>
          </p:nvPr>
        </p:nvSpPr>
        <p:spPr/>
        <p:txBody>
          <a:bodyPr/>
          <a:lstStyle/>
          <a:p>
            <a:fld id="{CE8D28EE-DADA-4185-923A-61843F8176A9}" type="slidenum">
              <a:rPr lang="en-IN" smtClean="0"/>
              <a:t>‹#›</a:t>
            </a:fld>
            <a:endParaRPr lang="en-IN" dirty="0"/>
          </a:p>
        </p:txBody>
      </p:sp>
    </p:spTree>
    <p:extLst>
      <p:ext uri="{BB962C8B-B14F-4D97-AF65-F5344CB8AC3E}">
        <p14:creationId xmlns:p14="http://schemas.microsoft.com/office/powerpoint/2010/main" val="111656996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588BA860-6909-7B48-A0E7-4F3C21B7D191}"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737191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B37DB423-F72D-D34A-91E5-75A4F1AB38D6}"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2021670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207091635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278554917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A9902AFD-20C8-4747-9AD7-1367E28CF130}"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3563748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Blue Cover Slide, Graphic">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991466-C566-194A-8F18-D0804A8A29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10">
            <a:extLst>
              <a:ext uri="{FF2B5EF4-FFF2-40B4-BE49-F238E27FC236}">
                <a16:creationId xmlns:a16="http://schemas.microsoft.com/office/drawing/2014/main" id="{D0D00E6B-F16F-EA41-A456-3F87CEB9221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 |</a:t>
            </a:r>
          </a:p>
        </p:txBody>
      </p:sp>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Tree>
    <p:extLst>
      <p:ext uri="{BB962C8B-B14F-4D97-AF65-F5344CB8AC3E}">
        <p14:creationId xmlns:p14="http://schemas.microsoft.com/office/powerpoint/2010/main" val="97602152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748923"/>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400" baseline="0">
                <a:solidFill>
                  <a:schemeClr val="bg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a:p>
            <a:pPr lvl="1"/>
            <a:r>
              <a:rPr lang="en-US"/>
              <a:t>Dat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 |</a:t>
            </a:r>
          </a:p>
        </p:txBody>
      </p:sp>
    </p:spTree>
    <p:extLst>
      <p:ext uri="{BB962C8B-B14F-4D97-AF65-F5344CB8AC3E}">
        <p14:creationId xmlns:p14="http://schemas.microsoft.com/office/powerpoint/2010/main" val="323682421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307777"/>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000" b="1" baseline="0">
                <a:solidFill>
                  <a:schemeClr val="accent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a:t>
            </a:r>
          </a:p>
        </p:txBody>
      </p:sp>
      <p:sp>
        <p:nvSpPr>
          <p:cNvPr id="3" name="Text Placeholder 2">
            <a:extLst>
              <a:ext uri="{FF2B5EF4-FFF2-40B4-BE49-F238E27FC236}">
                <a16:creationId xmlns:a16="http://schemas.microsoft.com/office/drawing/2014/main" id="{A7756114-6E00-4078-A005-BB61DA1914DB}"/>
              </a:ext>
            </a:extLst>
          </p:cNvPr>
          <p:cNvSpPr>
            <a:spLocks noGrp="1"/>
          </p:cNvSpPr>
          <p:nvPr>
            <p:ph type="body" sz="quarter" idx="12" hasCustomPrompt="1"/>
          </p:nvPr>
        </p:nvSpPr>
        <p:spPr>
          <a:xfrm>
            <a:off x="633733" y="4331096"/>
            <a:ext cx="5782128" cy="447675"/>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32695222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3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238631835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5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2373377"/>
            <a:ext cx="5386646" cy="357758"/>
          </a:xfrm>
        </p:spPr>
        <p:txBody>
          <a:bodyPr anchor="t" anchorCtr="0">
            <a:noAutofit/>
          </a:bodyPr>
          <a:lstStyle>
            <a:lvl1pPr>
              <a:defRPr sz="20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3" name="Text Placeholder 2">
            <a:extLst>
              <a:ext uri="{FF2B5EF4-FFF2-40B4-BE49-F238E27FC236}">
                <a16:creationId xmlns:a16="http://schemas.microsoft.com/office/drawing/2014/main" id="{47E45BC9-3FAC-4063-A618-4859991DC43A}"/>
              </a:ext>
            </a:extLst>
          </p:cNvPr>
          <p:cNvSpPr>
            <a:spLocks noGrp="1"/>
          </p:cNvSpPr>
          <p:nvPr>
            <p:ph type="body" sz="quarter" idx="14" hasCustomPrompt="1"/>
          </p:nvPr>
        </p:nvSpPr>
        <p:spPr>
          <a:xfrm>
            <a:off x="6334125" y="2816860"/>
            <a:ext cx="5400675" cy="1466850"/>
          </a:xfrm>
        </p:spPr>
        <p:txBody>
          <a:bodyPr vert="horz" lIns="0" tIns="0" rIns="0" bIns="0" rtlCol="0" anchor="t" anchorCtr="0">
            <a:noAutofit/>
          </a:bodyPr>
          <a:lstStyle>
            <a:lvl1pPr>
              <a:defRPr lang="en-US" sz="4400" b="1" spc="-150" dirty="0" smtClean="0">
                <a:solidFill>
                  <a:schemeClr val="bg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32382523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CA214D0E-65E9-4993-B7FC-7D65086658B0}"/>
              </a:ext>
            </a:extLst>
          </p:cNvPr>
          <p:cNvSpPr/>
          <p:nvPr userDrawn="1"/>
        </p:nvSpPr>
        <p:spPr>
          <a:xfrm>
            <a:off x="124642" y="6700"/>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5" name="Slide Number Placeholder 5">
            <a:extLst>
              <a:ext uri="{FF2B5EF4-FFF2-40B4-BE49-F238E27FC236}">
                <a16:creationId xmlns:a16="http://schemas.microsoft.com/office/drawing/2014/main" id="{55F96628-F975-4742-97C1-B22E5EDD4FA7}"/>
              </a:ext>
            </a:extLst>
          </p:cNvPr>
          <p:cNvSpPr txBox="1">
            <a:spLocks/>
          </p:cNvSpPr>
          <p:nvPr userDrawn="1"/>
        </p:nvSpPr>
        <p:spPr>
          <a:xfrm>
            <a:off x="11526449" y="126798"/>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Oval 5">
            <a:extLst>
              <a:ext uri="{FF2B5EF4-FFF2-40B4-BE49-F238E27FC236}">
                <a16:creationId xmlns:a16="http://schemas.microsoft.com/office/drawing/2014/main" id="{47D989D1-BAEE-4130-A488-FFDFE59F428E}"/>
              </a:ext>
            </a:extLst>
          </p:cNvPr>
          <p:cNvSpPr/>
          <p:nvPr userDrawn="1"/>
        </p:nvSpPr>
        <p:spPr>
          <a:xfrm>
            <a:off x="11440457"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Oval 7">
            <a:extLst>
              <a:ext uri="{FF2B5EF4-FFF2-40B4-BE49-F238E27FC236}">
                <a16:creationId xmlns:a16="http://schemas.microsoft.com/office/drawing/2014/main" id="{E3C6DBB7-796D-4417-8758-93ED1808A1B5}"/>
              </a:ext>
            </a:extLst>
          </p:cNvPr>
          <p:cNvSpPr/>
          <p:nvPr userDrawn="1"/>
        </p:nvSpPr>
        <p:spPr>
          <a:xfrm>
            <a:off x="11053291"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Rectangle 9">
            <a:extLst>
              <a:ext uri="{FF2B5EF4-FFF2-40B4-BE49-F238E27FC236}">
                <a16:creationId xmlns:a16="http://schemas.microsoft.com/office/drawing/2014/main" id="{29216A53-D5D8-467B-83EE-BA01689A0CC4}"/>
              </a:ext>
            </a:extLst>
          </p:cNvPr>
          <p:cNvSpPr/>
          <p:nvPr userDrawn="1"/>
        </p:nvSpPr>
        <p:spPr>
          <a:xfrm rot="2700000">
            <a:off x="11181863"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Oval 9">
            <a:extLst>
              <a:ext uri="{FF2B5EF4-FFF2-40B4-BE49-F238E27FC236}">
                <a16:creationId xmlns:a16="http://schemas.microsoft.com/office/drawing/2014/main" id="{DBEFC3C5-CBFA-4BEA-93B4-49F52DA74D45}"/>
              </a:ext>
            </a:extLst>
          </p:cNvPr>
          <p:cNvSpPr/>
          <p:nvPr userDrawn="1"/>
        </p:nvSpPr>
        <p:spPr>
          <a:xfrm rot="10800000">
            <a:off x="11827621"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Rectangle 9">
            <a:extLst>
              <a:ext uri="{FF2B5EF4-FFF2-40B4-BE49-F238E27FC236}">
                <a16:creationId xmlns:a16="http://schemas.microsoft.com/office/drawing/2014/main" id="{1D94E97D-4A7E-4E69-BDDA-D6EC9FA30AC2}"/>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2" name="Straight Connector 11">
            <a:extLst>
              <a:ext uri="{FF2B5EF4-FFF2-40B4-BE49-F238E27FC236}">
                <a16:creationId xmlns:a16="http://schemas.microsoft.com/office/drawing/2014/main" id="{A07CD735-6963-4673-9442-2DA544EDE10B}"/>
              </a:ext>
            </a:extLst>
          </p:cNvPr>
          <p:cNvCxnSpPr>
            <a:cxnSpLocks/>
          </p:cNvCxnSpPr>
          <p:nvPr userDrawn="1"/>
        </p:nvCxnSpPr>
        <p:spPr>
          <a:xfrm>
            <a:off x="1234440" y="126797"/>
            <a:ext cx="0" cy="52092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6">
            <a:extLst>
              <a:ext uri="{FF2B5EF4-FFF2-40B4-BE49-F238E27FC236}">
                <a16:creationId xmlns:a16="http://schemas.microsoft.com/office/drawing/2014/main" id="{34F92042-2EE8-4213-AED5-1EAF0FE503D5}"/>
              </a:ext>
            </a:extLst>
          </p:cNvPr>
          <p:cNvSpPr>
            <a:spLocks noGrp="1"/>
          </p:cNvSpPr>
          <p:nvPr>
            <p:ph type="title"/>
          </p:nvPr>
        </p:nvSpPr>
        <p:spPr>
          <a:xfrm>
            <a:off x="885298" y="258849"/>
            <a:ext cx="10118887" cy="698611"/>
          </a:xfrm>
          <a:prstGeom prst="rect">
            <a:avLst/>
          </a:prstGeom>
        </p:spPr>
        <p:txBody>
          <a:bodyPr anchor="ctr">
            <a:normAutofit/>
          </a:bodyPr>
          <a:lstStyle>
            <a:lvl1pPr>
              <a:defRPr sz="1800" cap="all" spc="300" baseline="0">
                <a:solidFill>
                  <a:schemeClr val="tx1"/>
                </a:solidFill>
              </a:defRPr>
            </a:lvl1pPr>
          </a:lstStyle>
          <a:p>
            <a:r>
              <a:rPr lang="en-US"/>
              <a:t>Click to edit Master title style</a:t>
            </a:r>
            <a:endParaRPr lang="en-IN"/>
          </a:p>
        </p:txBody>
      </p:sp>
      <p:sp>
        <p:nvSpPr>
          <p:cNvPr id="14" name="Parallelogram 13">
            <a:extLst>
              <a:ext uri="{FF2B5EF4-FFF2-40B4-BE49-F238E27FC236}">
                <a16:creationId xmlns:a16="http://schemas.microsoft.com/office/drawing/2014/main" id="{6248726C-CDC3-4F7E-A735-607E64549715}"/>
              </a:ext>
            </a:extLst>
          </p:cNvPr>
          <p:cNvSpPr/>
          <p:nvPr userDrawn="1"/>
        </p:nvSpPr>
        <p:spPr>
          <a:xfrm rot="10800000">
            <a:off x="315135" y="215941"/>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15" name="Action Button: Forward or Next 26">
            <a:hlinkClick r:id="" action="ppaction://hlinkshowjump?jump=nextslide" highlightClick="1"/>
            <a:extLst>
              <a:ext uri="{FF2B5EF4-FFF2-40B4-BE49-F238E27FC236}">
                <a16:creationId xmlns:a16="http://schemas.microsoft.com/office/drawing/2014/main" id="{A4B42931-6881-4987-8C52-D2B10304DCA2}"/>
              </a:ext>
            </a:extLst>
          </p:cNvPr>
          <p:cNvSpPr/>
          <p:nvPr userDrawn="1"/>
        </p:nvSpPr>
        <p:spPr>
          <a:xfrm>
            <a:off x="11799047" y="61288"/>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Action Button: Back or Previous 27">
            <a:hlinkClick r:id="" action="ppaction://hlinkshowjump?jump=previousslide" highlightClick="1"/>
            <a:extLst>
              <a:ext uri="{FF2B5EF4-FFF2-40B4-BE49-F238E27FC236}">
                <a16:creationId xmlns:a16="http://schemas.microsoft.com/office/drawing/2014/main" id="{85F9F5F3-5580-4B83-9D17-8D97F759D1BF}"/>
              </a:ext>
            </a:extLst>
          </p:cNvPr>
          <p:cNvSpPr/>
          <p:nvPr userDrawn="1"/>
        </p:nvSpPr>
        <p:spPr>
          <a:xfrm>
            <a:off x="11020553" y="100108"/>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 Placeholder 7">
            <a:extLst>
              <a:ext uri="{FF2B5EF4-FFF2-40B4-BE49-F238E27FC236}">
                <a16:creationId xmlns:a16="http://schemas.microsoft.com/office/drawing/2014/main" id="{CAA8F239-4E60-4C19-9DCB-0EC1674AA2F8}"/>
              </a:ext>
            </a:extLst>
          </p:cNvPr>
          <p:cNvSpPr>
            <a:spLocks noGrp="1"/>
          </p:cNvSpPr>
          <p:nvPr>
            <p:ph type="body" sz="quarter" idx="10"/>
          </p:nvPr>
        </p:nvSpPr>
        <p:spPr>
          <a:xfrm>
            <a:off x="885032" y="845271"/>
            <a:ext cx="10135395" cy="272257"/>
          </a:xfrm>
        </p:spPr>
        <p:txBody>
          <a:bodyPr anchor="ctr">
            <a:noAutofit/>
          </a:bodyPr>
          <a:lstStyle>
            <a:lvl1pPr marL="0" indent="0" algn="l" defTabSz="457189" rtl="0" eaLnBrk="1" latinLnBrk="0" hangingPunct="1">
              <a:lnSpc>
                <a:spcPct val="90000"/>
              </a:lnSpc>
              <a:spcBef>
                <a:spcPct val="0"/>
              </a:spcBef>
              <a:buNone/>
              <a:defRPr lang="en-US" sz="1200" kern="1200" cap="all" spc="300" baseline="0" dirty="0" smtClean="0">
                <a:solidFill>
                  <a:schemeClr val="tx1">
                    <a:lumMod val="50000"/>
                    <a:lumOff val="50000"/>
                  </a:schemeClr>
                </a:solidFill>
                <a:latin typeface="+mj-lt"/>
                <a:ea typeface="+mj-ea"/>
                <a:cs typeface="+mj-cs"/>
              </a:defRPr>
            </a:lvl1pPr>
            <a:lvl2pPr marL="228594" indent="0" algn="l" defTabSz="457189"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2pPr>
            <a:lvl3pPr marL="457189" indent="0" algn="l" defTabSz="457189"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3pPr>
            <a:lvl4pPr marL="685783" indent="0" algn="l" defTabSz="457189"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4pPr>
            <a:lvl5pPr marL="914377" indent="0" algn="l" defTabSz="457189" rtl="0" eaLnBrk="1" latinLnBrk="0" hangingPunct="1">
              <a:lnSpc>
                <a:spcPct val="90000"/>
              </a:lnSpc>
              <a:spcBef>
                <a:spcPct val="0"/>
              </a:spcBef>
              <a:buNone/>
              <a:defRPr lang="en-IN" sz="2400" kern="1200" cap="all" spc="300" baseline="0" dirty="0">
                <a:solidFill>
                  <a:schemeClr val="tx1"/>
                </a:solidFill>
                <a:latin typeface="+mj-lt"/>
                <a:ea typeface="+mj-ea"/>
                <a:cs typeface="+mj-cs"/>
              </a:defRPr>
            </a:lvl5pPr>
          </a:lstStyle>
          <a:p>
            <a:pPr lvl="0"/>
            <a:r>
              <a:rPr lang="en-US"/>
              <a:t>Click to edit Master text style</a:t>
            </a:r>
          </a:p>
        </p:txBody>
      </p:sp>
    </p:spTree>
    <p:extLst>
      <p:ext uri="{BB962C8B-B14F-4D97-AF65-F5344CB8AC3E}">
        <p14:creationId xmlns:p14="http://schemas.microsoft.com/office/powerpoint/2010/main" val="294991165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7" name="Text Placeholder 5">
            <a:extLst>
              <a:ext uri="{FF2B5EF4-FFF2-40B4-BE49-F238E27FC236}">
                <a16:creationId xmlns:a16="http://schemas.microsoft.com/office/drawing/2014/main" id="{757B889B-78AE-BC47-AE62-31DE2DF979D4}"/>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tx2"/>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Tree>
    <p:extLst>
      <p:ext uri="{BB962C8B-B14F-4D97-AF65-F5344CB8AC3E}">
        <p14:creationId xmlns:p14="http://schemas.microsoft.com/office/powerpoint/2010/main" val="45073256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6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3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8" name="Text Placeholder 5">
            <a:extLst>
              <a:ext uri="{FF2B5EF4-FFF2-40B4-BE49-F238E27FC236}">
                <a16:creationId xmlns:a16="http://schemas.microsoft.com/office/drawing/2014/main" id="{977E223E-CE50-41B8-A7D8-2F936420F122}"/>
              </a:ext>
            </a:extLst>
          </p:cNvPr>
          <p:cNvSpPr>
            <a:spLocks noGrp="1"/>
          </p:cNvSpPr>
          <p:nvPr>
            <p:ph type="body" sz="quarter" idx="13" hasCustomPrompt="1"/>
          </p:nvPr>
        </p:nvSpPr>
        <p:spPr>
          <a:xfrm>
            <a:off x="6305482" y="1956817"/>
            <a:ext cx="5386646" cy="357758"/>
          </a:xfrm>
        </p:spPr>
        <p:txBody>
          <a:bodyPr anchor="t" anchorCtr="0">
            <a:noAutofit/>
          </a:bodyPr>
          <a:lstStyle>
            <a:lvl1pPr>
              <a:defRPr sz="2000">
                <a:solidFill>
                  <a:schemeClr val="tx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10" name="Text Placeholder 2">
            <a:extLst>
              <a:ext uri="{FF2B5EF4-FFF2-40B4-BE49-F238E27FC236}">
                <a16:creationId xmlns:a16="http://schemas.microsoft.com/office/drawing/2014/main" id="{4B8D118F-6000-446B-85BD-AE03E03FC662}"/>
              </a:ext>
            </a:extLst>
          </p:cNvPr>
          <p:cNvSpPr>
            <a:spLocks noGrp="1"/>
          </p:cNvSpPr>
          <p:nvPr>
            <p:ph type="body" sz="quarter" idx="14" hasCustomPrompt="1"/>
          </p:nvPr>
        </p:nvSpPr>
        <p:spPr>
          <a:xfrm>
            <a:off x="6291453" y="2386012"/>
            <a:ext cx="5400675" cy="1466850"/>
          </a:xfrm>
        </p:spPr>
        <p:txBody>
          <a:bodyPr vert="horz" lIns="0" tIns="0" rIns="0" bIns="0" rtlCol="0" anchor="t" anchorCtr="0">
            <a:noAutofit/>
          </a:bodyPr>
          <a:lstStyle>
            <a:lvl1pPr>
              <a:defRPr lang="en-US" sz="4400" b="1" dirty="0" smtClean="0">
                <a:solidFill>
                  <a:schemeClr val="tx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410218441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tx2"/>
                </a:solidFill>
                <a:latin typeface="Arial" panose="020B0604020202020204" pitchFamily="34" charset="0"/>
                <a:cs typeface="Arial" panose="020B0604020202020204" pitchFamily="34" charset="0"/>
              </a:defRPr>
            </a:lvl1pPr>
            <a:lvl2pPr>
              <a:defRPr baseline="0">
                <a:solidFill>
                  <a:schemeClr val="tx2"/>
                </a:solidFill>
                <a:latin typeface="Arial" panose="020B0604020202020204" pitchFamily="34" charset="0"/>
                <a:cs typeface="Arial" panose="020B0604020202020204" pitchFamily="34" charset="0"/>
              </a:defRPr>
            </a:lvl2pPr>
            <a:lvl3pPr>
              <a:defRPr baseline="0">
                <a:solidFill>
                  <a:schemeClr val="tx2"/>
                </a:solidFill>
                <a:latin typeface="Arial" panose="020B0604020202020204" pitchFamily="34" charset="0"/>
                <a:cs typeface="Arial" panose="020B0604020202020204" pitchFamily="34" charset="0"/>
              </a:defRPr>
            </a:lvl3pPr>
            <a:lvl4pPr>
              <a:defRPr baseline="0">
                <a:solidFill>
                  <a:schemeClr val="tx2"/>
                </a:solidFill>
                <a:latin typeface="Arial" panose="020B0604020202020204" pitchFamily="34" charset="0"/>
                <a:cs typeface="Arial" panose="020B0604020202020204" pitchFamily="34" charset="0"/>
              </a:defRPr>
            </a:lvl4pPr>
            <a:lvl5pPr>
              <a:defRPr baseline="0">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202662232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759AFEE-79A3-4996-B06D-D9A66A9C5048}"/>
              </a:ext>
            </a:extLst>
          </p:cNvPr>
          <p:cNvSpPr>
            <a:spLocks noGrp="1"/>
          </p:cNvSpPr>
          <p:nvPr>
            <p:ph type="title" hasCustomPrompt="1"/>
          </p:nvPr>
        </p:nvSpPr>
        <p:spPr>
          <a:xfrm>
            <a:off x="512064" y="365762"/>
            <a:ext cx="11180064" cy="332399"/>
          </a:xfrm>
        </p:spPr>
        <p:txBody>
          <a:bodyPr>
            <a:spAutoFit/>
          </a:bodyPr>
          <a:lstStyle>
            <a:lvl1pPr>
              <a:defRPr sz="2400" b="1" cap="none" spc="-15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3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205720419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
        <p:nvSpPr>
          <p:cNvPr id="9" name="Title 1">
            <a:extLst>
              <a:ext uri="{FF2B5EF4-FFF2-40B4-BE49-F238E27FC236}">
                <a16:creationId xmlns:a16="http://schemas.microsoft.com/office/drawing/2014/main" id="{280D78C3-80B6-49DF-A0FA-DDCB75759120}"/>
              </a:ext>
            </a:extLst>
          </p:cNvPr>
          <p:cNvSpPr>
            <a:spLocks noGrp="1"/>
          </p:cNvSpPr>
          <p:nvPr>
            <p:ph type="title" hasCustomPrompt="1"/>
          </p:nvPr>
        </p:nvSpPr>
        <p:spPr>
          <a:xfrm>
            <a:off x="512064" y="365760"/>
            <a:ext cx="11180064" cy="570992"/>
          </a:xfrm>
        </p:spPr>
        <p:txBody>
          <a:bodyPr>
            <a:normAutofit/>
          </a:bodyPr>
          <a:lstStyle>
            <a:lvl1pPr>
              <a:defRPr sz="2400" cap="none" spc="-150">
                <a:solidFill>
                  <a:schemeClr val="bg1"/>
                </a:solidFill>
              </a:defRPr>
            </a:lvl1pPr>
          </a:lstStyle>
          <a:p>
            <a:r>
              <a:rPr lang="en-US"/>
              <a:t>Click to edit master title style</a:t>
            </a:r>
            <a:endParaRPr lang="en-IN"/>
          </a:p>
        </p:txBody>
      </p:sp>
      <p:sp>
        <p:nvSpPr>
          <p:cNvPr id="10" name="Text Placeholder 6">
            <a:extLst>
              <a:ext uri="{FF2B5EF4-FFF2-40B4-BE49-F238E27FC236}">
                <a16:creationId xmlns:a16="http://schemas.microsoft.com/office/drawing/2014/main" id="{B0D35454-165D-4B65-852F-65D6F214D304}"/>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7834633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a:xfrm>
            <a:off x="9637452" y="6327648"/>
            <a:ext cx="1706880" cy="207264"/>
          </a:xfrm>
          <a:prstGeom prst="rect">
            <a:avLst/>
          </a:prstGeom>
        </p:spPr>
        <p:txBody>
          <a:bodyPr/>
          <a:lstStyle/>
          <a:p>
            <a:r>
              <a:rPr lang="en-US" dirty="0"/>
              <a:t>© 2022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a:xfrm>
            <a:off x="11387328" y="6326049"/>
            <a:ext cx="304800" cy="207264"/>
          </a:xfrm>
          <a:prstGeom prst="rect">
            <a:avLst/>
          </a:prstGeom>
        </p:spPr>
        <p:txBody>
          <a:body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235153075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a:xfrm>
            <a:off x="9637452" y="6327648"/>
            <a:ext cx="1706880" cy="207264"/>
          </a:xfrm>
          <a:prstGeom prst="rect">
            <a:avLst/>
          </a:prstGeom>
        </p:spPr>
        <p:txBody>
          <a:bodyPr/>
          <a:lstStyle/>
          <a:p>
            <a:r>
              <a:rPr lang="en-US" dirty="0"/>
              <a:t>© 2022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a:xfrm>
            <a:off x="11387328" y="6326049"/>
            <a:ext cx="304800" cy="207264"/>
          </a:xfrm>
          <a:prstGeom prst="rect">
            <a:avLst/>
          </a:prstGeom>
        </p:spPr>
        <p:txBody>
          <a:bodyPr/>
          <a:lstStyle/>
          <a:p>
            <a:fld id="{2EFEF571-C9B4-4D92-A7F7-315B894862A8}" type="slidenum">
              <a:rPr lang="en-US" smtClean="0"/>
              <a:pPr/>
              <a:t>‹#›</a:t>
            </a:fld>
            <a:endParaRPr lang="en-US" dirty="0"/>
          </a:p>
        </p:txBody>
      </p:sp>
      <p:sp>
        <p:nvSpPr>
          <p:cNvPr id="7" name="Text Placeholder 6">
            <a:extLst>
              <a:ext uri="{FF2B5EF4-FFF2-40B4-BE49-F238E27FC236}">
                <a16:creationId xmlns:a16="http://schemas.microsoft.com/office/drawing/2014/main" id="{AB09D225-0CEA-4248-825C-7FE836C043C5}"/>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205057171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260054376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1985" y="381000"/>
            <a:ext cx="6630463" cy="5349875"/>
          </a:xfrm>
        </p:spPr>
        <p:txBody>
          <a:bodyPr rIns="457200" anchor="ctr"/>
          <a:lstStyle>
            <a:lvl1pPr>
              <a:defRPr sz="5400" b="0">
                <a:solidFill>
                  <a:schemeClr val="tx1"/>
                </a:solidFill>
              </a:defRPr>
            </a:lvl1pPr>
          </a:lstStyle>
          <a:p>
            <a:r>
              <a:rPr lang="en-US"/>
              <a:t>Click to edit Master title style</a:t>
            </a:r>
          </a:p>
        </p:txBody>
      </p:sp>
    </p:spTree>
    <p:extLst>
      <p:ext uri="{BB962C8B-B14F-4D97-AF65-F5344CB8AC3E}">
        <p14:creationId xmlns:p14="http://schemas.microsoft.com/office/powerpoint/2010/main" val="36782205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rillio_Title slide-Dark">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bg1"/>
                </a:solidFill>
                <a:latin typeface="Arial" panose="020B0604020202020204" pitchFamily="34" charset="0"/>
                <a:cs typeface="Arial" panose="020B0604020202020204" pitchFamily="34" charset="0"/>
              </a:rPr>
              <a:t>©2023</a:t>
            </a:r>
            <a:r>
              <a:rPr lang="en-US" sz="1000" b="0" i="0" baseline="0" dirty="0">
                <a:solidFill>
                  <a:schemeClr val="bg1"/>
                </a:solidFill>
                <a:latin typeface="Arial" panose="020B0604020202020204" pitchFamily="34" charset="0"/>
                <a:cs typeface="Arial" panose="020B0604020202020204" pitchFamily="34" charset="0"/>
              </a:rPr>
              <a:t> Brillio  |  Proprietary &amp; Confidential</a:t>
            </a:r>
            <a:endParaRPr lang="en-US" sz="1000" b="0" i="0" dirty="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3E432CD9-60B9-3941-911B-9FA5BE7699A8}"/>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dirty="0"/>
              <a:t>Click to edit Master title style two lines</a:t>
            </a:r>
          </a:p>
        </p:txBody>
      </p:sp>
      <p:sp>
        <p:nvSpPr>
          <p:cNvPr id="9" name="Subtitle 2">
            <a:extLst>
              <a:ext uri="{FF2B5EF4-FFF2-40B4-BE49-F238E27FC236}">
                <a16:creationId xmlns:a16="http://schemas.microsoft.com/office/drawing/2014/main" id="{F765B9A9-31B8-0946-A4CC-EA25A13335AA}"/>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0" name="Date Placeholder 3">
            <a:extLst>
              <a:ext uri="{FF2B5EF4-FFF2-40B4-BE49-F238E27FC236}">
                <a16:creationId xmlns:a16="http://schemas.microsoft.com/office/drawing/2014/main" id="{AC1162D4-E146-184F-8135-FEA0B95A01A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5919413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4"/>
            <a:ext cx="11610109" cy="757093"/>
          </a:xfrm>
        </p:spPr>
        <p:txBody>
          <a:bodyPr>
            <a:normAutofit/>
          </a:bodyPr>
          <a:lstStyle>
            <a:lvl1pPr>
              <a:defRPr lang="en-IN" sz="2400" kern="1200" cap="all" baseline="0" dirty="0">
                <a:solidFill>
                  <a:schemeClr val="tx1">
                    <a:lumMod val="75000"/>
                    <a:lumOff val="25000"/>
                  </a:schemeClr>
                </a:solidFill>
                <a:latin typeface="Arial Black" panose="020B0A04020102020204" pitchFamily="34" charset="0"/>
                <a:ea typeface="Open Sans Extrabold" panose="020B0906030804020204" pitchFamily="34" charset="0"/>
                <a:cs typeface="Open Sans Extrabold" panose="020B0906030804020204" pitchFamily="34" charset="0"/>
              </a:defRPr>
            </a:lvl1pPr>
          </a:lstStyle>
          <a:p>
            <a:pPr lvl="0" algn="l" defTabSz="914580" rtl="0" eaLnBrk="1" latinLnBrk="0" hangingPunct="1">
              <a:lnSpc>
                <a:spcPct val="90000"/>
              </a:lnSpc>
              <a:spcBef>
                <a:spcPct val="0"/>
              </a:spcBef>
              <a:buNone/>
            </a:pPr>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p:txBody>
          <a:bodyPr/>
          <a:lstStyle/>
          <a:p>
            <a:fld id="{8B599BC6-FFCC-48ED-82A2-EECD283AC28B}" type="datetime1">
              <a:rPr lang="en-IN" smtClean="0"/>
              <a:t>28-05-2024</a:t>
            </a:fld>
            <a:endParaRPr lang="en-IN" dirty="0"/>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fld id="{CE8D28EE-DADA-4185-923A-61843F8176A9}" type="slidenum">
              <a:rPr lang="en-IN" smtClean="0"/>
              <a:t>‹#›</a:t>
            </a:fld>
            <a:endParaRPr lang="en-IN" dirty="0"/>
          </a:p>
        </p:txBody>
      </p:sp>
      <p:cxnSp>
        <p:nvCxnSpPr>
          <p:cNvPr id="7" name="Straight Connector 6">
            <a:extLst>
              <a:ext uri="{FF2B5EF4-FFF2-40B4-BE49-F238E27FC236}">
                <a16:creationId xmlns:a16="http://schemas.microsoft.com/office/drawing/2014/main" id="{DDC949F5-DEF2-46F9-AB38-2AB8ED8825A7}"/>
              </a:ext>
            </a:extLst>
          </p:cNvPr>
          <p:cNvCxnSpPr/>
          <p:nvPr userDrawn="1"/>
        </p:nvCxnSpPr>
        <p:spPr>
          <a:xfrm>
            <a:off x="346367" y="323561"/>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07214908-6B86-49B1-876D-4BDB7239D3A7}"/>
              </a:ext>
            </a:extLst>
          </p:cNvPr>
          <p:cNvSpPr>
            <a:spLocks noGrp="1"/>
          </p:cNvSpPr>
          <p:nvPr>
            <p:ph type="body" sz="quarter" idx="13" hasCustomPrompt="1"/>
          </p:nvPr>
        </p:nvSpPr>
        <p:spPr>
          <a:xfrm>
            <a:off x="1384974" y="221484"/>
            <a:ext cx="10571500" cy="249763"/>
          </a:xfrm>
        </p:spPr>
        <p:txBody>
          <a:bodyPr anchor="ctr">
            <a:normAutofit/>
          </a:bodyPr>
          <a:lstStyle>
            <a:lvl1pPr marL="0" indent="0">
              <a:buNone/>
              <a:defRPr sz="1333" b="0" i="1" cap="all" spc="533" baseline="0">
                <a:solidFill>
                  <a:schemeClr val="tx2"/>
                </a:solidFill>
              </a:defRPr>
            </a:lvl1pPr>
            <a:lvl2pPr marL="457291" indent="0">
              <a:buNone/>
              <a:defRPr/>
            </a:lvl2pPr>
            <a:lvl3pPr marL="914580" indent="0">
              <a:buNone/>
              <a:defRPr/>
            </a:lvl3pPr>
            <a:lvl4pPr marL="1371871" indent="0">
              <a:buNone/>
              <a:defRPr/>
            </a:lvl4pPr>
            <a:lvl5pPr marL="1829161" indent="0">
              <a:buNone/>
              <a:defRPr/>
            </a:lvl5pPr>
          </a:lstStyle>
          <a:p>
            <a:pPr lvl="0"/>
            <a:r>
              <a:rPr lang="en-US"/>
              <a:t>CLICK HERE to edit subtitle</a:t>
            </a:r>
            <a:endParaRPr lang="en-IN"/>
          </a:p>
        </p:txBody>
      </p:sp>
    </p:spTree>
    <p:extLst>
      <p:ext uri="{BB962C8B-B14F-4D97-AF65-F5344CB8AC3E}">
        <p14:creationId xmlns:p14="http://schemas.microsoft.com/office/powerpoint/2010/main" val="27585776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Brillio_Title slide-Dark">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bg1"/>
                </a:solidFill>
                <a:latin typeface="Outfit"/>
                <a:cs typeface="Arial" panose="020B0604020202020204" pitchFamily="34" charset="0"/>
              </a:rPr>
              <a:t>©2023</a:t>
            </a:r>
            <a:r>
              <a:rPr lang="en-US" sz="1000" b="0" i="0" baseline="0" dirty="0">
                <a:solidFill>
                  <a:schemeClr val="bg1"/>
                </a:solidFill>
                <a:latin typeface="Outfit"/>
                <a:cs typeface="Arial" panose="020B0604020202020204" pitchFamily="34" charset="0"/>
              </a:rPr>
              <a:t> Brillio  |  Proprietary &amp; Confidential</a:t>
            </a:r>
            <a:endParaRPr lang="en-US" sz="1000" b="0" i="0" dirty="0">
              <a:solidFill>
                <a:schemeClr val="bg1"/>
              </a:solidFill>
              <a:latin typeface="Outfit"/>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Outfit"/>
                <a:cs typeface="Arial" panose="020B0604020202020204" pitchFamily="34" charset="0"/>
              </a:defRPr>
            </a:lvl1pPr>
          </a:lstStyle>
          <a:p>
            <a:r>
              <a:rPr lang="en-US" dirty="0"/>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Outfi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Outfit"/>
                <a:cs typeface="Arial" panose="020B0604020202020204" pitchFamily="34" charset="0"/>
              </a:defRPr>
            </a:lvl1pPr>
          </a:lstStyle>
          <a:p>
            <a:endParaRPr lang="en-US" dirty="0"/>
          </a:p>
        </p:txBody>
      </p:sp>
    </p:spTree>
    <p:extLst>
      <p:ext uri="{BB962C8B-B14F-4D97-AF65-F5344CB8AC3E}">
        <p14:creationId xmlns:p14="http://schemas.microsoft.com/office/powerpoint/2010/main" val="218580854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rillio_Agenda slide-Dark">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atin typeface="Outfit"/>
              </a:defRPr>
            </a:lvl1pPr>
          </a:lstStyle>
          <a:p>
            <a:r>
              <a:rPr lang="en-US" dirty="0"/>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bg1"/>
                </a:solidFill>
                <a:latin typeface="Outfit"/>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bg1"/>
                </a:solidFill>
                <a:latin typeface="Outfit"/>
                <a:ea typeface="+mn-ea"/>
                <a:cs typeface="+mn-cs"/>
              </a:defRPr>
            </a:lvl2pPr>
            <a:lvl3pPr marL="234690"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bg1"/>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dirty="0"/>
              <a:t>Click to edit Master text styles</a:t>
            </a:r>
          </a:p>
          <a:p>
            <a:pPr lvl="1"/>
            <a:r>
              <a:rPr lang="en-US" dirty="0"/>
              <a:t>Second level</a:t>
            </a:r>
          </a:p>
          <a:p>
            <a:pPr lvl="1"/>
            <a:r>
              <a:rPr lang="en-US" dirty="0"/>
              <a:t>Second level</a:t>
            </a:r>
          </a:p>
          <a:p>
            <a:pPr lvl="1"/>
            <a:r>
              <a:rPr lang="en-US" dirty="0"/>
              <a:t>Second level</a:t>
            </a:r>
          </a:p>
          <a:p>
            <a:pPr lvl="1"/>
            <a:r>
              <a:rPr lang="en-US" dirty="0"/>
              <a:t>Second level</a:t>
            </a:r>
          </a:p>
        </p:txBody>
      </p:sp>
      <p:pic>
        <p:nvPicPr>
          <p:cNvPr id="8" name="Picture 7" descr="A picture containing icon&#10;&#10;Description automatically generated">
            <a:extLst>
              <a:ext uri="{FF2B5EF4-FFF2-40B4-BE49-F238E27FC236}">
                <a16:creationId xmlns:a16="http://schemas.microsoft.com/office/drawing/2014/main" id="{A09B600B-361E-8641-95A1-C0996630F8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9" name="Slide Number Placeholder 8">
            <a:extLst>
              <a:ext uri="{FF2B5EF4-FFF2-40B4-BE49-F238E27FC236}">
                <a16:creationId xmlns:a16="http://schemas.microsoft.com/office/drawing/2014/main" id="{A685FACF-296F-BA4D-A344-50044DB6C33B}"/>
              </a:ext>
            </a:extLst>
          </p:cNvPr>
          <p:cNvSpPr>
            <a:spLocks noGrp="1"/>
          </p:cNvSpPr>
          <p:nvPr>
            <p:ph type="sldNum" sz="quarter" idx="11"/>
          </p:nvPr>
        </p:nvSpPr>
        <p:spPr/>
        <p:txBody>
          <a:bodyPr/>
          <a:lstStyle>
            <a:lvl1pPr>
              <a:defRPr>
                <a:latin typeface="Outfit"/>
              </a:defRPr>
            </a:lvl1pPr>
          </a:lstStyle>
          <a:p>
            <a:r>
              <a:rPr lang="en-US" dirty="0"/>
              <a:t>©2023 Brillio  |  </a:t>
            </a:r>
            <a:fld id="{F1FE5E21-FD07-B44E-90A3-0254BFCDB49A}" type="slidenum">
              <a:rPr smtClean="0"/>
              <a:pPr/>
              <a:t>‹#›</a:t>
            </a:fld>
            <a:endParaRPr dirty="0"/>
          </a:p>
        </p:txBody>
      </p:sp>
    </p:spTree>
    <p:extLst>
      <p:ext uri="{BB962C8B-B14F-4D97-AF65-F5344CB8AC3E}">
        <p14:creationId xmlns:p14="http://schemas.microsoft.com/office/powerpoint/2010/main" val="82417362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rillio_Divider slide-Dark">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latin typeface="Outfit"/>
              </a:defRPr>
            </a:lvl1pPr>
          </a:lstStyle>
          <a:p>
            <a:r>
              <a:rPr lang="en-US" dirty="0"/>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7371894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Brillio_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latin typeface="Outfit"/>
              </a:defRPr>
            </a:lvl1pPr>
          </a:lstStyle>
          <a:p>
            <a:r>
              <a:rPr lang="en-US" dirty="0"/>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Outfit"/>
                <a:ea typeface="+mn-ea"/>
                <a:cs typeface="Arial" panose="020B0604020202020204" pitchFamily="34" charset="0"/>
              </a:defRPr>
            </a:lvl1pPr>
          </a:lstStyle>
          <a:p>
            <a:r>
              <a:rPr lang="en-GB" dirty="0"/>
              <a:t>©2023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10968200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rillio_Text slide_1-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utfit"/>
              </a:defRPr>
            </a:lvl1pPr>
          </a:lstStyle>
          <a:p>
            <a:r>
              <a:rPr lang="en-US" dirty="0"/>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latin typeface="Outfit"/>
              </a:defRPr>
            </a:lvl1pPr>
            <a:lvl2pPr>
              <a:spcAft>
                <a:spcPts val="600"/>
              </a:spcAft>
              <a:defRPr sz="1600" baseline="0">
                <a:latin typeface="Outfit"/>
              </a:defRPr>
            </a:lvl2pPr>
            <a:lvl3pPr>
              <a:spcAft>
                <a:spcPts val="600"/>
              </a:spcAft>
              <a:defRPr sz="1600" baseline="0">
                <a:latin typeface="Outfit"/>
              </a:defRPr>
            </a:lvl3pPr>
            <a:lvl4pPr>
              <a:spcAft>
                <a:spcPts val="600"/>
              </a:spcAft>
              <a:defRPr sz="1600" baseline="0">
                <a:latin typeface="Outfit"/>
              </a:defRPr>
            </a:lvl4pPr>
            <a:lvl5pPr>
              <a:spcAft>
                <a:spcPts val="600"/>
              </a:spcAft>
              <a:defRPr sz="1600" baseline="0">
                <a:latin typeface="Outfi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A picture containing icon&#10;&#10;Description automatically generated">
            <a:extLst>
              <a:ext uri="{FF2B5EF4-FFF2-40B4-BE49-F238E27FC236}">
                <a16:creationId xmlns:a16="http://schemas.microsoft.com/office/drawing/2014/main" id="{38217C44-A752-5A44-99D8-5359A575DC2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9" name="Slide Number Placeholder 8">
            <a:extLst>
              <a:ext uri="{FF2B5EF4-FFF2-40B4-BE49-F238E27FC236}">
                <a16:creationId xmlns:a16="http://schemas.microsoft.com/office/drawing/2014/main" id="{0C7C0C99-4337-4144-A5B8-0AD6B7ED47D6}"/>
              </a:ext>
            </a:extLst>
          </p:cNvPr>
          <p:cNvSpPr>
            <a:spLocks noGrp="1"/>
          </p:cNvSpPr>
          <p:nvPr>
            <p:ph type="sldNum" sz="quarter" idx="11"/>
          </p:nvPr>
        </p:nvSpPr>
        <p:spPr/>
        <p:txBody>
          <a:bodyPr/>
          <a:lstStyle>
            <a:lvl1pPr>
              <a:defRPr>
                <a:latin typeface="Outfit"/>
              </a:defRPr>
            </a:lvl1pPr>
          </a:lstStyle>
          <a:p>
            <a:r>
              <a:rPr lang="en-US" dirty="0"/>
              <a:t>©2023 Brillio  |  </a:t>
            </a:r>
            <a:fld id="{F1FE5E21-FD07-B44E-90A3-0254BFCDB49A}" type="slidenum">
              <a:rPr smtClean="0"/>
              <a:pPr/>
              <a:t>‹#›</a:t>
            </a:fld>
            <a:endParaRPr dirty="0"/>
          </a:p>
        </p:txBody>
      </p:sp>
    </p:spTree>
    <p:extLst>
      <p:ext uri="{BB962C8B-B14F-4D97-AF65-F5344CB8AC3E}">
        <p14:creationId xmlns:p14="http://schemas.microsoft.com/office/powerpoint/2010/main" val="24862182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Brillio_Text slide_2-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365760" y="1524000"/>
            <a:ext cx="5608320" cy="4206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17920" y="1524000"/>
            <a:ext cx="560832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A picture containing icon&#10;&#10;Description automatically generated">
            <a:extLst>
              <a:ext uri="{FF2B5EF4-FFF2-40B4-BE49-F238E27FC236}">
                <a16:creationId xmlns:a16="http://schemas.microsoft.com/office/drawing/2014/main" id="{52353CEA-8F9C-654F-82AE-A315372A19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D3754A73-EA1E-8B40-B53A-1A23BDC226D1}"/>
              </a:ext>
            </a:extLst>
          </p:cNvPr>
          <p:cNvSpPr>
            <a:spLocks noGrp="1"/>
          </p:cNvSpPr>
          <p:nvPr>
            <p:ph type="sldNum" sz="quarter" idx="11"/>
          </p:nvPr>
        </p:nvSpPr>
        <p:spPr/>
        <p:txBody>
          <a:bodyPr/>
          <a:lstStyle/>
          <a:p>
            <a:r>
              <a:rPr lang="en-US" dirty="0"/>
              <a:t>©2023 Brillio  |  </a:t>
            </a:r>
            <a:fld id="{F1FE5E21-FD07-B44E-90A3-0254BFCDB49A}" type="slidenum">
              <a:rPr smtClean="0"/>
              <a:pPr/>
              <a:t>‹#›</a:t>
            </a:fld>
            <a:endParaRPr dirty="0"/>
          </a:p>
        </p:txBody>
      </p:sp>
      <p:cxnSp>
        <p:nvCxnSpPr>
          <p:cNvPr id="11" name="Straight Connector 10">
            <a:extLst>
              <a:ext uri="{FF2B5EF4-FFF2-40B4-BE49-F238E27FC236}">
                <a16:creationId xmlns:a16="http://schemas.microsoft.com/office/drawing/2014/main" id="{8AA7E595-7689-F043-95F5-42747B017E10}"/>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38693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Brillio_Text slide_2-Column: 1/3, 2/3-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65760" y="1524000"/>
            <a:ext cx="3663315" cy="4206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273550" y="1524000"/>
            <a:ext cx="7552690" cy="4206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A picture containing icon&#10;&#10;Description automatically generated">
            <a:extLst>
              <a:ext uri="{FF2B5EF4-FFF2-40B4-BE49-F238E27FC236}">
                <a16:creationId xmlns:a16="http://schemas.microsoft.com/office/drawing/2014/main" id="{D9051CCF-1619-0041-AF3F-DF121710EFA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7FAB132D-7F0A-4149-8E65-81E2DF016AF4}"/>
              </a:ext>
            </a:extLst>
          </p:cNvPr>
          <p:cNvSpPr>
            <a:spLocks noGrp="1"/>
          </p:cNvSpPr>
          <p:nvPr>
            <p:ph type="sldNum" sz="quarter" idx="11"/>
          </p:nvPr>
        </p:nvSpPr>
        <p:spPr/>
        <p:txBody>
          <a:bodyPr/>
          <a:lstStyle/>
          <a:p>
            <a:r>
              <a:rPr lang="en-US" dirty="0"/>
              <a:t>©2023 Brillio  |  </a:t>
            </a:r>
            <a:fld id="{F1FE5E21-FD07-B44E-90A3-0254BFCDB49A}" type="slidenum">
              <a:rPr smtClean="0"/>
              <a:pPr/>
              <a:t>‹#›</a:t>
            </a:fld>
            <a:endParaRPr dirty="0"/>
          </a:p>
        </p:txBody>
      </p:sp>
      <p:cxnSp>
        <p:nvCxnSpPr>
          <p:cNvPr id="11" name="Straight Connector 10">
            <a:extLst>
              <a:ext uri="{FF2B5EF4-FFF2-40B4-BE49-F238E27FC236}">
                <a16:creationId xmlns:a16="http://schemas.microsoft.com/office/drawing/2014/main" id="{362D90C5-37FF-2B41-B0D7-EECCBE161734}"/>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61652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Brillio_Text slide_2-Column: 2/3, 1/3-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65760" y="1524000"/>
            <a:ext cx="753364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8143874" y="1524000"/>
            <a:ext cx="3682365"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A picture containing icon&#10;&#10;Description automatically generated">
            <a:extLst>
              <a:ext uri="{FF2B5EF4-FFF2-40B4-BE49-F238E27FC236}">
                <a16:creationId xmlns:a16="http://schemas.microsoft.com/office/drawing/2014/main" id="{4B6A37E6-588E-B447-9061-8808FA6E8C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C67874D7-3AE4-914F-B27E-FA8C4A74CA36}"/>
              </a:ext>
            </a:extLst>
          </p:cNvPr>
          <p:cNvSpPr>
            <a:spLocks noGrp="1"/>
          </p:cNvSpPr>
          <p:nvPr>
            <p:ph type="sldNum" sz="quarter" idx="11"/>
          </p:nvPr>
        </p:nvSpPr>
        <p:spPr/>
        <p:txBody>
          <a:bodyPr/>
          <a:lstStyle/>
          <a:p>
            <a:r>
              <a:rPr lang="en-US" dirty="0"/>
              <a:t>©2023 Brillio  |  </a:t>
            </a:r>
            <a:fld id="{F1FE5E21-FD07-B44E-90A3-0254BFCDB49A}" type="slidenum">
              <a:rPr smtClean="0"/>
              <a:pPr/>
              <a:t>‹#›</a:t>
            </a:fld>
            <a:endParaRPr dirty="0"/>
          </a:p>
        </p:txBody>
      </p:sp>
    </p:spTree>
    <p:extLst>
      <p:ext uri="{BB962C8B-B14F-4D97-AF65-F5344CB8AC3E}">
        <p14:creationId xmlns:p14="http://schemas.microsoft.com/office/powerpoint/2010/main" val="204491486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Obj" preserve="1">
  <p:cSld name="Brillio_Text slide_3-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65759" y="1524000"/>
            <a:ext cx="3663315" cy="4206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273550" y="1524000"/>
            <a:ext cx="362585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8168640" y="1524000"/>
            <a:ext cx="3625850" cy="4206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A picture containing icon&#10;&#10;Description automatically generated">
            <a:extLst>
              <a:ext uri="{FF2B5EF4-FFF2-40B4-BE49-F238E27FC236}">
                <a16:creationId xmlns:a16="http://schemas.microsoft.com/office/drawing/2014/main" id="{DCE488DB-A8BA-5843-AE4E-13464982DC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11" name="Slide Number Placeholder 10">
            <a:extLst>
              <a:ext uri="{FF2B5EF4-FFF2-40B4-BE49-F238E27FC236}">
                <a16:creationId xmlns:a16="http://schemas.microsoft.com/office/drawing/2014/main" id="{06BF12A5-BE15-3546-9A5E-73924E040DE7}"/>
              </a:ext>
            </a:extLst>
          </p:cNvPr>
          <p:cNvSpPr>
            <a:spLocks noGrp="1"/>
          </p:cNvSpPr>
          <p:nvPr>
            <p:ph type="sldNum" sz="quarter" idx="15"/>
          </p:nvPr>
        </p:nvSpPr>
        <p:spPr/>
        <p:txBody>
          <a:bodyPr/>
          <a:lstStyle/>
          <a:p>
            <a:r>
              <a:rPr lang="en-US" dirty="0"/>
              <a:t>©2023 Brillio  |  </a:t>
            </a:r>
            <a:fld id="{F1FE5E21-FD07-B44E-90A3-0254BFCDB49A}" type="slidenum">
              <a:rPr smtClean="0"/>
              <a:pPr/>
              <a:t>‹#›</a:t>
            </a:fld>
            <a:endParaRPr dirty="0"/>
          </a:p>
        </p:txBody>
      </p:sp>
      <p:cxnSp>
        <p:nvCxnSpPr>
          <p:cNvPr id="12" name="Straight Connector 11">
            <a:extLst>
              <a:ext uri="{FF2B5EF4-FFF2-40B4-BE49-F238E27FC236}">
                <a16:creationId xmlns:a16="http://schemas.microsoft.com/office/drawing/2014/main" id="{4056736C-7BC3-1442-8D30-BB14B1EB9EFF}"/>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54AF2F6-D427-8743-8B4A-1409646F4AB6}"/>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734750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reserve="1">
  <p:cSld name="Brillio_Text slide_4-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6576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29184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p:cNvSpPr>
            <a:spLocks noGrp="1"/>
          </p:cNvSpPr>
          <p:nvPr>
            <p:ph sz="half" idx="13"/>
          </p:nvPr>
        </p:nvSpPr>
        <p:spPr>
          <a:xfrm>
            <a:off x="621792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914400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descr="A picture containing icon&#10;&#10;Description automatically generated">
            <a:extLst>
              <a:ext uri="{FF2B5EF4-FFF2-40B4-BE49-F238E27FC236}">
                <a16:creationId xmlns:a16="http://schemas.microsoft.com/office/drawing/2014/main" id="{EA9704D5-DC68-094C-AF2B-4D625D5E17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12" name="Slide Number Placeholder 11">
            <a:extLst>
              <a:ext uri="{FF2B5EF4-FFF2-40B4-BE49-F238E27FC236}">
                <a16:creationId xmlns:a16="http://schemas.microsoft.com/office/drawing/2014/main" id="{AEA31C9C-E5EE-9F42-9056-58F5BFCEC86A}"/>
              </a:ext>
            </a:extLst>
          </p:cNvPr>
          <p:cNvSpPr>
            <a:spLocks noGrp="1"/>
          </p:cNvSpPr>
          <p:nvPr>
            <p:ph type="sldNum" sz="quarter" idx="16"/>
          </p:nvPr>
        </p:nvSpPr>
        <p:spPr/>
        <p:txBody>
          <a:bodyPr/>
          <a:lstStyle/>
          <a:p>
            <a:r>
              <a:rPr lang="en-US" dirty="0"/>
              <a:t>©2023 Brillio  |  </a:t>
            </a:r>
            <a:fld id="{F1FE5E21-FD07-B44E-90A3-0254BFCDB49A}" type="slidenum">
              <a:rPr smtClean="0"/>
              <a:pPr/>
              <a:t>‹#›</a:t>
            </a:fld>
            <a:endParaRPr dirty="0"/>
          </a:p>
        </p:txBody>
      </p:sp>
      <p:cxnSp>
        <p:nvCxnSpPr>
          <p:cNvPr id="13" name="Straight Connector 12">
            <a:extLst>
              <a:ext uri="{FF2B5EF4-FFF2-40B4-BE49-F238E27FC236}">
                <a16:creationId xmlns:a16="http://schemas.microsoft.com/office/drawing/2014/main" id="{F4181B86-EBB4-7E47-911E-5A465EA86252}"/>
              </a:ext>
            </a:extLst>
          </p:cNvPr>
          <p:cNvCxnSpPr/>
          <p:nvPr userDrawn="1"/>
        </p:nvCxnSpPr>
        <p:spPr>
          <a:xfrm>
            <a:off x="317913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C6698B-58BD-634C-8B18-B68880B76510}"/>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F117546-A46A-454D-BFDF-DCBBB966CF7B}"/>
              </a:ext>
            </a:extLst>
          </p:cNvPr>
          <p:cNvCxnSpPr/>
          <p:nvPr userDrawn="1"/>
        </p:nvCxnSpPr>
        <p:spPr>
          <a:xfrm>
            <a:off x="903058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6589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4"/>
            <a:ext cx="11610109" cy="757093"/>
          </a:xfrm>
        </p:spPr>
        <p:txBody>
          <a:bodyPr>
            <a:normAutofit/>
          </a:bodyPr>
          <a:lstStyle>
            <a:lvl1pPr algn="ctr">
              <a:defRPr sz="2400" cap="all" baseline="0">
                <a:solidFill>
                  <a:schemeClr val="tx1">
                    <a:lumMod val="75000"/>
                    <a:lumOff val="25000"/>
                  </a:schemeClr>
                </a:solidFill>
              </a:defRPr>
            </a:lvl1pPr>
          </a:lstStyle>
          <a:p>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p:txBody>
          <a:bodyPr/>
          <a:lstStyle/>
          <a:p>
            <a:fld id="{5F872374-1311-4C02-B8B6-2BDE49089C2B}" type="datetime1">
              <a:rPr lang="en-IN" smtClean="0"/>
              <a:t>28-05-2024</a:t>
            </a:fld>
            <a:endParaRPr lang="en-IN" dirty="0"/>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fld id="{CE8D28EE-DADA-4185-923A-61843F8176A9}" type="slidenum">
              <a:rPr lang="en-IN" smtClean="0"/>
              <a:t>‹#›</a:t>
            </a:fld>
            <a:endParaRPr lang="en-IN" dirty="0"/>
          </a:p>
        </p:txBody>
      </p:sp>
      <p:cxnSp>
        <p:nvCxnSpPr>
          <p:cNvPr id="6" name="Straight Connector 5">
            <a:extLst>
              <a:ext uri="{FF2B5EF4-FFF2-40B4-BE49-F238E27FC236}">
                <a16:creationId xmlns:a16="http://schemas.microsoft.com/office/drawing/2014/main" id="{B43E377D-2210-44F0-90DB-D33A6343A61E}"/>
              </a:ext>
            </a:extLst>
          </p:cNvPr>
          <p:cNvCxnSpPr/>
          <p:nvPr userDrawn="1"/>
        </p:nvCxnSpPr>
        <p:spPr>
          <a:xfrm>
            <a:off x="5624948" y="327809"/>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504097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Brillio_Title only slide-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pic>
        <p:nvPicPr>
          <p:cNvPr id="6" name="Picture 5" descr="A picture containing icon&#10;&#10;Description automatically generated">
            <a:extLst>
              <a:ext uri="{FF2B5EF4-FFF2-40B4-BE49-F238E27FC236}">
                <a16:creationId xmlns:a16="http://schemas.microsoft.com/office/drawing/2014/main" id="{2C49ED69-80A3-074D-A2B6-7C36DB4C70C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8" name="Slide Number Placeholder 7">
            <a:extLst>
              <a:ext uri="{FF2B5EF4-FFF2-40B4-BE49-F238E27FC236}">
                <a16:creationId xmlns:a16="http://schemas.microsoft.com/office/drawing/2014/main" id="{BF32F4B4-0D7E-DE49-8E50-0E119455637B}"/>
              </a:ext>
            </a:extLst>
          </p:cNvPr>
          <p:cNvSpPr>
            <a:spLocks noGrp="1"/>
          </p:cNvSpPr>
          <p:nvPr>
            <p:ph type="sldNum" sz="quarter" idx="11"/>
          </p:nvPr>
        </p:nvSpPr>
        <p:spPr/>
        <p:txBody>
          <a:bodyPr/>
          <a:lstStyle/>
          <a:p>
            <a:r>
              <a:rPr lang="en-US" dirty="0"/>
              <a:t>©2023 Brillio  |  </a:t>
            </a:r>
            <a:fld id="{F1FE5E21-FD07-B44E-90A3-0254BFCDB49A}" type="slidenum">
              <a:rPr smtClean="0"/>
              <a:pPr/>
              <a:t>‹#›</a:t>
            </a:fld>
            <a:endParaRPr dirty="0"/>
          </a:p>
        </p:txBody>
      </p:sp>
    </p:spTree>
    <p:extLst>
      <p:ext uri="{BB962C8B-B14F-4D97-AF65-F5344CB8AC3E}">
        <p14:creationId xmlns:p14="http://schemas.microsoft.com/office/powerpoint/2010/main" val="216625367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rillio_Blank slide-Dark">
    <p:spTree>
      <p:nvGrpSpPr>
        <p:cNvPr id="1" name=""/>
        <p:cNvGrpSpPr/>
        <p:nvPr/>
      </p:nvGrpSpPr>
      <p:grpSpPr>
        <a:xfrm>
          <a:off x="0" y="0"/>
          <a:ext cx="0" cy="0"/>
          <a:chOff x="0" y="0"/>
          <a:chExt cx="0" cy="0"/>
        </a:xfrm>
      </p:grpSpPr>
      <p:pic>
        <p:nvPicPr>
          <p:cNvPr id="5" name="Picture 4" descr="A picture containing icon&#10;&#10;Description automatically generated">
            <a:extLst>
              <a:ext uri="{FF2B5EF4-FFF2-40B4-BE49-F238E27FC236}">
                <a16:creationId xmlns:a16="http://schemas.microsoft.com/office/drawing/2014/main" id="{28D6DB58-1443-E047-A356-ED276F2EA3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
        <p:nvSpPr>
          <p:cNvPr id="7" name="Slide Number Placeholder 6">
            <a:extLst>
              <a:ext uri="{FF2B5EF4-FFF2-40B4-BE49-F238E27FC236}">
                <a16:creationId xmlns:a16="http://schemas.microsoft.com/office/drawing/2014/main" id="{17A0C4C1-B694-F043-89B7-FD92B764ED30}"/>
              </a:ext>
            </a:extLst>
          </p:cNvPr>
          <p:cNvSpPr>
            <a:spLocks noGrp="1"/>
          </p:cNvSpPr>
          <p:nvPr>
            <p:ph type="sldNum" sz="quarter" idx="11"/>
          </p:nvPr>
        </p:nvSpPr>
        <p:spPr/>
        <p:txBody>
          <a:bodyPr/>
          <a:lstStyle/>
          <a:p>
            <a:r>
              <a:rPr lang="en-US" dirty="0"/>
              <a:t>©2023 Brillio  |  </a:t>
            </a:r>
            <a:fld id="{F1FE5E21-FD07-B44E-90A3-0254BFCDB49A}" type="slidenum">
              <a:rPr smtClean="0"/>
              <a:pPr/>
              <a:t>‹#›</a:t>
            </a:fld>
            <a:endParaRPr dirty="0"/>
          </a:p>
        </p:txBody>
      </p:sp>
    </p:spTree>
    <p:extLst>
      <p:ext uri="{BB962C8B-B14F-4D97-AF65-F5344CB8AC3E}">
        <p14:creationId xmlns:p14="http://schemas.microsoft.com/office/powerpoint/2010/main" val="167672722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3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pPr marL="0" marR="0" lvl="0" indent="0" algn="r" defTabSz="60957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1067"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7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
        <p:nvSpPr>
          <p:cNvPr id="9" name="Title 1">
            <a:extLst>
              <a:ext uri="{FF2B5EF4-FFF2-40B4-BE49-F238E27FC236}">
                <a16:creationId xmlns:a16="http://schemas.microsoft.com/office/drawing/2014/main" id="{280D78C3-80B6-49DF-A0FA-DDCB75759120}"/>
              </a:ext>
            </a:extLst>
          </p:cNvPr>
          <p:cNvSpPr>
            <a:spLocks noGrp="1"/>
          </p:cNvSpPr>
          <p:nvPr>
            <p:ph type="title" hasCustomPrompt="1"/>
          </p:nvPr>
        </p:nvSpPr>
        <p:spPr>
          <a:xfrm>
            <a:off x="512064" y="365760"/>
            <a:ext cx="11180064" cy="570992"/>
          </a:xfrm>
        </p:spPr>
        <p:txBody>
          <a:bodyPr>
            <a:normAutofit/>
          </a:bodyPr>
          <a:lstStyle>
            <a:lvl1pPr>
              <a:defRPr sz="2400" cap="none" spc="-150">
                <a:solidFill>
                  <a:schemeClr val="bg1"/>
                </a:solidFill>
              </a:defRPr>
            </a:lvl1pPr>
          </a:lstStyle>
          <a:p>
            <a:r>
              <a:rPr lang="en-US"/>
              <a:t>Click to edit master title style</a:t>
            </a:r>
            <a:endParaRPr lang="en-IN"/>
          </a:p>
        </p:txBody>
      </p:sp>
      <p:sp>
        <p:nvSpPr>
          <p:cNvPr id="10" name="Text Placeholder 6">
            <a:extLst>
              <a:ext uri="{FF2B5EF4-FFF2-40B4-BE49-F238E27FC236}">
                <a16:creationId xmlns:a16="http://schemas.microsoft.com/office/drawing/2014/main" id="{B0D35454-165D-4B65-852F-65D6F214D304}"/>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36806434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_Blue Cover Slide, Graphic">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991466-C566-194A-8F18-D0804A8A29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10">
            <a:extLst>
              <a:ext uri="{FF2B5EF4-FFF2-40B4-BE49-F238E27FC236}">
                <a16:creationId xmlns:a16="http://schemas.microsoft.com/office/drawing/2014/main" id="{D0D00E6B-F16F-EA41-A456-3F87CEB9221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 |</a:t>
            </a:r>
          </a:p>
        </p:txBody>
      </p:sp>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Tree>
    <p:extLst>
      <p:ext uri="{BB962C8B-B14F-4D97-AF65-F5344CB8AC3E}">
        <p14:creationId xmlns:p14="http://schemas.microsoft.com/office/powerpoint/2010/main" val="41421603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4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748923"/>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400" baseline="0">
                <a:solidFill>
                  <a:schemeClr val="bg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a:p>
            <a:pPr lvl="1"/>
            <a:r>
              <a:rPr lang="en-US"/>
              <a:t>Dat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 |</a:t>
            </a:r>
          </a:p>
        </p:txBody>
      </p:sp>
    </p:spTree>
    <p:extLst>
      <p:ext uri="{BB962C8B-B14F-4D97-AF65-F5344CB8AC3E}">
        <p14:creationId xmlns:p14="http://schemas.microsoft.com/office/powerpoint/2010/main" val="117452335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307777"/>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000" b="1" baseline="0">
                <a:solidFill>
                  <a:schemeClr val="accent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a:t>
            </a:r>
          </a:p>
        </p:txBody>
      </p:sp>
      <p:sp>
        <p:nvSpPr>
          <p:cNvPr id="3" name="Text Placeholder 2">
            <a:extLst>
              <a:ext uri="{FF2B5EF4-FFF2-40B4-BE49-F238E27FC236}">
                <a16:creationId xmlns:a16="http://schemas.microsoft.com/office/drawing/2014/main" id="{A7756114-6E00-4078-A005-BB61DA1914DB}"/>
              </a:ext>
            </a:extLst>
          </p:cNvPr>
          <p:cNvSpPr>
            <a:spLocks noGrp="1"/>
          </p:cNvSpPr>
          <p:nvPr>
            <p:ph type="body" sz="quarter" idx="12" hasCustomPrompt="1"/>
          </p:nvPr>
        </p:nvSpPr>
        <p:spPr>
          <a:xfrm>
            <a:off x="633733" y="4331096"/>
            <a:ext cx="5782128" cy="447675"/>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318203987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3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51135621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2373377"/>
            <a:ext cx="5386646" cy="357758"/>
          </a:xfrm>
        </p:spPr>
        <p:txBody>
          <a:bodyPr anchor="t" anchorCtr="0">
            <a:noAutofit/>
          </a:bodyPr>
          <a:lstStyle>
            <a:lvl1pPr>
              <a:defRPr sz="20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3" name="Text Placeholder 2">
            <a:extLst>
              <a:ext uri="{FF2B5EF4-FFF2-40B4-BE49-F238E27FC236}">
                <a16:creationId xmlns:a16="http://schemas.microsoft.com/office/drawing/2014/main" id="{47E45BC9-3FAC-4063-A618-4859991DC43A}"/>
              </a:ext>
            </a:extLst>
          </p:cNvPr>
          <p:cNvSpPr>
            <a:spLocks noGrp="1"/>
          </p:cNvSpPr>
          <p:nvPr>
            <p:ph type="body" sz="quarter" idx="14" hasCustomPrompt="1"/>
          </p:nvPr>
        </p:nvSpPr>
        <p:spPr>
          <a:xfrm>
            <a:off x="6334125" y="2816860"/>
            <a:ext cx="5400675" cy="1466850"/>
          </a:xfrm>
        </p:spPr>
        <p:txBody>
          <a:bodyPr vert="horz" lIns="0" tIns="0" rIns="0" bIns="0" rtlCol="0" anchor="t" anchorCtr="0">
            <a:noAutofit/>
          </a:bodyPr>
          <a:lstStyle>
            <a:lvl1pPr>
              <a:defRPr lang="en-US" sz="4400" b="1" spc="-150" dirty="0" smtClean="0">
                <a:solidFill>
                  <a:schemeClr val="bg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17340967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7" name="Text Placeholder 5">
            <a:extLst>
              <a:ext uri="{FF2B5EF4-FFF2-40B4-BE49-F238E27FC236}">
                <a16:creationId xmlns:a16="http://schemas.microsoft.com/office/drawing/2014/main" id="{757B889B-78AE-BC47-AE62-31DE2DF979D4}"/>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tx2"/>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Tree>
    <p:extLst>
      <p:ext uri="{BB962C8B-B14F-4D97-AF65-F5344CB8AC3E}">
        <p14:creationId xmlns:p14="http://schemas.microsoft.com/office/powerpoint/2010/main" val="281417119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6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3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8" name="Text Placeholder 5">
            <a:extLst>
              <a:ext uri="{FF2B5EF4-FFF2-40B4-BE49-F238E27FC236}">
                <a16:creationId xmlns:a16="http://schemas.microsoft.com/office/drawing/2014/main" id="{977E223E-CE50-41B8-A7D8-2F936420F122}"/>
              </a:ext>
            </a:extLst>
          </p:cNvPr>
          <p:cNvSpPr>
            <a:spLocks noGrp="1"/>
          </p:cNvSpPr>
          <p:nvPr>
            <p:ph type="body" sz="quarter" idx="13" hasCustomPrompt="1"/>
          </p:nvPr>
        </p:nvSpPr>
        <p:spPr>
          <a:xfrm>
            <a:off x="6305482" y="1956817"/>
            <a:ext cx="5386646" cy="357758"/>
          </a:xfrm>
        </p:spPr>
        <p:txBody>
          <a:bodyPr anchor="t" anchorCtr="0">
            <a:noAutofit/>
          </a:bodyPr>
          <a:lstStyle>
            <a:lvl1pPr>
              <a:defRPr sz="2000">
                <a:solidFill>
                  <a:schemeClr val="tx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10" name="Text Placeholder 2">
            <a:extLst>
              <a:ext uri="{FF2B5EF4-FFF2-40B4-BE49-F238E27FC236}">
                <a16:creationId xmlns:a16="http://schemas.microsoft.com/office/drawing/2014/main" id="{4B8D118F-6000-446B-85BD-AE03E03FC662}"/>
              </a:ext>
            </a:extLst>
          </p:cNvPr>
          <p:cNvSpPr>
            <a:spLocks noGrp="1"/>
          </p:cNvSpPr>
          <p:nvPr>
            <p:ph type="body" sz="quarter" idx="14" hasCustomPrompt="1"/>
          </p:nvPr>
        </p:nvSpPr>
        <p:spPr>
          <a:xfrm>
            <a:off x="6291453" y="2386012"/>
            <a:ext cx="5400675" cy="1466850"/>
          </a:xfrm>
        </p:spPr>
        <p:txBody>
          <a:bodyPr vert="horz" lIns="0" tIns="0" rIns="0" bIns="0" rtlCol="0" anchor="t" anchorCtr="0">
            <a:noAutofit/>
          </a:bodyPr>
          <a:lstStyle>
            <a:lvl1pPr>
              <a:defRPr lang="en-US" sz="4400" b="1" dirty="0" smtClean="0">
                <a:solidFill>
                  <a:schemeClr val="tx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14598637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4"/>
            <a:ext cx="11610109" cy="757093"/>
          </a:xfrm>
        </p:spPr>
        <p:txBody>
          <a:bodyPr>
            <a:normAutofit/>
          </a:bodyPr>
          <a:lstStyle>
            <a:lvl1pPr algn="ctr">
              <a:defRPr sz="2400" cap="all" baseline="0">
                <a:solidFill>
                  <a:schemeClr val="tx1">
                    <a:lumMod val="75000"/>
                    <a:lumOff val="25000"/>
                  </a:schemeClr>
                </a:solidFill>
              </a:defRPr>
            </a:lvl1pPr>
          </a:lstStyle>
          <a:p>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p:txBody>
          <a:bodyPr/>
          <a:lstStyle/>
          <a:p>
            <a:fld id="{8BB9E1C1-07C8-40E6-9CDA-C42E81A72085}" type="datetime1">
              <a:rPr lang="en-IN" smtClean="0"/>
              <a:t>28-05-2024</a:t>
            </a:fld>
            <a:endParaRPr lang="en-IN" dirty="0"/>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fld id="{CE8D28EE-DADA-4185-923A-61843F8176A9}" type="slidenum">
              <a:rPr lang="en-IN" smtClean="0"/>
              <a:t>‹#›</a:t>
            </a:fld>
            <a:endParaRPr lang="en-IN" dirty="0"/>
          </a:p>
        </p:txBody>
      </p:sp>
      <p:cxnSp>
        <p:nvCxnSpPr>
          <p:cNvPr id="6" name="Straight Connector 5">
            <a:extLst>
              <a:ext uri="{FF2B5EF4-FFF2-40B4-BE49-F238E27FC236}">
                <a16:creationId xmlns:a16="http://schemas.microsoft.com/office/drawing/2014/main" id="{B43E377D-2210-44F0-90DB-D33A6343A61E}"/>
              </a:ext>
            </a:extLst>
          </p:cNvPr>
          <p:cNvCxnSpPr/>
          <p:nvPr userDrawn="1"/>
        </p:nvCxnSpPr>
        <p:spPr>
          <a:xfrm>
            <a:off x="5624948" y="327809"/>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
        <p:nvSpPr>
          <p:cNvPr id="7" name="Text Placeholder 8">
            <a:extLst>
              <a:ext uri="{FF2B5EF4-FFF2-40B4-BE49-F238E27FC236}">
                <a16:creationId xmlns:a16="http://schemas.microsoft.com/office/drawing/2014/main" id="{0431D36B-6FDD-4E95-842D-2AB94270A0A5}"/>
              </a:ext>
            </a:extLst>
          </p:cNvPr>
          <p:cNvSpPr>
            <a:spLocks noGrp="1"/>
          </p:cNvSpPr>
          <p:nvPr>
            <p:ph type="body" sz="quarter" idx="13" hasCustomPrompt="1"/>
          </p:nvPr>
        </p:nvSpPr>
        <p:spPr>
          <a:xfrm>
            <a:off x="865670" y="981653"/>
            <a:ext cx="10571500" cy="249763"/>
          </a:xfrm>
        </p:spPr>
        <p:txBody>
          <a:bodyPr anchor="ctr">
            <a:normAutofit/>
          </a:bodyPr>
          <a:lstStyle>
            <a:lvl1pPr marL="0" indent="0" algn="ctr">
              <a:buNone/>
              <a:defRPr sz="1333" b="0" i="1" cap="all" spc="533" baseline="0">
                <a:solidFill>
                  <a:schemeClr val="tx2"/>
                </a:solidFill>
              </a:defRPr>
            </a:lvl1pPr>
            <a:lvl2pPr marL="457291" indent="0">
              <a:buNone/>
              <a:defRPr/>
            </a:lvl2pPr>
            <a:lvl3pPr marL="914580" indent="0">
              <a:buNone/>
              <a:defRPr/>
            </a:lvl3pPr>
            <a:lvl4pPr marL="1371871" indent="0">
              <a:buNone/>
              <a:defRPr/>
            </a:lvl4pPr>
            <a:lvl5pPr marL="1829161" indent="0">
              <a:buNone/>
              <a:defRPr/>
            </a:lvl5pPr>
          </a:lstStyle>
          <a:p>
            <a:pPr lvl="0"/>
            <a:r>
              <a:rPr lang="en-US"/>
              <a:t>CLICK HERE to edit subtitle</a:t>
            </a:r>
            <a:endParaRPr lang="en-IN"/>
          </a:p>
        </p:txBody>
      </p:sp>
    </p:spTree>
    <p:extLst>
      <p:ext uri="{BB962C8B-B14F-4D97-AF65-F5344CB8AC3E}">
        <p14:creationId xmlns:p14="http://schemas.microsoft.com/office/powerpoint/2010/main" val="243950495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tx2"/>
                </a:solidFill>
                <a:latin typeface="Arial" panose="020B0604020202020204" pitchFamily="34" charset="0"/>
                <a:cs typeface="Arial" panose="020B0604020202020204" pitchFamily="34" charset="0"/>
              </a:defRPr>
            </a:lvl1pPr>
            <a:lvl2pPr>
              <a:defRPr baseline="0">
                <a:solidFill>
                  <a:schemeClr val="tx2"/>
                </a:solidFill>
                <a:latin typeface="Arial" panose="020B0604020202020204" pitchFamily="34" charset="0"/>
                <a:cs typeface="Arial" panose="020B0604020202020204" pitchFamily="34" charset="0"/>
              </a:defRPr>
            </a:lvl2pPr>
            <a:lvl3pPr>
              <a:defRPr baseline="0">
                <a:solidFill>
                  <a:schemeClr val="tx2"/>
                </a:solidFill>
                <a:latin typeface="Arial" panose="020B0604020202020204" pitchFamily="34" charset="0"/>
                <a:cs typeface="Arial" panose="020B0604020202020204" pitchFamily="34" charset="0"/>
              </a:defRPr>
            </a:lvl3pPr>
            <a:lvl4pPr>
              <a:defRPr baseline="0">
                <a:solidFill>
                  <a:schemeClr val="tx2"/>
                </a:solidFill>
                <a:latin typeface="Arial" panose="020B0604020202020204" pitchFamily="34" charset="0"/>
                <a:cs typeface="Arial" panose="020B0604020202020204" pitchFamily="34" charset="0"/>
              </a:defRPr>
            </a:lvl4pPr>
            <a:lvl5pPr>
              <a:defRPr baseline="0">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7960933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759AFEE-79A3-4996-B06D-D9A66A9C5048}"/>
              </a:ext>
            </a:extLst>
          </p:cNvPr>
          <p:cNvSpPr>
            <a:spLocks noGrp="1"/>
          </p:cNvSpPr>
          <p:nvPr>
            <p:ph type="title" hasCustomPrompt="1"/>
          </p:nvPr>
        </p:nvSpPr>
        <p:spPr>
          <a:xfrm>
            <a:off x="512064" y="365762"/>
            <a:ext cx="11180064" cy="332399"/>
          </a:xfrm>
        </p:spPr>
        <p:txBody>
          <a:bodyPr>
            <a:spAutoFit/>
          </a:bodyPr>
          <a:lstStyle>
            <a:lvl1pPr>
              <a:defRPr sz="2400" b="1" cap="none" spc="-15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3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61347499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
        <p:nvSpPr>
          <p:cNvPr id="9" name="Title 1">
            <a:extLst>
              <a:ext uri="{FF2B5EF4-FFF2-40B4-BE49-F238E27FC236}">
                <a16:creationId xmlns:a16="http://schemas.microsoft.com/office/drawing/2014/main" id="{280D78C3-80B6-49DF-A0FA-DDCB75759120}"/>
              </a:ext>
            </a:extLst>
          </p:cNvPr>
          <p:cNvSpPr>
            <a:spLocks noGrp="1"/>
          </p:cNvSpPr>
          <p:nvPr>
            <p:ph type="title" hasCustomPrompt="1"/>
          </p:nvPr>
        </p:nvSpPr>
        <p:spPr>
          <a:xfrm>
            <a:off x="512064" y="365760"/>
            <a:ext cx="11180064" cy="570992"/>
          </a:xfrm>
        </p:spPr>
        <p:txBody>
          <a:bodyPr>
            <a:normAutofit/>
          </a:bodyPr>
          <a:lstStyle>
            <a:lvl1pPr>
              <a:defRPr sz="2400" cap="none" spc="-150">
                <a:solidFill>
                  <a:schemeClr val="bg1"/>
                </a:solidFill>
              </a:defRPr>
            </a:lvl1pPr>
          </a:lstStyle>
          <a:p>
            <a:r>
              <a:rPr lang="en-US"/>
              <a:t>Click to edit master title style</a:t>
            </a:r>
            <a:endParaRPr lang="en-IN"/>
          </a:p>
        </p:txBody>
      </p:sp>
      <p:sp>
        <p:nvSpPr>
          <p:cNvPr id="10" name="Text Placeholder 6">
            <a:extLst>
              <a:ext uri="{FF2B5EF4-FFF2-40B4-BE49-F238E27FC236}">
                <a16:creationId xmlns:a16="http://schemas.microsoft.com/office/drawing/2014/main" id="{B0D35454-165D-4B65-852F-65D6F214D304}"/>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271181805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a:xfrm>
            <a:off x="9637452" y="6327648"/>
            <a:ext cx="1706880" cy="207264"/>
          </a:xfrm>
          <a:prstGeom prst="rect">
            <a:avLst/>
          </a:prstGeom>
        </p:spPr>
        <p:txBody>
          <a:bodyPr/>
          <a:lstStyle/>
          <a:p>
            <a:r>
              <a:rPr lang="en-US" dirty="0"/>
              <a:t>© 2022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a:xfrm>
            <a:off x="11387328" y="6326049"/>
            <a:ext cx="304800" cy="207264"/>
          </a:xfrm>
          <a:prstGeom prst="rect">
            <a:avLst/>
          </a:prstGeom>
        </p:spPr>
        <p:txBody>
          <a:body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30763968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a:xfrm>
            <a:off x="9637452" y="6327648"/>
            <a:ext cx="1706880" cy="207264"/>
          </a:xfrm>
          <a:prstGeom prst="rect">
            <a:avLst/>
          </a:prstGeom>
        </p:spPr>
        <p:txBody>
          <a:bodyPr/>
          <a:lstStyle/>
          <a:p>
            <a:r>
              <a:rPr lang="en-US" dirty="0"/>
              <a:t>© 2022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a:xfrm>
            <a:off x="11387328" y="6326049"/>
            <a:ext cx="304800" cy="207264"/>
          </a:xfrm>
          <a:prstGeom prst="rect">
            <a:avLst/>
          </a:prstGeom>
        </p:spPr>
        <p:txBody>
          <a:bodyPr/>
          <a:lstStyle/>
          <a:p>
            <a:fld id="{2EFEF571-C9B4-4D92-A7F7-315B894862A8}" type="slidenum">
              <a:rPr lang="en-US" smtClean="0"/>
              <a:pPr/>
              <a:t>‹#›</a:t>
            </a:fld>
            <a:endParaRPr lang="en-US" dirty="0"/>
          </a:p>
        </p:txBody>
      </p:sp>
      <p:sp>
        <p:nvSpPr>
          <p:cNvPr id="7" name="Text Placeholder 6">
            <a:extLst>
              <a:ext uri="{FF2B5EF4-FFF2-40B4-BE49-F238E27FC236}">
                <a16:creationId xmlns:a16="http://schemas.microsoft.com/office/drawing/2014/main" id="{AB09D225-0CEA-4248-825C-7FE836C043C5}"/>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02028175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108688074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1985" y="381000"/>
            <a:ext cx="6630463" cy="5349875"/>
          </a:xfrm>
        </p:spPr>
        <p:txBody>
          <a:bodyPr rIns="457200" anchor="ctr"/>
          <a:lstStyle>
            <a:lvl1pPr>
              <a:defRPr sz="5400" b="0">
                <a:solidFill>
                  <a:schemeClr val="tx1"/>
                </a:solidFill>
              </a:defRPr>
            </a:lvl1pPr>
          </a:lstStyle>
          <a:p>
            <a:r>
              <a:rPr lang="en-US"/>
              <a:t>Click to edit Master title style</a:t>
            </a:r>
          </a:p>
        </p:txBody>
      </p:sp>
    </p:spTree>
    <p:extLst>
      <p:ext uri="{BB962C8B-B14F-4D97-AF65-F5344CB8AC3E}">
        <p14:creationId xmlns:p14="http://schemas.microsoft.com/office/powerpoint/2010/main" val="194477913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966121" y="5042601"/>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IN" dirty="0"/>
              <a:t>©2023 Brillio | </a:t>
            </a:r>
            <a:fld id="{F1FE5E21-FD07-B44E-90A3-0254BFCDB49A}" type="slidenum">
              <a:rPr smtClean="0"/>
              <a:pPr/>
              <a:t>‹#›</a:t>
            </a:fld>
            <a:endParaRPr lang="en-US" dirty="0"/>
          </a:p>
        </p:txBody>
      </p:sp>
    </p:spTree>
    <p:extLst>
      <p:ext uri="{BB962C8B-B14F-4D97-AF65-F5344CB8AC3E}">
        <p14:creationId xmlns:p14="http://schemas.microsoft.com/office/powerpoint/2010/main" val="398051418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cSld name="1_Brillio_Blank slide-Light">
    <p:spTree>
      <p:nvGrpSpPr>
        <p:cNvPr id="1" name=""/>
        <p:cNvGrpSpPr/>
        <p:nvPr/>
      </p:nvGrpSpPr>
      <p:grpSpPr>
        <a:xfrm>
          <a:off x="0" y="0"/>
          <a:ext cx="0" cy="0"/>
          <a:chOff x="0" y="0"/>
          <a:chExt cx="0" cy="0"/>
        </a:xfrm>
      </p:grpSpPr>
      <p:sp>
        <p:nvSpPr>
          <p:cNvPr id="10" name="Slide Number Placeholder 10">
            <a:extLst>
              <a:ext uri="{FF2B5EF4-FFF2-40B4-BE49-F238E27FC236}">
                <a16:creationId xmlns:a16="http://schemas.microsoft.com/office/drawing/2014/main" id="{1E7815C5-F1A2-E14B-9035-9705ECE1E375}"/>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US" dirty="0"/>
              <a:t>©2022 Brillio  |  </a:t>
            </a:r>
            <a:fld id="{F1FE5E21-FD07-B44E-90A3-0254BFCDB49A}" type="slidenum">
              <a:rPr lang="en-US" smtClean="0"/>
              <a:pPr/>
              <a:t>‹#›</a:t>
            </a:fld>
            <a:endParaRPr lang="en-US" dirty="0"/>
          </a:p>
        </p:txBody>
      </p:sp>
    </p:spTree>
    <p:extLst>
      <p:ext uri="{BB962C8B-B14F-4D97-AF65-F5344CB8AC3E}">
        <p14:creationId xmlns:p14="http://schemas.microsoft.com/office/powerpoint/2010/main" val="333955383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_Blue Cover Slide, Graphic">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991466-C566-194A-8F18-D0804A8A29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10">
            <a:extLst>
              <a:ext uri="{FF2B5EF4-FFF2-40B4-BE49-F238E27FC236}">
                <a16:creationId xmlns:a16="http://schemas.microsoft.com/office/drawing/2014/main" id="{D0D00E6B-F16F-EA41-A456-3F87CEB9221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 |</a:t>
            </a:r>
          </a:p>
        </p:txBody>
      </p:sp>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Tree>
    <p:extLst>
      <p:ext uri="{BB962C8B-B14F-4D97-AF65-F5344CB8AC3E}">
        <p14:creationId xmlns:p14="http://schemas.microsoft.com/office/powerpoint/2010/main" val="8733745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0A701C-E85C-4CDE-8E72-B76CD5454606}"/>
              </a:ext>
            </a:extLst>
          </p:cNvPr>
          <p:cNvSpPr>
            <a:spLocks noGrp="1"/>
          </p:cNvSpPr>
          <p:nvPr>
            <p:ph type="dt" sz="half" idx="10"/>
          </p:nvPr>
        </p:nvSpPr>
        <p:spPr/>
        <p:txBody>
          <a:bodyPr/>
          <a:lstStyle/>
          <a:p>
            <a:fld id="{0E2B7F90-94C4-4F31-92DD-E1E9F4F695F7}" type="datetime1">
              <a:rPr lang="en-IN" smtClean="0"/>
              <a:t>28-05-2024</a:t>
            </a:fld>
            <a:endParaRPr lang="en-IN" dirty="0"/>
          </a:p>
        </p:txBody>
      </p:sp>
      <p:sp>
        <p:nvSpPr>
          <p:cNvPr id="3" name="Footer Placeholder 2">
            <a:extLst>
              <a:ext uri="{FF2B5EF4-FFF2-40B4-BE49-F238E27FC236}">
                <a16:creationId xmlns:a16="http://schemas.microsoft.com/office/drawing/2014/main" id="{39D74028-9D6E-4833-9459-1492CF1F2826}"/>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96FD39B-BF21-40B4-8B8C-26AC561D175C}"/>
              </a:ext>
            </a:extLst>
          </p:cNvPr>
          <p:cNvSpPr>
            <a:spLocks noGrp="1"/>
          </p:cNvSpPr>
          <p:nvPr>
            <p:ph type="sldNum" sz="quarter" idx="12"/>
          </p:nvPr>
        </p:nvSpPr>
        <p:spPr/>
        <p:txBody>
          <a:bodyPr/>
          <a:lstStyle/>
          <a:p>
            <a:fld id="{CE8D28EE-DADA-4185-923A-61843F8176A9}" type="slidenum">
              <a:rPr lang="en-IN" smtClean="0"/>
              <a:t>‹#›</a:t>
            </a:fld>
            <a:endParaRPr lang="en-IN" dirty="0"/>
          </a:p>
        </p:txBody>
      </p:sp>
      <p:sp>
        <p:nvSpPr>
          <p:cNvPr id="5" name="Picture Placeholder 4">
            <a:extLst>
              <a:ext uri="{FF2B5EF4-FFF2-40B4-BE49-F238E27FC236}">
                <a16:creationId xmlns:a16="http://schemas.microsoft.com/office/drawing/2014/main" id="{74FD4D31-C84E-4471-A9CB-AE8F7F00662C}"/>
              </a:ext>
            </a:extLst>
          </p:cNvPr>
          <p:cNvSpPr>
            <a:spLocks noGrp="1"/>
          </p:cNvSpPr>
          <p:nvPr>
            <p:ph type="pic" sz="quarter" idx="13"/>
          </p:nvPr>
        </p:nvSpPr>
        <p:spPr>
          <a:xfrm>
            <a:off x="1037937" y="1405755"/>
            <a:ext cx="3030631" cy="3017293"/>
          </a:xfrm>
          <a:custGeom>
            <a:avLst/>
            <a:gdLst>
              <a:gd name="connsiteX0" fmla="*/ 1260900 w 4545947"/>
              <a:gd name="connsiteY0" fmla="*/ 4513278 h 4525940"/>
              <a:gd name="connsiteX1" fmla="*/ 1267459 w 4545947"/>
              <a:gd name="connsiteY1" fmla="*/ 4519609 h 4525940"/>
              <a:gd name="connsiteX2" fmla="*/ 1260900 w 4545947"/>
              <a:gd name="connsiteY2" fmla="*/ 4525940 h 4525940"/>
              <a:gd name="connsiteX3" fmla="*/ 1254340 w 4545947"/>
              <a:gd name="connsiteY3" fmla="*/ 4519609 h 4525940"/>
              <a:gd name="connsiteX4" fmla="*/ 1260900 w 4545947"/>
              <a:gd name="connsiteY4" fmla="*/ 4513278 h 4525940"/>
              <a:gd name="connsiteX5" fmla="*/ 1096915 w 4545947"/>
              <a:gd name="connsiteY5" fmla="*/ 4392992 h 4525940"/>
              <a:gd name="connsiteX6" fmla="*/ 1101288 w 4545947"/>
              <a:gd name="connsiteY6" fmla="*/ 4402488 h 4525940"/>
              <a:gd name="connsiteX7" fmla="*/ 1096915 w 4545947"/>
              <a:gd name="connsiteY7" fmla="*/ 4411984 h 4525940"/>
              <a:gd name="connsiteX8" fmla="*/ 1092542 w 4545947"/>
              <a:gd name="connsiteY8" fmla="*/ 4402488 h 4525940"/>
              <a:gd name="connsiteX9" fmla="*/ 1096915 w 4545947"/>
              <a:gd name="connsiteY9" fmla="*/ 4392992 h 4525940"/>
              <a:gd name="connsiteX10" fmla="*/ 3812502 w 4545947"/>
              <a:gd name="connsiteY10" fmla="*/ 4386661 h 4525940"/>
              <a:gd name="connsiteX11" fmla="*/ 3816875 w 4545947"/>
              <a:gd name="connsiteY11" fmla="*/ 4392992 h 4525940"/>
              <a:gd name="connsiteX12" fmla="*/ 3812502 w 4545947"/>
              <a:gd name="connsiteY12" fmla="*/ 4399322 h 4525940"/>
              <a:gd name="connsiteX13" fmla="*/ 3808129 w 4545947"/>
              <a:gd name="connsiteY13" fmla="*/ 4392992 h 4525940"/>
              <a:gd name="connsiteX14" fmla="*/ 3812502 w 4545947"/>
              <a:gd name="connsiteY14" fmla="*/ 4386661 h 4525940"/>
              <a:gd name="connsiteX15" fmla="*/ 972287 w 4545947"/>
              <a:gd name="connsiteY15" fmla="*/ 4355006 h 4525940"/>
              <a:gd name="connsiteX16" fmla="*/ 978846 w 4545947"/>
              <a:gd name="connsiteY16" fmla="*/ 4364503 h 4525940"/>
              <a:gd name="connsiteX17" fmla="*/ 972287 w 4545947"/>
              <a:gd name="connsiteY17" fmla="*/ 4373999 h 4525940"/>
              <a:gd name="connsiteX18" fmla="*/ 965727 w 4545947"/>
              <a:gd name="connsiteY18" fmla="*/ 4364503 h 4525940"/>
              <a:gd name="connsiteX19" fmla="*/ 972287 w 4545947"/>
              <a:gd name="connsiteY19" fmla="*/ 4355006 h 4525940"/>
              <a:gd name="connsiteX20" fmla="*/ 3695599 w 4545947"/>
              <a:gd name="connsiteY20" fmla="*/ 4285367 h 4525940"/>
              <a:gd name="connsiteX21" fmla="*/ 3704795 w 4545947"/>
              <a:gd name="connsiteY21" fmla="*/ 4299611 h 4525940"/>
              <a:gd name="connsiteX22" fmla="*/ 3703751 w 4545947"/>
              <a:gd name="connsiteY22" fmla="*/ 4355006 h 4525940"/>
              <a:gd name="connsiteX23" fmla="*/ 3697362 w 4545947"/>
              <a:gd name="connsiteY23" fmla="*/ 4334431 h 4525940"/>
              <a:gd name="connsiteX24" fmla="*/ 3691906 w 4545947"/>
              <a:gd name="connsiteY24" fmla="*/ 4299611 h 4525940"/>
              <a:gd name="connsiteX25" fmla="*/ 3695599 w 4545947"/>
              <a:gd name="connsiteY25" fmla="*/ 4285367 h 4525940"/>
              <a:gd name="connsiteX26" fmla="*/ 3791489 w 4545947"/>
              <a:gd name="connsiteY26" fmla="*/ 4247982 h 4525940"/>
              <a:gd name="connsiteX27" fmla="*/ 3797678 w 4545947"/>
              <a:gd name="connsiteY27" fmla="*/ 4254863 h 4525940"/>
              <a:gd name="connsiteX28" fmla="*/ 3802997 w 4545947"/>
              <a:gd name="connsiteY28" fmla="*/ 4279809 h 4525940"/>
              <a:gd name="connsiteX29" fmla="*/ 3793855 w 4545947"/>
              <a:gd name="connsiteY29" fmla="*/ 4273261 h 4525940"/>
              <a:gd name="connsiteX30" fmla="*/ 3791489 w 4545947"/>
              <a:gd name="connsiteY30" fmla="*/ 4247982 h 4525940"/>
              <a:gd name="connsiteX31" fmla="*/ 932930 w 4545947"/>
              <a:gd name="connsiteY31" fmla="*/ 4222058 h 4525940"/>
              <a:gd name="connsiteX32" fmla="*/ 939490 w 4545947"/>
              <a:gd name="connsiteY32" fmla="*/ 4234720 h 4525940"/>
              <a:gd name="connsiteX33" fmla="*/ 932930 w 4545947"/>
              <a:gd name="connsiteY33" fmla="*/ 4247382 h 4525940"/>
              <a:gd name="connsiteX34" fmla="*/ 926371 w 4545947"/>
              <a:gd name="connsiteY34" fmla="*/ 4234720 h 4525940"/>
              <a:gd name="connsiteX35" fmla="*/ 932930 w 4545947"/>
              <a:gd name="connsiteY35" fmla="*/ 4222058 h 4525940"/>
              <a:gd name="connsiteX36" fmla="*/ 1267119 w 4545947"/>
              <a:gd name="connsiteY36" fmla="*/ 4212536 h 4525940"/>
              <a:gd name="connsiteX37" fmla="*/ 1271832 w 4545947"/>
              <a:gd name="connsiteY37" fmla="*/ 4222432 h 4525940"/>
              <a:gd name="connsiteX38" fmla="*/ 1259340 w 4545947"/>
              <a:gd name="connsiteY38" fmla="*/ 4222753 h 4525940"/>
              <a:gd name="connsiteX39" fmla="*/ 1258247 w 4545947"/>
              <a:gd name="connsiteY39" fmla="*/ 4212980 h 4525940"/>
              <a:gd name="connsiteX40" fmla="*/ 1267119 w 4545947"/>
              <a:gd name="connsiteY40" fmla="*/ 4212536 h 4525940"/>
              <a:gd name="connsiteX41" fmla="*/ 3606974 w 4545947"/>
              <a:gd name="connsiteY41" fmla="*/ 4158750 h 4525940"/>
              <a:gd name="connsiteX42" fmla="*/ 3611347 w 4545947"/>
              <a:gd name="connsiteY42" fmla="*/ 4165081 h 4525940"/>
              <a:gd name="connsiteX43" fmla="*/ 3606974 w 4545947"/>
              <a:gd name="connsiteY43" fmla="*/ 4171411 h 4525940"/>
              <a:gd name="connsiteX44" fmla="*/ 3602601 w 4545947"/>
              <a:gd name="connsiteY44" fmla="*/ 4165081 h 4525940"/>
              <a:gd name="connsiteX45" fmla="*/ 3606974 w 4545947"/>
              <a:gd name="connsiteY45" fmla="*/ 4158750 h 4525940"/>
              <a:gd name="connsiteX46" fmla="*/ 1253971 w 4545947"/>
              <a:gd name="connsiteY46" fmla="*/ 4155079 h 4525940"/>
              <a:gd name="connsiteX47" fmla="*/ 1263086 w 4545947"/>
              <a:gd name="connsiteY47" fmla="*/ 4181282 h 4525940"/>
              <a:gd name="connsiteX48" fmla="*/ 1254814 w 4545947"/>
              <a:gd name="connsiteY48" fmla="*/ 4203066 h 4525940"/>
              <a:gd name="connsiteX49" fmla="*/ 1243753 w 4545947"/>
              <a:gd name="connsiteY49" fmla="*/ 4186974 h 4525940"/>
              <a:gd name="connsiteX50" fmla="*/ 1247618 w 4545947"/>
              <a:gd name="connsiteY50" fmla="*/ 4161246 h 4525940"/>
              <a:gd name="connsiteX51" fmla="*/ 1253971 w 4545947"/>
              <a:gd name="connsiteY51" fmla="*/ 4155079 h 4525940"/>
              <a:gd name="connsiteX52" fmla="*/ 2452780 w 4545947"/>
              <a:gd name="connsiteY52" fmla="*/ 4146088 h 4525940"/>
              <a:gd name="connsiteX53" fmla="*/ 2456895 w 4545947"/>
              <a:gd name="connsiteY53" fmla="*/ 4155585 h 4525940"/>
              <a:gd name="connsiteX54" fmla="*/ 2446810 w 4545947"/>
              <a:gd name="connsiteY54" fmla="*/ 4161032 h 4525940"/>
              <a:gd name="connsiteX55" fmla="*/ 2452780 w 4545947"/>
              <a:gd name="connsiteY55" fmla="*/ 4146088 h 4525940"/>
              <a:gd name="connsiteX56" fmla="*/ 3700993 w 4545947"/>
              <a:gd name="connsiteY56" fmla="*/ 4127095 h 4525940"/>
              <a:gd name="connsiteX57" fmla="*/ 3707552 w 4545947"/>
              <a:gd name="connsiteY57" fmla="*/ 4136592 h 4525940"/>
              <a:gd name="connsiteX58" fmla="*/ 3697347 w 4545947"/>
              <a:gd name="connsiteY58" fmla="*/ 4141867 h 4525940"/>
              <a:gd name="connsiteX59" fmla="*/ 3700993 w 4545947"/>
              <a:gd name="connsiteY59" fmla="*/ 4127095 h 4525940"/>
              <a:gd name="connsiteX60" fmla="*/ 879089 w 4545947"/>
              <a:gd name="connsiteY60" fmla="*/ 4115046 h 4525940"/>
              <a:gd name="connsiteX61" fmla="*/ 887014 w 4545947"/>
              <a:gd name="connsiteY61" fmla="*/ 4127095 h 4525940"/>
              <a:gd name="connsiteX62" fmla="*/ 877084 w 4545947"/>
              <a:gd name="connsiteY62" fmla="*/ 4132845 h 4525940"/>
              <a:gd name="connsiteX63" fmla="*/ 871875 w 4545947"/>
              <a:gd name="connsiteY63" fmla="*/ 4120376 h 4525940"/>
              <a:gd name="connsiteX64" fmla="*/ 879089 w 4545947"/>
              <a:gd name="connsiteY64" fmla="*/ 4115046 h 4525940"/>
              <a:gd name="connsiteX65" fmla="*/ 1862177 w 4545947"/>
              <a:gd name="connsiteY65" fmla="*/ 4108103 h 4525940"/>
              <a:gd name="connsiteX66" fmla="*/ 1866550 w 4545947"/>
              <a:gd name="connsiteY66" fmla="*/ 4114434 h 4525940"/>
              <a:gd name="connsiteX67" fmla="*/ 1862177 w 4545947"/>
              <a:gd name="connsiteY67" fmla="*/ 4120765 h 4525940"/>
              <a:gd name="connsiteX68" fmla="*/ 1857804 w 4545947"/>
              <a:gd name="connsiteY68" fmla="*/ 4114434 h 4525940"/>
              <a:gd name="connsiteX69" fmla="*/ 1862177 w 4545947"/>
              <a:gd name="connsiteY69" fmla="*/ 4108103 h 4525940"/>
              <a:gd name="connsiteX70" fmla="*/ 1183790 w 4545947"/>
              <a:gd name="connsiteY70" fmla="*/ 4089207 h 4525940"/>
              <a:gd name="connsiteX71" fmla="*/ 1177152 w 4545947"/>
              <a:gd name="connsiteY71" fmla="*/ 4126770 h 4525940"/>
              <a:gd name="connsiteX72" fmla="*/ 1180982 w 4545947"/>
              <a:gd name="connsiteY72" fmla="*/ 4116926 h 4525940"/>
              <a:gd name="connsiteX73" fmla="*/ 1184868 w 4545947"/>
              <a:gd name="connsiteY73" fmla="*/ 4094865 h 4525940"/>
              <a:gd name="connsiteX74" fmla="*/ 1183790 w 4545947"/>
              <a:gd name="connsiteY74" fmla="*/ 4089207 h 4525940"/>
              <a:gd name="connsiteX75" fmla="*/ 1852771 w 4545947"/>
              <a:gd name="connsiteY75" fmla="*/ 4080379 h 4525940"/>
              <a:gd name="connsiteX76" fmla="*/ 1859380 w 4545947"/>
              <a:gd name="connsiteY76" fmla="*/ 4080841 h 4525940"/>
              <a:gd name="connsiteX77" fmla="*/ 1858062 w 4545947"/>
              <a:gd name="connsiteY77" fmla="*/ 4095441 h 4525940"/>
              <a:gd name="connsiteX78" fmla="*/ 1851431 w 4545947"/>
              <a:gd name="connsiteY78" fmla="*/ 4089548 h 4525940"/>
              <a:gd name="connsiteX79" fmla="*/ 1852771 w 4545947"/>
              <a:gd name="connsiteY79" fmla="*/ 4080379 h 4525940"/>
              <a:gd name="connsiteX80" fmla="*/ 3747913 w 4545947"/>
              <a:gd name="connsiteY80" fmla="*/ 4076860 h 4525940"/>
              <a:gd name="connsiteX81" fmla="*/ 3759152 w 4545947"/>
              <a:gd name="connsiteY81" fmla="*/ 4084046 h 4525940"/>
              <a:gd name="connsiteX82" fmla="*/ 3756383 w 4545947"/>
              <a:gd name="connsiteY82" fmla="*/ 4108103 h 4525940"/>
              <a:gd name="connsiteX83" fmla="*/ 3745450 w 4545947"/>
              <a:gd name="connsiteY83" fmla="*/ 4103882 h 4525940"/>
              <a:gd name="connsiteX84" fmla="*/ 3742535 w 4545947"/>
              <a:gd name="connsiteY84" fmla="*/ 4088055 h 4525940"/>
              <a:gd name="connsiteX85" fmla="*/ 3747913 w 4545947"/>
              <a:gd name="connsiteY85" fmla="*/ 4076860 h 4525940"/>
              <a:gd name="connsiteX86" fmla="*/ 1114457 w 4545947"/>
              <a:gd name="connsiteY86" fmla="*/ 4072746 h 4525940"/>
              <a:gd name="connsiteX87" fmla="*/ 1107340 w 4545947"/>
              <a:gd name="connsiteY87" fmla="*/ 4105307 h 4525940"/>
              <a:gd name="connsiteX88" fmla="*/ 1117549 w 4545947"/>
              <a:gd name="connsiteY88" fmla="*/ 4113700 h 4525940"/>
              <a:gd name="connsiteX89" fmla="*/ 1117687 w 4545947"/>
              <a:gd name="connsiteY89" fmla="*/ 4110070 h 4525940"/>
              <a:gd name="connsiteX90" fmla="*/ 1115500 w 4545947"/>
              <a:gd name="connsiteY90" fmla="*/ 4074720 h 4525940"/>
              <a:gd name="connsiteX91" fmla="*/ 1114457 w 4545947"/>
              <a:gd name="connsiteY91" fmla="*/ 4072746 h 4525940"/>
              <a:gd name="connsiteX92" fmla="*/ 2356317 w 4545947"/>
              <a:gd name="connsiteY92" fmla="*/ 4044794 h 4525940"/>
              <a:gd name="connsiteX93" fmla="*/ 2360690 w 4545947"/>
              <a:gd name="connsiteY93" fmla="*/ 4050752 h 4525940"/>
              <a:gd name="connsiteX94" fmla="*/ 2356317 w 4545947"/>
              <a:gd name="connsiteY94" fmla="*/ 4060622 h 4525940"/>
              <a:gd name="connsiteX95" fmla="*/ 2351944 w 4545947"/>
              <a:gd name="connsiteY95" fmla="*/ 4054664 h 4525940"/>
              <a:gd name="connsiteX96" fmla="*/ 2356317 w 4545947"/>
              <a:gd name="connsiteY96" fmla="*/ 4044794 h 4525940"/>
              <a:gd name="connsiteX97" fmla="*/ 1890281 w 4545947"/>
              <a:gd name="connsiteY97" fmla="*/ 4038463 h 4525940"/>
              <a:gd name="connsiteX98" fmla="*/ 1903064 w 4545947"/>
              <a:gd name="connsiteY98" fmla="*/ 4057456 h 4525940"/>
              <a:gd name="connsiteX99" fmla="*/ 1908851 w 4545947"/>
              <a:gd name="connsiteY99" fmla="*/ 4075870 h 4525940"/>
              <a:gd name="connsiteX100" fmla="*/ 1896075 w 4545947"/>
              <a:gd name="connsiteY100" fmla="*/ 4064790 h 4525940"/>
              <a:gd name="connsiteX101" fmla="*/ 1890281 w 4545947"/>
              <a:gd name="connsiteY101" fmla="*/ 4038463 h 4525940"/>
              <a:gd name="connsiteX102" fmla="*/ 1534930 w 4545947"/>
              <a:gd name="connsiteY102" fmla="*/ 4031057 h 4525940"/>
              <a:gd name="connsiteX103" fmla="*/ 1547326 w 4545947"/>
              <a:gd name="connsiteY103" fmla="*/ 4034071 h 4525940"/>
              <a:gd name="connsiteX104" fmla="*/ 1556559 w 4545947"/>
              <a:gd name="connsiteY104" fmla="*/ 4057456 h 4525940"/>
              <a:gd name="connsiteX105" fmla="*/ 1556072 w 4545947"/>
              <a:gd name="connsiteY105" fmla="*/ 4082779 h 4525940"/>
              <a:gd name="connsiteX106" fmla="*/ 1569191 w 4545947"/>
              <a:gd name="connsiteY106" fmla="*/ 4122875 h 4525940"/>
              <a:gd name="connsiteX107" fmla="*/ 1577937 w 4545947"/>
              <a:gd name="connsiteY107" fmla="*/ 4146088 h 4525940"/>
              <a:gd name="connsiteX108" fmla="*/ 1586682 w 4545947"/>
              <a:gd name="connsiteY108" fmla="*/ 4168537 h 4525940"/>
              <a:gd name="connsiteX109" fmla="*/ 1593242 w 4545947"/>
              <a:gd name="connsiteY109" fmla="*/ 4180031 h 4525940"/>
              <a:gd name="connsiteX110" fmla="*/ 1596521 w 4545947"/>
              <a:gd name="connsiteY110" fmla="*/ 4203041 h 4525940"/>
              <a:gd name="connsiteX111" fmla="*/ 1561308 w 4545947"/>
              <a:gd name="connsiteY111" fmla="*/ 4157141 h 4525940"/>
              <a:gd name="connsiteX112" fmla="*/ 1521156 w 4545947"/>
              <a:gd name="connsiteY112" fmla="*/ 4087528 h 4525940"/>
              <a:gd name="connsiteX113" fmla="*/ 1535320 w 4545947"/>
              <a:gd name="connsiteY113" fmla="*/ 4090693 h 4525940"/>
              <a:gd name="connsiteX114" fmla="*/ 1540362 w 4545947"/>
              <a:gd name="connsiteY114" fmla="*/ 4074041 h 4525940"/>
              <a:gd name="connsiteX115" fmla="*/ 1538885 w 4545947"/>
              <a:gd name="connsiteY115" fmla="*/ 4042703 h 4525940"/>
              <a:gd name="connsiteX116" fmla="*/ 1534930 w 4545947"/>
              <a:gd name="connsiteY116" fmla="*/ 4031057 h 4525940"/>
              <a:gd name="connsiteX117" fmla="*/ 843613 w 4545947"/>
              <a:gd name="connsiteY117" fmla="*/ 4027015 h 4525940"/>
              <a:gd name="connsiteX118" fmla="*/ 848314 w 4545947"/>
              <a:gd name="connsiteY118" fmla="*/ 4035298 h 4525940"/>
              <a:gd name="connsiteX119" fmla="*/ 843613 w 4545947"/>
              <a:gd name="connsiteY119" fmla="*/ 4043581 h 4525940"/>
              <a:gd name="connsiteX120" fmla="*/ 838912 w 4545947"/>
              <a:gd name="connsiteY120" fmla="*/ 4035298 h 4525940"/>
              <a:gd name="connsiteX121" fmla="*/ 843613 w 4545947"/>
              <a:gd name="connsiteY121" fmla="*/ 4027015 h 4525940"/>
              <a:gd name="connsiteX122" fmla="*/ 2342527 w 4545947"/>
              <a:gd name="connsiteY122" fmla="*/ 4008437 h 4525940"/>
              <a:gd name="connsiteX123" fmla="*/ 2347571 w 4545947"/>
              <a:gd name="connsiteY123" fmla="*/ 4015778 h 4525940"/>
              <a:gd name="connsiteX124" fmla="*/ 2340648 w 4545947"/>
              <a:gd name="connsiteY124" fmla="*/ 4025802 h 4525940"/>
              <a:gd name="connsiteX125" fmla="*/ 2335455 w 4545947"/>
              <a:gd name="connsiteY125" fmla="*/ 4018284 h 4525940"/>
              <a:gd name="connsiteX126" fmla="*/ 2342527 w 4545947"/>
              <a:gd name="connsiteY126" fmla="*/ 4008437 h 4525940"/>
              <a:gd name="connsiteX127" fmla="*/ 3724941 w 4545947"/>
              <a:gd name="connsiteY127" fmla="*/ 4000570 h 4525940"/>
              <a:gd name="connsiteX128" fmla="*/ 3742535 w 4545947"/>
              <a:gd name="connsiteY128" fmla="*/ 4019019 h 4525940"/>
              <a:gd name="connsiteX129" fmla="*/ 3724767 w 4545947"/>
              <a:gd name="connsiteY129" fmla="*/ 4015823 h 4525940"/>
              <a:gd name="connsiteX130" fmla="*/ 3724941 w 4545947"/>
              <a:gd name="connsiteY130" fmla="*/ 4000570 h 4525940"/>
              <a:gd name="connsiteX131" fmla="*/ 1367217 w 4545947"/>
              <a:gd name="connsiteY131" fmla="*/ 3939176 h 4525940"/>
              <a:gd name="connsiteX132" fmla="*/ 1375598 w 4545947"/>
              <a:gd name="connsiteY132" fmla="*/ 3939675 h 4525940"/>
              <a:gd name="connsiteX133" fmla="*/ 1369858 w 4545947"/>
              <a:gd name="connsiteY133" fmla="*/ 3943001 h 4525940"/>
              <a:gd name="connsiteX134" fmla="*/ 1367216 w 4545947"/>
              <a:gd name="connsiteY134" fmla="*/ 3939176 h 4525940"/>
              <a:gd name="connsiteX135" fmla="*/ 1367217 w 4545947"/>
              <a:gd name="connsiteY135" fmla="*/ 3939176 h 4525940"/>
              <a:gd name="connsiteX136" fmla="*/ 1367216 w 4545947"/>
              <a:gd name="connsiteY136" fmla="*/ 3939176 h 4525940"/>
              <a:gd name="connsiteX137" fmla="*/ 2495323 w 4545947"/>
              <a:gd name="connsiteY137" fmla="*/ 3937371 h 4525940"/>
              <a:gd name="connsiteX138" fmla="*/ 2506090 w 4545947"/>
              <a:gd name="connsiteY138" fmla="*/ 3945983 h 4525940"/>
              <a:gd name="connsiteX139" fmla="*/ 2508860 w 4545947"/>
              <a:gd name="connsiteY139" fmla="*/ 3987817 h 4525940"/>
              <a:gd name="connsiteX140" fmla="*/ 2506067 w 4545947"/>
              <a:gd name="connsiteY140" fmla="*/ 4003644 h 4525940"/>
              <a:gd name="connsiteX141" fmla="*/ 2494768 w 4545947"/>
              <a:gd name="connsiteY141" fmla="*/ 4014723 h 4525940"/>
              <a:gd name="connsiteX142" fmla="*/ 2495323 w 4545947"/>
              <a:gd name="connsiteY142" fmla="*/ 3937371 h 4525940"/>
              <a:gd name="connsiteX143" fmla="*/ 3895920 w 4545947"/>
              <a:gd name="connsiteY143" fmla="*/ 3935463 h 4525940"/>
              <a:gd name="connsiteX144" fmla="*/ 3899960 w 4545947"/>
              <a:gd name="connsiteY144" fmla="*/ 3959837 h 4525940"/>
              <a:gd name="connsiteX145" fmla="*/ 3911406 w 4545947"/>
              <a:gd name="connsiteY145" fmla="*/ 3989307 h 4525940"/>
              <a:gd name="connsiteX146" fmla="*/ 3930692 w 4545947"/>
              <a:gd name="connsiteY146" fmla="*/ 3982841 h 4525940"/>
              <a:gd name="connsiteX147" fmla="*/ 3949909 w 4545947"/>
              <a:gd name="connsiteY147" fmla="*/ 3984943 h 4525940"/>
              <a:gd name="connsiteX148" fmla="*/ 3939464 w 4545947"/>
              <a:gd name="connsiteY148" fmla="*/ 4010043 h 4525940"/>
              <a:gd name="connsiteX149" fmla="*/ 3929769 w 4545947"/>
              <a:gd name="connsiteY149" fmla="*/ 4024499 h 4525940"/>
              <a:gd name="connsiteX150" fmla="*/ 3933346 w 4545947"/>
              <a:gd name="connsiteY150" fmla="*/ 4049881 h 4525940"/>
              <a:gd name="connsiteX151" fmla="*/ 3940956 w 4545947"/>
              <a:gd name="connsiteY151" fmla="*/ 4120846 h 4525940"/>
              <a:gd name="connsiteX152" fmla="*/ 3929478 w 4545947"/>
              <a:gd name="connsiteY152" fmla="*/ 4120056 h 4525940"/>
              <a:gd name="connsiteX153" fmla="*/ 3921825 w 4545947"/>
              <a:gd name="connsiteY153" fmla="*/ 4086004 h 4525940"/>
              <a:gd name="connsiteX154" fmla="*/ 3917386 w 4545947"/>
              <a:gd name="connsiteY154" fmla="*/ 4054232 h 4525940"/>
              <a:gd name="connsiteX155" fmla="*/ 3906676 w 4545947"/>
              <a:gd name="connsiteY155" fmla="*/ 4028534 h 4525940"/>
              <a:gd name="connsiteX156" fmla="*/ 3891911 w 4545947"/>
              <a:gd name="connsiteY156" fmla="*/ 4006809 h 4525940"/>
              <a:gd name="connsiteX157" fmla="*/ 3885345 w 4545947"/>
              <a:gd name="connsiteY157" fmla="*/ 3953575 h 4525940"/>
              <a:gd name="connsiteX158" fmla="*/ 3895920 w 4545947"/>
              <a:gd name="connsiteY158" fmla="*/ 3935463 h 4525940"/>
              <a:gd name="connsiteX159" fmla="*/ 2337188 w 4545947"/>
              <a:gd name="connsiteY159" fmla="*/ 3930839 h 4525940"/>
              <a:gd name="connsiteX160" fmla="*/ 2342396 w 4545947"/>
              <a:gd name="connsiteY160" fmla="*/ 3947761 h 4525940"/>
              <a:gd name="connsiteX161" fmla="*/ 2327982 w 4545947"/>
              <a:gd name="connsiteY161" fmla="*/ 3956568 h 4525940"/>
              <a:gd name="connsiteX162" fmla="*/ 2337188 w 4545947"/>
              <a:gd name="connsiteY162" fmla="*/ 3930839 h 4525940"/>
              <a:gd name="connsiteX163" fmla="*/ 2224989 w 4545947"/>
              <a:gd name="connsiteY163" fmla="*/ 3912997 h 4525940"/>
              <a:gd name="connsiteX164" fmla="*/ 2230083 w 4545947"/>
              <a:gd name="connsiteY164" fmla="*/ 3916486 h 4525940"/>
              <a:gd name="connsiteX165" fmla="*/ 2225735 w 4545947"/>
              <a:gd name="connsiteY165" fmla="*/ 3943501 h 4525940"/>
              <a:gd name="connsiteX166" fmla="*/ 2218895 w 4545947"/>
              <a:gd name="connsiteY166" fmla="*/ 3932946 h 4525940"/>
              <a:gd name="connsiteX167" fmla="*/ 2224989 w 4545947"/>
              <a:gd name="connsiteY167" fmla="*/ 3912997 h 4525940"/>
              <a:gd name="connsiteX168" fmla="*/ 1388112 w 4545947"/>
              <a:gd name="connsiteY168" fmla="*/ 3908577 h 4525940"/>
              <a:gd name="connsiteX169" fmla="*/ 1380454 w 4545947"/>
              <a:gd name="connsiteY169" fmla="*/ 3917982 h 4525940"/>
              <a:gd name="connsiteX170" fmla="*/ 1363663 w 4545947"/>
              <a:gd name="connsiteY170" fmla="*/ 3924107 h 4525940"/>
              <a:gd name="connsiteX171" fmla="*/ 1349452 w 4545947"/>
              <a:gd name="connsiteY171" fmla="*/ 3919359 h 4525940"/>
              <a:gd name="connsiteX172" fmla="*/ 1335239 w 4545947"/>
              <a:gd name="connsiteY172" fmla="*/ 3936885 h 4525940"/>
              <a:gd name="connsiteX173" fmla="*/ 1346172 w 4545947"/>
              <a:gd name="connsiteY173" fmla="*/ 3956132 h 4525940"/>
              <a:gd name="connsiteX174" fmla="*/ 1361141 w 4545947"/>
              <a:gd name="connsiteY174" fmla="*/ 3983244 h 4525940"/>
              <a:gd name="connsiteX175" fmla="*/ 1390289 w 4545947"/>
              <a:gd name="connsiteY175" fmla="*/ 3999733 h 4525940"/>
              <a:gd name="connsiteX176" fmla="*/ 1400728 w 4545947"/>
              <a:gd name="connsiteY176" fmla="*/ 4011262 h 4525940"/>
              <a:gd name="connsiteX177" fmla="*/ 1410270 w 4545947"/>
              <a:gd name="connsiteY177" fmla="*/ 4087809 h 4525940"/>
              <a:gd name="connsiteX178" fmla="*/ 1426873 w 4545947"/>
              <a:gd name="connsiteY178" fmla="*/ 4091597 h 4525940"/>
              <a:gd name="connsiteX179" fmla="*/ 1435407 w 4545947"/>
              <a:gd name="connsiteY179" fmla="*/ 4088151 h 4525940"/>
              <a:gd name="connsiteX180" fmla="*/ 1458399 w 4545947"/>
              <a:gd name="connsiteY180" fmla="*/ 4085520 h 4525940"/>
              <a:gd name="connsiteX181" fmla="*/ 1456075 w 4545947"/>
              <a:gd name="connsiteY181" fmla="*/ 4068426 h 4525940"/>
              <a:gd name="connsiteX182" fmla="*/ 1451122 w 4545947"/>
              <a:gd name="connsiteY182" fmla="*/ 4049797 h 4525940"/>
              <a:gd name="connsiteX183" fmla="*/ 1442376 w 4545947"/>
              <a:gd name="connsiteY183" fmla="*/ 4027499 h 4525940"/>
              <a:gd name="connsiteX184" fmla="*/ 1433630 w 4545947"/>
              <a:gd name="connsiteY184" fmla="*/ 4008506 h 4525940"/>
              <a:gd name="connsiteX185" fmla="*/ 1425108 w 4545947"/>
              <a:gd name="connsiteY185" fmla="*/ 3989791 h 4525940"/>
              <a:gd name="connsiteX186" fmla="*/ 1418520 w 4545947"/>
              <a:gd name="connsiteY186" fmla="*/ 3974698 h 4525940"/>
              <a:gd name="connsiteX187" fmla="*/ 1397617 w 4545947"/>
              <a:gd name="connsiteY187" fmla="*/ 3915240 h 4525940"/>
              <a:gd name="connsiteX188" fmla="*/ 1388112 w 4545947"/>
              <a:gd name="connsiteY188" fmla="*/ 3908577 h 4525940"/>
              <a:gd name="connsiteX189" fmla="*/ 523559 w 4545947"/>
              <a:gd name="connsiteY189" fmla="*/ 3899185 h 4525940"/>
              <a:gd name="connsiteX190" fmla="*/ 543663 w 4545947"/>
              <a:gd name="connsiteY190" fmla="*/ 3937349 h 4525940"/>
              <a:gd name="connsiteX191" fmla="*/ 526248 w 4545947"/>
              <a:gd name="connsiteY191" fmla="*/ 3930839 h 4525940"/>
              <a:gd name="connsiteX192" fmla="*/ 519394 w 4545947"/>
              <a:gd name="connsiteY192" fmla="*/ 3918177 h 4525940"/>
              <a:gd name="connsiteX193" fmla="*/ 515316 w 4545947"/>
              <a:gd name="connsiteY193" fmla="*/ 3908681 h 4525940"/>
              <a:gd name="connsiteX194" fmla="*/ 523559 w 4545947"/>
              <a:gd name="connsiteY194" fmla="*/ 3899185 h 4525940"/>
              <a:gd name="connsiteX195" fmla="*/ 4105488 w 4545947"/>
              <a:gd name="connsiteY195" fmla="*/ 3892854 h 4525940"/>
              <a:gd name="connsiteX196" fmla="*/ 4109861 w 4545947"/>
              <a:gd name="connsiteY196" fmla="*/ 3899185 h 4525940"/>
              <a:gd name="connsiteX197" fmla="*/ 4105488 w 4545947"/>
              <a:gd name="connsiteY197" fmla="*/ 3905515 h 4525940"/>
              <a:gd name="connsiteX198" fmla="*/ 4101115 w 4545947"/>
              <a:gd name="connsiteY198" fmla="*/ 3899185 h 4525940"/>
              <a:gd name="connsiteX199" fmla="*/ 4105488 w 4545947"/>
              <a:gd name="connsiteY199" fmla="*/ 3892854 h 4525940"/>
              <a:gd name="connsiteX200" fmla="*/ 2909492 w 4545947"/>
              <a:gd name="connsiteY200" fmla="*/ 3892854 h 4525940"/>
              <a:gd name="connsiteX201" fmla="*/ 2916052 w 4545947"/>
              <a:gd name="connsiteY201" fmla="*/ 3908681 h 4525940"/>
              <a:gd name="connsiteX202" fmla="*/ 2909492 w 4545947"/>
              <a:gd name="connsiteY202" fmla="*/ 3924508 h 4525940"/>
              <a:gd name="connsiteX203" fmla="*/ 2902933 w 4545947"/>
              <a:gd name="connsiteY203" fmla="*/ 3908681 h 4525940"/>
              <a:gd name="connsiteX204" fmla="*/ 2909492 w 4545947"/>
              <a:gd name="connsiteY204" fmla="*/ 3892854 h 4525940"/>
              <a:gd name="connsiteX205" fmla="*/ 2655863 w 4545947"/>
              <a:gd name="connsiteY205" fmla="*/ 3892854 h 4525940"/>
              <a:gd name="connsiteX206" fmla="*/ 2662423 w 4545947"/>
              <a:gd name="connsiteY206" fmla="*/ 3898811 h 4525940"/>
              <a:gd name="connsiteX207" fmla="*/ 2652101 w 4545947"/>
              <a:gd name="connsiteY207" fmla="*/ 3907454 h 4525940"/>
              <a:gd name="connsiteX208" fmla="*/ 2655863 w 4545947"/>
              <a:gd name="connsiteY208" fmla="*/ 3892854 h 4525940"/>
              <a:gd name="connsiteX209" fmla="*/ 2015126 w 4545947"/>
              <a:gd name="connsiteY209" fmla="*/ 3890471 h 4525940"/>
              <a:gd name="connsiteX210" fmla="*/ 2024850 w 4545947"/>
              <a:gd name="connsiteY210" fmla="*/ 3891588 h 4525940"/>
              <a:gd name="connsiteX211" fmla="*/ 2042341 w 4545947"/>
              <a:gd name="connsiteY211" fmla="*/ 3899185 h 4525940"/>
              <a:gd name="connsiteX212" fmla="*/ 2054585 w 4545947"/>
              <a:gd name="connsiteY212" fmla="*/ 3909307 h 4525940"/>
              <a:gd name="connsiteX213" fmla="*/ 2071849 w 4545947"/>
              <a:gd name="connsiteY213" fmla="*/ 3968824 h 4525940"/>
              <a:gd name="connsiteX214" fmla="*/ 2091632 w 4545947"/>
              <a:gd name="connsiteY214" fmla="*/ 4018461 h 4525940"/>
              <a:gd name="connsiteX215" fmla="*/ 2093696 w 4545947"/>
              <a:gd name="connsiteY215" fmla="*/ 4051792 h 4525940"/>
              <a:gd name="connsiteX216" fmla="*/ 2096463 w 4545947"/>
              <a:gd name="connsiteY216" fmla="*/ 4068015 h 4525940"/>
              <a:gd name="connsiteX217" fmla="*/ 2100916 w 4545947"/>
              <a:gd name="connsiteY217" fmla="*/ 4106782 h 4525940"/>
              <a:gd name="connsiteX218" fmla="*/ 2106951 w 4545947"/>
              <a:gd name="connsiteY218" fmla="*/ 4150489 h 4525940"/>
              <a:gd name="connsiteX219" fmla="*/ 2115806 w 4545947"/>
              <a:gd name="connsiteY219" fmla="*/ 4170504 h 4525940"/>
              <a:gd name="connsiteX220" fmla="*/ 2120728 w 4545947"/>
              <a:gd name="connsiteY220" fmla="*/ 4188665 h 4525940"/>
              <a:gd name="connsiteX221" fmla="*/ 2116702 w 4545947"/>
              <a:gd name="connsiteY221" fmla="*/ 4240650 h 4525940"/>
              <a:gd name="connsiteX222" fmla="*/ 2103781 w 4545947"/>
              <a:gd name="connsiteY222" fmla="*/ 4234523 h 4525940"/>
              <a:gd name="connsiteX223" fmla="*/ 2103781 w 4545947"/>
              <a:gd name="connsiteY223" fmla="*/ 4234523 h 4525940"/>
              <a:gd name="connsiteX224" fmla="*/ 2093194 w 4545947"/>
              <a:gd name="connsiteY224" fmla="*/ 4217514 h 4525940"/>
              <a:gd name="connsiteX225" fmla="*/ 2091953 w 4545947"/>
              <a:gd name="connsiteY225" fmla="*/ 4196119 h 4525940"/>
              <a:gd name="connsiteX226" fmla="*/ 2062695 w 4545947"/>
              <a:gd name="connsiteY226" fmla="*/ 4151056 h 4525940"/>
              <a:gd name="connsiteX227" fmla="*/ 2063875 w 4545947"/>
              <a:gd name="connsiteY227" fmla="*/ 4119655 h 4525940"/>
              <a:gd name="connsiteX228" fmla="*/ 2063743 w 4545947"/>
              <a:gd name="connsiteY228" fmla="*/ 4053303 h 4525940"/>
              <a:gd name="connsiteX229" fmla="*/ 2054756 w 4545947"/>
              <a:gd name="connsiteY229" fmla="*/ 4006601 h 4525940"/>
              <a:gd name="connsiteX230" fmla="*/ 2048334 w 4545947"/>
              <a:gd name="connsiteY230" fmla="*/ 3977186 h 4525940"/>
              <a:gd name="connsiteX231" fmla="*/ 2036846 w 4545947"/>
              <a:gd name="connsiteY231" fmla="*/ 3946341 h 4525940"/>
              <a:gd name="connsiteX232" fmla="*/ 2028348 w 4545947"/>
              <a:gd name="connsiteY232" fmla="*/ 3927674 h 4525940"/>
              <a:gd name="connsiteX233" fmla="*/ 2019499 w 4545947"/>
              <a:gd name="connsiteY233" fmla="*/ 3908546 h 4525940"/>
              <a:gd name="connsiteX234" fmla="*/ 2015126 w 4545947"/>
              <a:gd name="connsiteY234" fmla="*/ 3890471 h 4525940"/>
              <a:gd name="connsiteX235" fmla="*/ 3762359 w 4545947"/>
              <a:gd name="connsiteY235" fmla="*/ 3882921 h 4525940"/>
              <a:gd name="connsiteX236" fmla="*/ 3771539 w 4545947"/>
              <a:gd name="connsiteY236" fmla="*/ 3895761 h 4525940"/>
              <a:gd name="connsiteX237" fmla="*/ 3763380 w 4545947"/>
              <a:gd name="connsiteY237" fmla="*/ 3918177 h 4525940"/>
              <a:gd name="connsiteX238" fmla="*/ 3756456 w 4545947"/>
              <a:gd name="connsiteY238" fmla="*/ 3901256 h 4525940"/>
              <a:gd name="connsiteX239" fmla="*/ 3762359 w 4545947"/>
              <a:gd name="connsiteY239" fmla="*/ 3882921 h 4525940"/>
              <a:gd name="connsiteX240" fmla="*/ 4054105 w 4545947"/>
              <a:gd name="connsiteY240" fmla="*/ 3868673 h 4525940"/>
              <a:gd name="connsiteX241" fmla="*/ 4064349 w 4545947"/>
              <a:gd name="connsiteY241" fmla="*/ 3897845 h 4525940"/>
              <a:gd name="connsiteX242" fmla="*/ 4062113 w 4545947"/>
              <a:gd name="connsiteY242" fmla="*/ 3927356 h 4525940"/>
              <a:gd name="connsiteX243" fmla="*/ 4047496 w 4545947"/>
              <a:gd name="connsiteY243" fmla="*/ 3917089 h 4525940"/>
              <a:gd name="connsiteX244" fmla="*/ 4039894 w 4545947"/>
              <a:gd name="connsiteY244" fmla="*/ 3886523 h 4525940"/>
              <a:gd name="connsiteX245" fmla="*/ 4044267 w 4545947"/>
              <a:gd name="connsiteY245" fmla="*/ 3876586 h 4525940"/>
              <a:gd name="connsiteX246" fmla="*/ 4054105 w 4545947"/>
              <a:gd name="connsiteY246" fmla="*/ 3868673 h 4525940"/>
              <a:gd name="connsiteX247" fmla="*/ 2218103 w 4545947"/>
              <a:gd name="connsiteY247" fmla="*/ 3867530 h 4525940"/>
              <a:gd name="connsiteX248" fmla="*/ 2226711 w 4545947"/>
              <a:gd name="connsiteY248" fmla="*/ 3877027 h 4525940"/>
              <a:gd name="connsiteX249" fmla="*/ 2220619 w 4545947"/>
              <a:gd name="connsiteY249" fmla="*/ 3886523 h 4525940"/>
              <a:gd name="connsiteX250" fmla="*/ 2212011 w 4545947"/>
              <a:gd name="connsiteY250" fmla="*/ 3877027 h 4525940"/>
              <a:gd name="connsiteX251" fmla="*/ 2218103 w 4545947"/>
              <a:gd name="connsiteY251" fmla="*/ 3867530 h 4525940"/>
              <a:gd name="connsiteX252" fmla="*/ 1971688 w 4545947"/>
              <a:gd name="connsiteY252" fmla="*/ 3857866 h 4525940"/>
              <a:gd name="connsiteX253" fmla="*/ 1986087 w 4545947"/>
              <a:gd name="connsiteY253" fmla="*/ 3910735 h 4525940"/>
              <a:gd name="connsiteX254" fmla="*/ 1988610 w 4545947"/>
              <a:gd name="connsiteY254" fmla="*/ 3927333 h 4525940"/>
              <a:gd name="connsiteX255" fmla="*/ 1993364 w 4545947"/>
              <a:gd name="connsiteY255" fmla="*/ 3952596 h 4525940"/>
              <a:gd name="connsiteX256" fmla="*/ 1999487 w 4545947"/>
              <a:gd name="connsiteY256" fmla="*/ 3980960 h 4525940"/>
              <a:gd name="connsiteX257" fmla="*/ 2005609 w 4545947"/>
              <a:gd name="connsiteY257" fmla="*/ 4011042 h 4525940"/>
              <a:gd name="connsiteX258" fmla="*/ 2009731 w 4545947"/>
              <a:gd name="connsiteY258" fmla="*/ 4037699 h 4525940"/>
              <a:gd name="connsiteX259" fmla="*/ 2016619 w 4545947"/>
              <a:gd name="connsiteY259" fmla="*/ 4062204 h 4525940"/>
              <a:gd name="connsiteX260" fmla="*/ 2002084 w 4545947"/>
              <a:gd name="connsiteY260" fmla="*/ 4070047 h 4525940"/>
              <a:gd name="connsiteX261" fmla="*/ 1998475 w 4545947"/>
              <a:gd name="connsiteY261" fmla="*/ 4049471 h 4525940"/>
              <a:gd name="connsiteX262" fmla="*/ 1980092 w 4545947"/>
              <a:gd name="connsiteY262" fmla="*/ 4013140 h 4525940"/>
              <a:gd name="connsiteX263" fmla="*/ 1971500 w 4545947"/>
              <a:gd name="connsiteY263" fmla="*/ 4003644 h 4525940"/>
              <a:gd name="connsiteX264" fmla="*/ 1975873 w 4545947"/>
              <a:gd name="connsiteY264" fmla="*/ 3994147 h 4525940"/>
              <a:gd name="connsiteX265" fmla="*/ 1976112 w 4545947"/>
              <a:gd name="connsiteY265" fmla="*/ 3967769 h 4525940"/>
              <a:gd name="connsiteX266" fmla="*/ 1971688 w 4545947"/>
              <a:gd name="connsiteY266" fmla="*/ 3857866 h 4525940"/>
              <a:gd name="connsiteX267" fmla="*/ 502197 w 4545947"/>
              <a:gd name="connsiteY267" fmla="*/ 3851703 h 4525940"/>
              <a:gd name="connsiteX268" fmla="*/ 506570 w 4545947"/>
              <a:gd name="connsiteY268" fmla="*/ 3857660 h 4525940"/>
              <a:gd name="connsiteX269" fmla="*/ 502197 w 4545947"/>
              <a:gd name="connsiteY269" fmla="*/ 3867530 h 4525940"/>
              <a:gd name="connsiteX270" fmla="*/ 497824 w 4545947"/>
              <a:gd name="connsiteY270" fmla="*/ 3861573 h 4525940"/>
              <a:gd name="connsiteX271" fmla="*/ 502197 w 4545947"/>
              <a:gd name="connsiteY271" fmla="*/ 3851703 h 4525940"/>
              <a:gd name="connsiteX272" fmla="*/ 2255504 w 4545947"/>
              <a:gd name="connsiteY272" fmla="*/ 3849289 h 4525940"/>
              <a:gd name="connsiteX273" fmla="*/ 2260113 w 4545947"/>
              <a:gd name="connsiteY273" fmla="*/ 3867157 h 4525940"/>
              <a:gd name="connsiteX274" fmla="*/ 2245726 w 4545947"/>
              <a:gd name="connsiteY274" fmla="*/ 3881626 h 4525940"/>
              <a:gd name="connsiteX275" fmla="*/ 2244530 w 4545947"/>
              <a:gd name="connsiteY275" fmla="*/ 3859617 h 4525940"/>
              <a:gd name="connsiteX276" fmla="*/ 2255504 w 4545947"/>
              <a:gd name="connsiteY276" fmla="*/ 3849289 h 4525940"/>
              <a:gd name="connsiteX277" fmla="*/ 3417010 w 4545947"/>
              <a:gd name="connsiteY277" fmla="*/ 3829545 h 4525940"/>
              <a:gd name="connsiteX278" fmla="*/ 3423312 w 4545947"/>
              <a:gd name="connsiteY278" fmla="*/ 3839042 h 4525940"/>
              <a:gd name="connsiteX279" fmla="*/ 3408853 w 4545947"/>
              <a:gd name="connsiteY279" fmla="*/ 3844489 h 4525940"/>
              <a:gd name="connsiteX280" fmla="*/ 3417010 w 4545947"/>
              <a:gd name="connsiteY280" fmla="*/ 3829545 h 4525940"/>
              <a:gd name="connsiteX281" fmla="*/ 2738431 w 4545947"/>
              <a:gd name="connsiteY281" fmla="*/ 3824454 h 4525940"/>
              <a:gd name="connsiteX282" fmla="*/ 2750318 w 4545947"/>
              <a:gd name="connsiteY282" fmla="*/ 3826407 h 4525940"/>
              <a:gd name="connsiteX283" fmla="*/ 2765687 w 4545947"/>
              <a:gd name="connsiteY283" fmla="*/ 3831867 h 4525940"/>
              <a:gd name="connsiteX284" fmla="*/ 2769047 w 4545947"/>
              <a:gd name="connsiteY284" fmla="*/ 3865187 h 4525940"/>
              <a:gd name="connsiteX285" fmla="*/ 2760550 w 4545947"/>
              <a:gd name="connsiteY285" fmla="*/ 3900807 h 4525940"/>
              <a:gd name="connsiteX286" fmla="*/ 2747649 w 4545947"/>
              <a:gd name="connsiteY286" fmla="*/ 3896820 h 4525940"/>
              <a:gd name="connsiteX287" fmla="*/ 2744287 w 4545947"/>
              <a:gd name="connsiteY287" fmla="*/ 3867530 h 4525940"/>
              <a:gd name="connsiteX288" fmla="*/ 2738958 w 4545947"/>
              <a:gd name="connsiteY288" fmla="*/ 3833582 h 4525940"/>
              <a:gd name="connsiteX289" fmla="*/ 2738431 w 4545947"/>
              <a:gd name="connsiteY289" fmla="*/ 3824454 h 4525940"/>
              <a:gd name="connsiteX290" fmla="*/ 1314629 w 4545947"/>
              <a:gd name="connsiteY290" fmla="*/ 3823496 h 4525940"/>
              <a:gd name="connsiteX291" fmla="*/ 1304002 w 4545947"/>
              <a:gd name="connsiteY291" fmla="*/ 3832791 h 4525940"/>
              <a:gd name="connsiteX292" fmla="*/ 1306949 w 4545947"/>
              <a:gd name="connsiteY292" fmla="*/ 3851937 h 4525940"/>
              <a:gd name="connsiteX293" fmla="*/ 1311067 w 4545947"/>
              <a:gd name="connsiteY293" fmla="*/ 3841880 h 4525940"/>
              <a:gd name="connsiteX294" fmla="*/ 1317140 w 4545947"/>
              <a:gd name="connsiteY294" fmla="*/ 3830926 h 4525940"/>
              <a:gd name="connsiteX295" fmla="*/ 1326103 w 4545947"/>
              <a:gd name="connsiteY295" fmla="*/ 3828631 h 4525940"/>
              <a:gd name="connsiteX296" fmla="*/ 1314629 w 4545947"/>
              <a:gd name="connsiteY296" fmla="*/ 3823496 h 4525940"/>
              <a:gd name="connsiteX297" fmla="*/ 3892163 w 4545947"/>
              <a:gd name="connsiteY297" fmla="*/ 3819903 h 4525940"/>
              <a:gd name="connsiteX298" fmla="*/ 3911267 w 4545947"/>
              <a:gd name="connsiteY298" fmla="*/ 3821285 h 4525940"/>
              <a:gd name="connsiteX299" fmla="*/ 3924522 w 4545947"/>
              <a:gd name="connsiteY299" fmla="*/ 3853537 h 4525940"/>
              <a:gd name="connsiteX300" fmla="*/ 3917443 w 4545947"/>
              <a:gd name="connsiteY300" fmla="*/ 3880192 h 4525940"/>
              <a:gd name="connsiteX301" fmla="*/ 3908706 w 4545947"/>
              <a:gd name="connsiteY301" fmla="*/ 3864893 h 4525940"/>
              <a:gd name="connsiteX302" fmla="*/ 3896680 w 4545947"/>
              <a:gd name="connsiteY302" fmla="*/ 3836855 h 4525940"/>
              <a:gd name="connsiteX303" fmla="*/ 3892163 w 4545947"/>
              <a:gd name="connsiteY303" fmla="*/ 3819903 h 4525940"/>
              <a:gd name="connsiteX304" fmla="*/ 1959090 w 4545947"/>
              <a:gd name="connsiteY304" fmla="*/ 3812273 h 4525940"/>
              <a:gd name="connsiteX305" fmla="*/ 1968903 w 4545947"/>
              <a:gd name="connsiteY305" fmla="*/ 3825000 h 4525940"/>
              <a:gd name="connsiteX306" fmla="*/ 1968122 w 4545947"/>
              <a:gd name="connsiteY306" fmla="*/ 3843299 h 4525940"/>
              <a:gd name="connsiteX307" fmla="*/ 1962236 w 4545947"/>
              <a:gd name="connsiteY307" fmla="*/ 3845056 h 4525940"/>
              <a:gd name="connsiteX308" fmla="*/ 1962236 w 4545947"/>
              <a:gd name="connsiteY308" fmla="*/ 3834293 h 4525940"/>
              <a:gd name="connsiteX309" fmla="*/ 1958381 w 4545947"/>
              <a:gd name="connsiteY309" fmla="*/ 3829545 h 4525940"/>
              <a:gd name="connsiteX310" fmla="*/ 1954008 w 4545947"/>
              <a:gd name="connsiteY310" fmla="*/ 3819521 h 4525940"/>
              <a:gd name="connsiteX311" fmla="*/ 1959090 w 4545947"/>
              <a:gd name="connsiteY311" fmla="*/ 3812273 h 4525940"/>
              <a:gd name="connsiteX312" fmla="*/ 486892 w 4545947"/>
              <a:gd name="connsiteY312" fmla="*/ 3810553 h 4525940"/>
              <a:gd name="connsiteX313" fmla="*/ 493451 w 4545947"/>
              <a:gd name="connsiteY313" fmla="*/ 3820049 h 4525940"/>
              <a:gd name="connsiteX314" fmla="*/ 486892 w 4545947"/>
              <a:gd name="connsiteY314" fmla="*/ 3829545 h 4525940"/>
              <a:gd name="connsiteX315" fmla="*/ 480332 w 4545947"/>
              <a:gd name="connsiteY315" fmla="*/ 3820049 h 4525940"/>
              <a:gd name="connsiteX316" fmla="*/ 486892 w 4545947"/>
              <a:gd name="connsiteY316" fmla="*/ 3810553 h 4525940"/>
              <a:gd name="connsiteX317" fmla="*/ 4113305 w 4545947"/>
              <a:gd name="connsiteY317" fmla="*/ 3809050 h 4525940"/>
              <a:gd name="connsiteX318" fmla="*/ 4110156 w 4545947"/>
              <a:gd name="connsiteY318" fmla="*/ 3823215 h 4525940"/>
              <a:gd name="connsiteX319" fmla="*/ 4098927 w 4545947"/>
              <a:gd name="connsiteY319" fmla="*/ 3835877 h 4525940"/>
              <a:gd name="connsiteX320" fmla="*/ 4087996 w 4545947"/>
              <a:gd name="connsiteY320" fmla="*/ 3830284 h 4525940"/>
              <a:gd name="connsiteX321" fmla="*/ 4098000 w 4545947"/>
              <a:gd name="connsiteY321" fmla="*/ 3809260 h 4525940"/>
              <a:gd name="connsiteX322" fmla="*/ 4113305 w 4545947"/>
              <a:gd name="connsiteY322" fmla="*/ 3809050 h 4525940"/>
              <a:gd name="connsiteX323" fmla="*/ 2043084 w 4545947"/>
              <a:gd name="connsiteY323" fmla="*/ 3794750 h 4525940"/>
              <a:gd name="connsiteX324" fmla="*/ 2041467 w 4545947"/>
              <a:gd name="connsiteY324" fmla="*/ 3801376 h 4525940"/>
              <a:gd name="connsiteX325" fmla="*/ 2045840 w 4545947"/>
              <a:gd name="connsiteY325" fmla="*/ 3807387 h 4525940"/>
              <a:gd name="connsiteX326" fmla="*/ 2050212 w 4545947"/>
              <a:gd name="connsiteY326" fmla="*/ 3810179 h 4525940"/>
              <a:gd name="connsiteX327" fmla="*/ 2054585 w 4545947"/>
              <a:gd name="connsiteY327" fmla="*/ 3816883 h 4525940"/>
              <a:gd name="connsiteX328" fmla="*/ 2058958 w 4545947"/>
              <a:gd name="connsiteY328" fmla="*/ 3812075 h 4525940"/>
              <a:gd name="connsiteX329" fmla="*/ 2050212 w 4545947"/>
              <a:gd name="connsiteY329" fmla="*/ 3799360 h 4525940"/>
              <a:gd name="connsiteX330" fmla="*/ 2043084 w 4545947"/>
              <a:gd name="connsiteY330" fmla="*/ 3794750 h 4525940"/>
              <a:gd name="connsiteX331" fmla="*/ 1790937 w 4545947"/>
              <a:gd name="connsiteY331" fmla="*/ 3787564 h 4525940"/>
              <a:gd name="connsiteX332" fmla="*/ 1789378 w 4545947"/>
              <a:gd name="connsiteY332" fmla="*/ 3795919 h 4525940"/>
              <a:gd name="connsiteX333" fmla="*/ 1779916 w 4545947"/>
              <a:gd name="connsiteY333" fmla="*/ 3812965 h 4525940"/>
              <a:gd name="connsiteX334" fmla="*/ 1781278 w 4545947"/>
              <a:gd name="connsiteY334" fmla="*/ 3814873 h 4525940"/>
              <a:gd name="connsiteX335" fmla="*/ 1790740 w 4545947"/>
              <a:gd name="connsiteY335" fmla="*/ 3797826 h 4525940"/>
              <a:gd name="connsiteX336" fmla="*/ 1790937 w 4545947"/>
              <a:gd name="connsiteY336" fmla="*/ 3787564 h 4525940"/>
              <a:gd name="connsiteX337" fmla="*/ 2023582 w 4545947"/>
              <a:gd name="connsiteY337" fmla="*/ 3786360 h 4525940"/>
              <a:gd name="connsiteX338" fmla="*/ 2017887 w 4545947"/>
              <a:gd name="connsiteY338" fmla="*/ 3793139 h 4525940"/>
              <a:gd name="connsiteX339" fmla="*/ 2016323 w 4545947"/>
              <a:gd name="connsiteY339" fmla="*/ 3808973 h 4525940"/>
              <a:gd name="connsiteX340" fmla="*/ 2023354 w 4545947"/>
              <a:gd name="connsiteY340" fmla="*/ 3794649 h 4525940"/>
              <a:gd name="connsiteX341" fmla="*/ 2023582 w 4545947"/>
              <a:gd name="connsiteY341" fmla="*/ 3786360 h 4525940"/>
              <a:gd name="connsiteX342" fmla="*/ 2013093 w 4545947"/>
              <a:gd name="connsiteY342" fmla="*/ 3774587 h 4525940"/>
              <a:gd name="connsiteX343" fmla="*/ 2003926 w 4545947"/>
              <a:gd name="connsiteY343" fmla="*/ 3785302 h 4525940"/>
              <a:gd name="connsiteX344" fmla="*/ 2005238 w 4545947"/>
              <a:gd name="connsiteY344" fmla="*/ 3787201 h 4525940"/>
              <a:gd name="connsiteX345" fmla="*/ 2014405 w 4545947"/>
              <a:gd name="connsiteY345" fmla="*/ 3776486 h 4525940"/>
              <a:gd name="connsiteX346" fmla="*/ 2013093 w 4545947"/>
              <a:gd name="connsiteY346" fmla="*/ 3774587 h 4525940"/>
              <a:gd name="connsiteX347" fmla="*/ 2633998 w 4545947"/>
              <a:gd name="connsiteY347" fmla="*/ 3759906 h 4525940"/>
              <a:gd name="connsiteX348" fmla="*/ 2640558 w 4545947"/>
              <a:gd name="connsiteY348" fmla="*/ 3769402 h 4525940"/>
              <a:gd name="connsiteX349" fmla="*/ 2633998 w 4545947"/>
              <a:gd name="connsiteY349" fmla="*/ 3778898 h 4525940"/>
              <a:gd name="connsiteX350" fmla="*/ 2627439 w 4545947"/>
              <a:gd name="connsiteY350" fmla="*/ 3769402 h 4525940"/>
              <a:gd name="connsiteX351" fmla="*/ 2633998 w 4545947"/>
              <a:gd name="connsiteY351" fmla="*/ 3759906 h 4525940"/>
              <a:gd name="connsiteX352" fmla="*/ 4107673 w 4545947"/>
              <a:gd name="connsiteY352" fmla="*/ 3751286 h 4525940"/>
              <a:gd name="connsiteX353" fmla="*/ 4111580 w 4545947"/>
              <a:gd name="connsiteY353" fmla="*/ 3768885 h 4525940"/>
              <a:gd name="connsiteX354" fmla="*/ 4101115 w 4545947"/>
              <a:gd name="connsiteY354" fmla="*/ 3763270 h 4525940"/>
              <a:gd name="connsiteX355" fmla="*/ 4107673 w 4545947"/>
              <a:gd name="connsiteY355" fmla="*/ 3751286 h 4525940"/>
              <a:gd name="connsiteX356" fmla="*/ 1769471 w 4545947"/>
              <a:gd name="connsiteY356" fmla="*/ 3740913 h 4525940"/>
              <a:gd name="connsiteX357" fmla="*/ 1766156 w 4545947"/>
              <a:gd name="connsiteY357" fmla="*/ 3773065 h 4525940"/>
              <a:gd name="connsiteX358" fmla="*/ 1779275 w 4545947"/>
              <a:gd name="connsiteY358" fmla="*/ 3778756 h 4525940"/>
              <a:gd name="connsiteX359" fmla="*/ 1787837 w 4545947"/>
              <a:gd name="connsiteY359" fmla="*/ 3764115 h 4525940"/>
              <a:gd name="connsiteX360" fmla="*/ 1769471 w 4545947"/>
              <a:gd name="connsiteY360" fmla="*/ 3740913 h 4525940"/>
              <a:gd name="connsiteX361" fmla="*/ 2273182 w 4545947"/>
              <a:gd name="connsiteY361" fmla="*/ 3737793 h 4525940"/>
              <a:gd name="connsiteX362" fmla="*/ 2268859 w 4545947"/>
              <a:gd name="connsiteY362" fmla="*/ 3747618 h 4525940"/>
              <a:gd name="connsiteX363" fmla="*/ 2274901 w 4545947"/>
              <a:gd name="connsiteY363" fmla="*/ 3743750 h 4525940"/>
              <a:gd name="connsiteX364" fmla="*/ 2273182 w 4545947"/>
              <a:gd name="connsiteY364" fmla="*/ 3737793 h 4525940"/>
              <a:gd name="connsiteX365" fmla="*/ 2067015 w 4545947"/>
              <a:gd name="connsiteY365" fmla="*/ 3729938 h 4525940"/>
              <a:gd name="connsiteX366" fmla="*/ 2060477 w 4545947"/>
              <a:gd name="connsiteY366" fmla="*/ 3736003 h 4525940"/>
              <a:gd name="connsiteX367" fmla="*/ 2067999 w 4545947"/>
              <a:gd name="connsiteY367" fmla="*/ 3772567 h 4525940"/>
              <a:gd name="connsiteX368" fmla="*/ 2076450 w 4545947"/>
              <a:gd name="connsiteY368" fmla="*/ 3778898 h 4525940"/>
              <a:gd name="connsiteX369" fmla="*/ 2091750 w 4545947"/>
              <a:gd name="connsiteY369" fmla="*/ 3777750 h 4525940"/>
              <a:gd name="connsiteX370" fmla="*/ 2089569 w 4545947"/>
              <a:gd name="connsiteY370" fmla="*/ 3741890 h 4525940"/>
              <a:gd name="connsiteX371" fmla="*/ 2072951 w 4545947"/>
              <a:gd name="connsiteY371" fmla="*/ 3732937 h 4525940"/>
              <a:gd name="connsiteX372" fmla="*/ 2067015 w 4545947"/>
              <a:gd name="connsiteY372" fmla="*/ 3729938 h 4525940"/>
              <a:gd name="connsiteX373" fmla="*/ 1479546 w 4545947"/>
              <a:gd name="connsiteY373" fmla="*/ 3728251 h 4525940"/>
              <a:gd name="connsiteX374" fmla="*/ 1486105 w 4545947"/>
              <a:gd name="connsiteY374" fmla="*/ 3737748 h 4525940"/>
              <a:gd name="connsiteX375" fmla="*/ 1479546 w 4545947"/>
              <a:gd name="connsiteY375" fmla="*/ 3747244 h 4525940"/>
              <a:gd name="connsiteX376" fmla="*/ 1472986 w 4545947"/>
              <a:gd name="connsiteY376" fmla="*/ 3737748 h 4525940"/>
              <a:gd name="connsiteX377" fmla="*/ 1479546 w 4545947"/>
              <a:gd name="connsiteY377" fmla="*/ 3728251 h 4525940"/>
              <a:gd name="connsiteX378" fmla="*/ 2608904 w 4545947"/>
              <a:gd name="connsiteY378" fmla="*/ 3725099 h 4525940"/>
              <a:gd name="connsiteX379" fmla="*/ 2607432 w 4545947"/>
              <a:gd name="connsiteY379" fmla="*/ 3734424 h 4525940"/>
              <a:gd name="connsiteX380" fmla="*/ 2597518 w 4545947"/>
              <a:gd name="connsiteY380" fmla="*/ 3735200 h 4525940"/>
              <a:gd name="connsiteX381" fmla="*/ 2599274 w 4545947"/>
              <a:gd name="connsiteY381" fmla="*/ 3725818 h 4525940"/>
              <a:gd name="connsiteX382" fmla="*/ 2608904 w 4545947"/>
              <a:gd name="connsiteY382" fmla="*/ 3725099 h 4525940"/>
              <a:gd name="connsiteX383" fmla="*/ 2581523 w 4545947"/>
              <a:gd name="connsiteY383" fmla="*/ 3714641 h 4525940"/>
              <a:gd name="connsiteX384" fmla="*/ 2587244 w 4545947"/>
              <a:gd name="connsiteY384" fmla="*/ 3721446 h 4525940"/>
              <a:gd name="connsiteX385" fmla="*/ 2581523 w 4545947"/>
              <a:gd name="connsiteY385" fmla="*/ 3728251 h 4525940"/>
              <a:gd name="connsiteX386" fmla="*/ 2575802 w 4545947"/>
              <a:gd name="connsiteY386" fmla="*/ 3721446 h 4525940"/>
              <a:gd name="connsiteX387" fmla="*/ 2581523 w 4545947"/>
              <a:gd name="connsiteY387" fmla="*/ 3714641 h 4525940"/>
              <a:gd name="connsiteX388" fmla="*/ 1636912 w 4545947"/>
              <a:gd name="connsiteY388" fmla="*/ 3707003 h 4525940"/>
              <a:gd name="connsiteX389" fmla="*/ 1641308 w 4545947"/>
              <a:gd name="connsiteY389" fmla="*/ 3709343 h 4525940"/>
              <a:gd name="connsiteX390" fmla="*/ 1649617 w 4545947"/>
              <a:gd name="connsiteY390" fmla="*/ 3721661 h 4525940"/>
              <a:gd name="connsiteX391" fmla="*/ 1666924 w 4545947"/>
              <a:gd name="connsiteY391" fmla="*/ 3745404 h 4525940"/>
              <a:gd name="connsiteX392" fmla="*/ 1682439 w 4545947"/>
              <a:gd name="connsiteY392" fmla="*/ 3775146 h 4525940"/>
              <a:gd name="connsiteX393" fmla="*/ 1691633 w 4545947"/>
              <a:gd name="connsiteY393" fmla="*/ 3798355 h 4525940"/>
              <a:gd name="connsiteX394" fmla="*/ 1707406 w 4545947"/>
              <a:gd name="connsiteY394" fmla="*/ 3829545 h 4525940"/>
              <a:gd name="connsiteX395" fmla="*/ 1705845 w 4545947"/>
              <a:gd name="connsiteY395" fmla="*/ 3849700 h 4525940"/>
              <a:gd name="connsiteX396" fmla="*/ 1692422 w 4545947"/>
              <a:gd name="connsiteY396" fmla="*/ 3865948 h 4525940"/>
              <a:gd name="connsiteX397" fmla="*/ 1670861 w 4545947"/>
              <a:gd name="connsiteY397" fmla="*/ 3868731 h 4525940"/>
              <a:gd name="connsiteX398" fmla="*/ 1656649 w 4545947"/>
              <a:gd name="connsiteY398" fmla="*/ 3850875 h 4525940"/>
              <a:gd name="connsiteX399" fmla="*/ 1648997 w 4545947"/>
              <a:gd name="connsiteY399" fmla="*/ 3835823 h 4525940"/>
              <a:gd name="connsiteX400" fmla="*/ 1646810 w 4545947"/>
              <a:gd name="connsiteY400" fmla="*/ 3825485 h 4525940"/>
              <a:gd name="connsiteX401" fmla="*/ 1652276 w 4545947"/>
              <a:gd name="connsiteY401" fmla="*/ 3810800 h 4525940"/>
              <a:gd name="connsiteX402" fmla="*/ 1632598 w 4545947"/>
              <a:gd name="connsiteY402" fmla="*/ 3791898 h 4525940"/>
              <a:gd name="connsiteX403" fmla="*/ 1617293 w 4545947"/>
              <a:gd name="connsiteY403" fmla="*/ 3788754 h 4525940"/>
              <a:gd name="connsiteX404" fmla="*/ 1626485 w 4545947"/>
              <a:gd name="connsiteY404" fmla="*/ 3770295 h 4525940"/>
              <a:gd name="connsiteX405" fmla="*/ 1632758 w 4545947"/>
              <a:gd name="connsiteY405" fmla="*/ 3735953 h 4525940"/>
              <a:gd name="connsiteX406" fmla="*/ 1636912 w 4545947"/>
              <a:gd name="connsiteY406" fmla="*/ 3707003 h 4525940"/>
              <a:gd name="connsiteX407" fmla="*/ 777691 w 4545947"/>
              <a:gd name="connsiteY407" fmla="*/ 3702928 h 4525940"/>
              <a:gd name="connsiteX408" fmla="*/ 786437 w 4545947"/>
              <a:gd name="connsiteY408" fmla="*/ 3715590 h 4525940"/>
              <a:gd name="connsiteX409" fmla="*/ 774193 w 4545947"/>
              <a:gd name="connsiteY409" fmla="*/ 3720654 h 4525940"/>
              <a:gd name="connsiteX410" fmla="*/ 777691 w 4545947"/>
              <a:gd name="connsiteY410" fmla="*/ 3702928 h 4525940"/>
              <a:gd name="connsiteX411" fmla="*/ 2265717 w 4545947"/>
              <a:gd name="connsiteY411" fmla="*/ 3690468 h 4525940"/>
              <a:gd name="connsiteX412" fmla="*/ 2265579 w 4545947"/>
              <a:gd name="connsiteY412" fmla="*/ 3699080 h 4525940"/>
              <a:gd name="connsiteX413" fmla="*/ 2273577 w 4545947"/>
              <a:gd name="connsiteY413" fmla="*/ 3716288 h 4525940"/>
              <a:gd name="connsiteX414" fmla="*/ 2276176 w 4545947"/>
              <a:gd name="connsiteY414" fmla="*/ 3716964 h 4525940"/>
              <a:gd name="connsiteX415" fmla="*/ 2275968 w 4545947"/>
              <a:gd name="connsiteY415" fmla="*/ 3699554 h 4525940"/>
              <a:gd name="connsiteX416" fmla="*/ 2265717 w 4545947"/>
              <a:gd name="connsiteY416" fmla="*/ 3690468 h 4525940"/>
              <a:gd name="connsiteX417" fmla="*/ 4393541 w 4545947"/>
              <a:gd name="connsiteY417" fmla="*/ 3685390 h 4525940"/>
              <a:gd name="connsiteX418" fmla="*/ 4405396 w 4545947"/>
              <a:gd name="connsiteY418" fmla="*/ 3698051 h 4525940"/>
              <a:gd name="connsiteX419" fmla="*/ 4406971 w 4545947"/>
              <a:gd name="connsiteY419" fmla="*/ 3759714 h 4525940"/>
              <a:gd name="connsiteX420" fmla="*/ 4415127 w 4545947"/>
              <a:gd name="connsiteY420" fmla="*/ 3786745 h 4525940"/>
              <a:gd name="connsiteX421" fmla="*/ 4401479 w 4545947"/>
              <a:gd name="connsiteY421" fmla="*/ 3806464 h 4525940"/>
              <a:gd name="connsiteX422" fmla="*/ 4398473 w 4545947"/>
              <a:gd name="connsiteY422" fmla="*/ 3784626 h 4525940"/>
              <a:gd name="connsiteX423" fmla="*/ 4391914 w 4545947"/>
              <a:gd name="connsiteY423" fmla="*/ 3757645 h 4525940"/>
              <a:gd name="connsiteX424" fmla="*/ 4385355 w 4545947"/>
              <a:gd name="connsiteY424" fmla="*/ 3728704 h 4525940"/>
              <a:gd name="connsiteX425" fmla="*/ 4378795 w 4545947"/>
              <a:gd name="connsiteY425" fmla="*/ 3709259 h 4525940"/>
              <a:gd name="connsiteX426" fmla="*/ 4372303 w 4545947"/>
              <a:gd name="connsiteY426" fmla="*/ 3704511 h 4525940"/>
              <a:gd name="connsiteX427" fmla="*/ 4393541 w 4545947"/>
              <a:gd name="connsiteY427" fmla="*/ 3685390 h 4525940"/>
              <a:gd name="connsiteX428" fmla="*/ 444041 w 4545947"/>
              <a:gd name="connsiteY428" fmla="*/ 3678411 h 4525940"/>
              <a:gd name="connsiteX429" fmla="*/ 453220 w 4545947"/>
              <a:gd name="connsiteY429" fmla="*/ 3685202 h 4525940"/>
              <a:gd name="connsiteX430" fmla="*/ 449722 w 4545947"/>
              <a:gd name="connsiteY430" fmla="*/ 3709259 h 4525940"/>
              <a:gd name="connsiteX431" fmla="*/ 440976 w 4545947"/>
              <a:gd name="connsiteY431" fmla="*/ 3693432 h 4525940"/>
              <a:gd name="connsiteX432" fmla="*/ 444041 w 4545947"/>
              <a:gd name="connsiteY432" fmla="*/ 3678411 h 4525940"/>
              <a:gd name="connsiteX433" fmla="*/ 4470885 w 4545947"/>
              <a:gd name="connsiteY433" fmla="*/ 3671274 h 4525940"/>
              <a:gd name="connsiteX434" fmla="*/ 4472813 w 4545947"/>
              <a:gd name="connsiteY434" fmla="*/ 3677605 h 4525940"/>
              <a:gd name="connsiteX435" fmla="*/ 4468182 w 4545947"/>
              <a:gd name="connsiteY435" fmla="*/ 3683935 h 4525940"/>
              <a:gd name="connsiteX436" fmla="*/ 4466253 w 4545947"/>
              <a:gd name="connsiteY436" fmla="*/ 3677605 h 4525940"/>
              <a:gd name="connsiteX437" fmla="*/ 4470885 w 4545947"/>
              <a:gd name="connsiteY437" fmla="*/ 3671274 h 4525940"/>
              <a:gd name="connsiteX438" fmla="*/ 4171728 w 4545947"/>
              <a:gd name="connsiteY438" fmla="*/ 3669684 h 4525940"/>
              <a:gd name="connsiteX439" fmla="*/ 4194226 w 4545947"/>
              <a:gd name="connsiteY439" fmla="*/ 3722097 h 4525940"/>
              <a:gd name="connsiteX440" fmla="*/ 4198412 w 4545947"/>
              <a:gd name="connsiteY440" fmla="*/ 3740901 h 4525940"/>
              <a:gd name="connsiteX441" fmla="*/ 4201692 w 4545947"/>
              <a:gd name="connsiteY441" fmla="*/ 3750410 h 4525940"/>
              <a:gd name="connsiteX442" fmla="*/ 4195132 w 4545947"/>
              <a:gd name="connsiteY442" fmla="*/ 3759906 h 4525940"/>
              <a:gd name="connsiteX443" fmla="*/ 4188573 w 4545947"/>
              <a:gd name="connsiteY443" fmla="*/ 3750410 h 4525940"/>
              <a:gd name="connsiteX444" fmla="*/ 4183725 w 4545947"/>
              <a:gd name="connsiteY444" fmla="*/ 3740913 h 4525940"/>
              <a:gd name="connsiteX445" fmla="*/ 4181714 w 4545947"/>
              <a:gd name="connsiteY445" fmla="*/ 3724559 h 4525940"/>
              <a:gd name="connsiteX446" fmla="*/ 4176068 w 4545947"/>
              <a:gd name="connsiteY446" fmla="*/ 3704994 h 4525940"/>
              <a:gd name="connsiteX447" fmla="*/ 4165810 w 4545947"/>
              <a:gd name="connsiteY447" fmla="*/ 3684278 h 4525940"/>
              <a:gd name="connsiteX448" fmla="*/ 4171728 w 4545947"/>
              <a:gd name="connsiteY448" fmla="*/ 3669684 h 4525940"/>
              <a:gd name="connsiteX449" fmla="*/ 3781533 w 4545947"/>
              <a:gd name="connsiteY449" fmla="*/ 3666259 h 4525940"/>
              <a:gd name="connsiteX450" fmla="*/ 3772184 w 4545947"/>
              <a:gd name="connsiteY450" fmla="*/ 3676181 h 4525940"/>
              <a:gd name="connsiteX451" fmla="*/ 3767900 w 4545947"/>
              <a:gd name="connsiteY451" fmla="*/ 3703257 h 4525940"/>
              <a:gd name="connsiteX452" fmla="*/ 3770849 w 4545947"/>
              <a:gd name="connsiteY452" fmla="*/ 3722178 h 4525940"/>
              <a:gd name="connsiteX453" fmla="*/ 3772888 w 4545947"/>
              <a:gd name="connsiteY453" fmla="*/ 3728251 h 4525940"/>
              <a:gd name="connsiteX454" fmla="*/ 3777518 w 4545947"/>
              <a:gd name="connsiteY454" fmla="*/ 3735634 h 4525940"/>
              <a:gd name="connsiteX455" fmla="*/ 3797197 w 4545947"/>
              <a:gd name="connsiteY455" fmla="*/ 3763763 h 4525940"/>
              <a:gd name="connsiteX456" fmla="*/ 3802839 w 4545947"/>
              <a:gd name="connsiteY456" fmla="*/ 3743591 h 4525940"/>
              <a:gd name="connsiteX457" fmla="*/ 3789493 w 4545947"/>
              <a:gd name="connsiteY457" fmla="*/ 3668785 h 4525940"/>
              <a:gd name="connsiteX458" fmla="*/ 3781533 w 4545947"/>
              <a:gd name="connsiteY458" fmla="*/ 3666259 h 4525940"/>
              <a:gd name="connsiteX459" fmla="*/ 440976 w 4545947"/>
              <a:gd name="connsiteY459" fmla="*/ 3652281 h 4525940"/>
              <a:gd name="connsiteX460" fmla="*/ 445349 w 4545947"/>
              <a:gd name="connsiteY460" fmla="*/ 3658238 h 4525940"/>
              <a:gd name="connsiteX461" fmla="*/ 440976 w 4545947"/>
              <a:gd name="connsiteY461" fmla="*/ 3668109 h 4525940"/>
              <a:gd name="connsiteX462" fmla="*/ 436603 w 4545947"/>
              <a:gd name="connsiteY462" fmla="*/ 3662151 h 4525940"/>
              <a:gd name="connsiteX463" fmla="*/ 440976 w 4545947"/>
              <a:gd name="connsiteY463" fmla="*/ 3652281 h 4525940"/>
              <a:gd name="connsiteX464" fmla="*/ 3171373 w 4545947"/>
              <a:gd name="connsiteY464" fmla="*/ 3641045 h 4525940"/>
              <a:gd name="connsiteX465" fmla="*/ 3181007 w 4545947"/>
              <a:gd name="connsiteY465" fmla="*/ 3687671 h 4525940"/>
              <a:gd name="connsiteX466" fmla="*/ 3187158 w 4545947"/>
              <a:gd name="connsiteY466" fmla="*/ 3730762 h 4525940"/>
              <a:gd name="connsiteX467" fmla="*/ 3183347 w 4545947"/>
              <a:gd name="connsiteY467" fmla="*/ 3759906 h 4525940"/>
              <a:gd name="connsiteX468" fmla="*/ 3172415 w 4545947"/>
              <a:gd name="connsiteY468" fmla="*/ 3740122 h 4525940"/>
              <a:gd name="connsiteX469" fmla="*/ 3169682 w 4545947"/>
              <a:gd name="connsiteY469" fmla="*/ 3702136 h 4525940"/>
              <a:gd name="connsiteX470" fmla="*/ 3165309 w 4545947"/>
              <a:gd name="connsiteY470" fmla="*/ 3683935 h 4525940"/>
              <a:gd name="connsiteX471" fmla="*/ 3165690 w 4545947"/>
              <a:gd name="connsiteY471" fmla="*/ 3642444 h 4525940"/>
              <a:gd name="connsiteX472" fmla="*/ 3171373 w 4545947"/>
              <a:gd name="connsiteY472" fmla="*/ 3641045 h 4525940"/>
              <a:gd name="connsiteX473" fmla="*/ 4333348 w 4545947"/>
              <a:gd name="connsiteY473" fmla="*/ 3639619 h 4525940"/>
              <a:gd name="connsiteX474" fmla="*/ 4337253 w 4545947"/>
              <a:gd name="connsiteY474" fmla="*/ 3655447 h 4525940"/>
              <a:gd name="connsiteX475" fmla="*/ 4326564 w 4545947"/>
              <a:gd name="connsiteY475" fmla="*/ 3665514 h 4525940"/>
              <a:gd name="connsiteX476" fmla="*/ 4333348 w 4545947"/>
              <a:gd name="connsiteY476" fmla="*/ 3639619 h 4525940"/>
              <a:gd name="connsiteX477" fmla="*/ 3189618 w 4545947"/>
              <a:gd name="connsiteY477" fmla="*/ 3639619 h 4525940"/>
              <a:gd name="connsiteX478" fmla="*/ 3191547 w 4545947"/>
              <a:gd name="connsiteY478" fmla="*/ 3645950 h 4525940"/>
              <a:gd name="connsiteX479" fmla="*/ 3186916 w 4545947"/>
              <a:gd name="connsiteY479" fmla="*/ 3652281 h 4525940"/>
              <a:gd name="connsiteX480" fmla="*/ 3184987 w 4545947"/>
              <a:gd name="connsiteY480" fmla="*/ 3645950 h 4525940"/>
              <a:gd name="connsiteX481" fmla="*/ 3189618 w 4545947"/>
              <a:gd name="connsiteY481" fmla="*/ 3639619 h 4525940"/>
              <a:gd name="connsiteX482" fmla="*/ 682150 w 4545947"/>
              <a:gd name="connsiteY482" fmla="*/ 3636920 h 4525940"/>
              <a:gd name="connsiteX483" fmla="*/ 700310 w 4545947"/>
              <a:gd name="connsiteY483" fmla="*/ 3638085 h 4525940"/>
              <a:gd name="connsiteX484" fmla="*/ 715615 w 4545947"/>
              <a:gd name="connsiteY484" fmla="*/ 3654597 h 4525940"/>
              <a:gd name="connsiteX485" fmla="*/ 688710 w 4545947"/>
              <a:gd name="connsiteY485" fmla="*/ 3654982 h 4525940"/>
              <a:gd name="connsiteX486" fmla="*/ 682150 w 4545947"/>
              <a:gd name="connsiteY486" fmla="*/ 3636920 h 4525940"/>
              <a:gd name="connsiteX487" fmla="*/ 1590882 w 4545947"/>
              <a:gd name="connsiteY487" fmla="*/ 3636609 h 4525940"/>
              <a:gd name="connsiteX488" fmla="*/ 1604107 w 4545947"/>
              <a:gd name="connsiteY488" fmla="*/ 3653864 h 4525940"/>
              <a:gd name="connsiteX489" fmla="*/ 1593415 w 4545947"/>
              <a:gd name="connsiteY489" fmla="*/ 3650082 h 4525940"/>
              <a:gd name="connsiteX490" fmla="*/ 1590882 w 4545947"/>
              <a:gd name="connsiteY490" fmla="*/ 3636609 h 4525940"/>
              <a:gd name="connsiteX491" fmla="*/ 4351611 w 4545947"/>
              <a:gd name="connsiteY491" fmla="*/ 3620852 h 4525940"/>
              <a:gd name="connsiteX492" fmla="*/ 4353385 w 4545947"/>
              <a:gd name="connsiteY492" fmla="*/ 3628541 h 4525940"/>
              <a:gd name="connsiteX493" fmla="*/ 4363301 w 4545947"/>
              <a:gd name="connsiteY493" fmla="*/ 3639620 h 4525940"/>
              <a:gd name="connsiteX494" fmla="*/ 4372776 w 4545947"/>
              <a:gd name="connsiteY494" fmla="*/ 3671956 h 4525940"/>
              <a:gd name="connsiteX495" fmla="*/ 4370269 w 4545947"/>
              <a:gd name="connsiteY495" fmla="*/ 3673264 h 4525940"/>
              <a:gd name="connsiteX496" fmla="*/ 4360839 w 4545947"/>
              <a:gd name="connsiteY496" fmla="*/ 3655351 h 4525940"/>
              <a:gd name="connsiteX497" fmla="*/ 4350879 w 4545947"/>
              <a:gd name="connsiteY497" fmla="*/ 3628828 h 4525940"/>
              <a:gd name="connsiteX498" fmla="*/ 4351611 w 4545947"/>
              <a:gd name="connsiteY498" fmla="*/ 3620852 h 4525940"/>
              <a:gd name="connsiteX499" fmla="*/ 1737013 w 4545947"/>
              <a:gd name="connsiteY499" fmla="*/ 3614296 h 4525940"/>
              <a:gd name="connsiteX500" fmla="*/ 1726616 w 4545947"/>
              <a:gd name="connsiteY500" fmla="*/ 3629068 h 4525940"/>
              <a:gd name="connsiteX501" fmla="*/ 1751414 w 4545947"/>
              <a:gd name="connsiteY501" fmla="*/ 3642608 h 4525940"/>
              <a:gd name="connsiteX502" fmla="*/ 1737013 w 4545947"/>
              <a:gd name="connsiteY502" fmla="*/ 3614296 h 4525940"/>
              <a:gd name="connsiteX503" fmla="*/ 807126 w 4545947"/>
              <a:gd name="connsiteY503" fmla="*/ 3610806 h 4525940"/>
              <a:gd name="connsiteX504" fmla="*/ 805224 w 4545947"/>
              <a:gd name="connsiteY504" fmla="*/ 3621284 h 4525940"/>
              <a:gd name="connsiteX505" fmla="*/ 797792 w 4545947"/>
              <a:gd name="connsiteY505" fmla="*/ 3621616 h 4525940"/>
              <a:gd name="connsiteX506" fmla="*/ 799775 w 4545947"/>
              <a:gd name="connsiteY506" fmla="*/ 3610934 h 4525940"/>
              <a:gd name="connsiteX507" fmla="*/ 807126 w 4545947"/>
              <a:gd name="connsiteY507" fmla="*/ 3610806 h 4525940"/>
              <a:gd name="connsiteX508" fmla="*/ 2205452 w 4545947"/>
              <a:gd name="connsiteY508" fmla="*/ 3601634 h 4525940"/>
              <a:gd name="connsiteX509" fmla="*/ 2198892 w 4545947"/>
              <a:gd name="connsiteY509" fmla="*/ 3607965 h 4525940"/>
              <a:gd name="connsiteX510" fmla="*/ 2205452 w 4545947"/>
              <a:gd name="connsiteY510" fmla="*/ 3614296 h 4525940"/>
              <a:gd name="connsiteX511" fmla="*/ 2212011 w 4545947"/>
              <a:gd name="connsiteY511" fmla="*/ 3607965 h 4525940"/>
              <a:gd name="connsiteX512" fmla="*/ 2205452 w 4545947"/>
              <a:gd name="connsiteY512" fmla="*/ 3601634 h 4525940"/>
              <a:gd name="connsiteX513" fmla="*/ 2052748 w 4545947"/>
              <a:gd name="connsiteY513" fmla="*/ 3583925 h 4525940"/>
              <a:gd name="connsiteX514" fmla="*/ 2050662 w 4545947"/>
              <a:gd name="connsiteY514" fmla="*/ 3643478 h 4525940"/>
              <a:gd name="connsiteX515" fmla="*/ 2072077 w 4545947"/>
              <a:gd name="connsiteY515" fmla="*/ 3648742 h 4525940"/>
              <a:gd name="connsiteX516" fmla="*/ 2077017 w 4545947"/>
              <a:gd name="connsiteY516" fmla="*/ 3643293 h 4525940"/>
              <a:gd name="connsiteX517" fmla="*/ 2079985 w 4545947"/>
              <a:gd name="connsiteY517" fmla="*/ 3642083 h 4525940"/>
              <a:gd name="connsiteX518" fmla="*/ 2069928 w 4545947"/>
              <a:gd name="connsiteY518" fmla="*/ 3609249 h 4525940"/>
              <a:gd name="connsiteX519" fmla="*/ 2052748 w 4545947"/>
              <a:gd name="connsiteY519" fmla="*/ 3583925 h 4525940"/>
              <a:gd name="connsiteX520" fmla="*/ 2102688 w 4545947"/>
              <a:gd name="connsiteY520" fmla="*/ 3582642 h 4525940"/>
              <a:gd name="connsiteX521" fmla="*/ 2091367 w 4545947"/>
              <a:gd name="connsiteY521" fmla="*/ 3617476 h 4525940"/>
              <a:gd name="connsiteX522" fmla="*/ 2102688 w 4545947"/>
              <a:gd name="connsiteY522" fmla="*/ 3633289 h 4525940"/>
              <a:gd name="connsiteX523" fmla="*/ 2114008 w 4545947"/>
              <a:gd name="connsiteY523" fmla="*/ 3617476 h 4525940"/>
              <a:gd name="connsiteX524" fmla="*/ 2102688 w 4545947"/>
              <a:gd name="connsiteY524" fmla="*/ 3582642 h 4525940"/>
              <a:gd name="connsiteX525" fmla="*/ 2147146 w 4545947"/>
              <a:gd name="connsiteY525" fmla="*/ 3571020 h 4525940"/>
              <a:gd name="connsiteX526" fmla="*/ 2137738 w 4545947"/>
              <a:gd name="connsiteY526" fmla="*/ 3608493 h 4525940"/>
              <a:gd name="connsiteX527" fmla="*/ 2152797 w 4545947"/>
              <a:gd name="connsiteY527" fmla="*/ 3638304 h 4525940"/>
              <a:gd name="connsiteX528" fmla="*/ 2161723 w 4545947"/>
              <a:gd name="connsiteY528" fmla="*/ 3608655 h 4525940"/>
              <a:gd name="connsiteX529" fmla="*/ 2153945 w 4545947"/>
              <a:gd name="connsiteY529" fmla="*/ 3573836 h 4525940"/>
              <a:gd name="connsiteX530" fmla="*/ 2147146 w 4545947"/>
              <a:gd name="connsiteY530" fmla="*/ 3571020 h 4525940"/>
              <a:gd name="connsiteX531" fmla="*/ 1798001 w 4545947"/>
              <a:gd name="connsiteY531" fmla="*/ 3564738 h 4525940"/>
              <a:gd name="connsiteX532" fmla="*/ 1804404 w 4545947"/>
              <a:gd name="connsiteY532" fmla="*/ 3690298 h 4525940"/>
              <a:gd name="connsiteX533" fmla="*/ 1825007 w 4545947"/>
              <a:gd name="connsiteY533" fmla="*/ 3705989 h 4525940"/>
              <a:gd name="connsiteX534" fmla="*/ 1854833 w 4545947"/>
              <a:gd name="connsiteY534" fmla="*/ 3708350 h 4525940"/>
              <a:gd name="connsiteX535" fmla="*/ 1852022 w 4545947"/>
              <a:gd name="connsiteY535" fmla="*/ 3687323 h 4525940"/>
              <a:gd name="connsiteX536" fmla="*/ 1844685 w 4545947"/>
              <a:gd name="connsiteY536" fmla="*/ 3667656 h 4525940"/>
              <a:gd name="connsiteX537" fmla="*/ 1839844 w 4545947"/>
              <a:gd name="connsiteY537" fmla="*/ 3658612 h 4525940"/>
              <a:gd name="connsiteX538" fmla="*/ 1837584 w 4545947"/>
              <a:gd name="connsiteY538" fmla="*/ 3648876 h 4525940"/>
              <a:gd name="connsiteX539" fmla="*/ 1834195 w 4545947"/>
              <a:gd name="connsiteY539" fmla="*/ 3635824 h 4525940"/>
              <a:gd name="connsiteX540" fmla="*/ 1825589 w 4545947"/>
              <a:gd name="connsiteY540" fmla="*/ 3608642 h 4525940"/>
              <a:gd name="connsiteX541" fmla="*/ 1798001 w 4545947"/>
              <a:gd name="connsiteY541" fmla="*/ 3564738 h 4525940"/>
              <a:gd name="connsiteX542" fmla="*/ 4146521 w 4545947"/>
              <a:gd name="connsiteY542" fmla="*/ 3557318 h 4525940"/>
              <a:gd name="connsiteX543" fmla="*/ 4155093 w 4545947"/>
              <a:gd name="connsiteY543" fmla="*/ 3571287 h 4525940"/>
              <a:gd name="connsiteX544" fmla="*/ 4148124 w 4545947"/>
              <a:gd name="connsiteY544" fmla="*/ 3584178 h 4525940"/>
              <a:gd name="connsiteX545" fmla="*/ 4146521 w 4545947"/>
              <a:gd name="connsiteY545" fmla="*/ 3557318 h 4525940"/>
              <a:gd name="connsiteX546" fmla="*/ 1509191 w 4545947"/>
              <a:gd name="connsiteY546" fmla="*/ 3547053 h 4525940"/>
              <a:gd name="connsiteX547" fmla="*/ 1508315 w 4545947"/>
              <a:gd name="connsiteY547" fmla="*/ 3553625 h 4525940"/>
              <a:gd name="connsiteX548" fmla="*/ 1510612 w 4545947"/>
              <a:gd name="connsiteY548" fmla="*/ 3561935 h 4525940"/>
              <a:gd name="connsiteX549" fmla="*/ 1510957 w 4545947"/>
              <a:gd name="connsiteY549" fmla="*/ 3549800 h 4525940"/>
              <a:gd name="connsiteX550" fmla="*/ 1510957 w 4545947"/>
              <a:gd name="connsiteY550" fmla="*/ 3549800 h 4525940"/>
              <a:gd name="connsiteX551" fmla="*/ 1509191 w 4545947"/>
              <a:gd name="connsiteY551" fmla="*/ 3547053 h 4525940"/>
              <a:gd name="connsiteX552" fmla="*/ 4384535 w 4545947"/>
              <a:gd name="connsiteY552" fmla="*/ 3546663 h 4525940"/>
              <a:gd name="connsiteX553" fmla="*/ 4387177 w 4545947"/>
              <a:gd name="connsiteY553" fmla="*/ 3550488 h 4525940"/>
              <a:gd name="connsiteX554" fmla="*/ 4392916 w 4545947"/>
              <a:gd name="connsiteY554" fmla="*/ 3547163 h 4525940"/>
              <a:gd name="connsiteX555" fmla="*/ 4392916 w 4545947"/>
              <a:gd name="connsiteY555" fmla="*/ 3547162 h 4525940"/>
              <a:gd name="connsiteX556" fmla="*/ 4384535 w 4545947"/>
              <a:gd name="connsiteY556" fmla="*/ 3546663 h 4525940"/>
              <a:gd name="connsiteX557" fmla="*/ 2522488 w 4545947"/>
              <a:gd name="connsiteY557" fmla="*/ 3535161 h 4525940"/>
              <a:gd name="connsiteX558" fmla="*/ 2512028 w 4545947"/>
              <a:gd name="connsiteY558" fmla="*/ 3569062 h 4525940"/>
              <a:gd name="connsiteX559" fmla="*/ 2537303 w 4545947"/>
              <a:gd name="connsiteY559" fmla="*/ 3568397 h 4525940"/>
              <a:gd name="connsiteX560" fmla="*/ 2522488 w 4545947"/>
              <a:gd name="connsiteY560" fmla="*/ 3535161 h 4525940"/>
              <a:gd name="connsiteX561" fmla="*/ 4512472 w 4545947"/>
              <a:gd name="connsiteY561" fmla="*/ 3529100 h 4525940"/>
              <a:gd name="connsiteX562" fmla="*/ 4509725 w 4545947"/>
              <a:gd name="connsiteY562" fmla="*/ 3538326 h 4525940"/>
              <a:gd name="connsiteX563" fmla="*/ 4505654 w 4545947"/>
              <a:gd name="connsiteY563" fmla="*/ 3531892 h 4525940"/>
              <a:gd name="connsiteX564" fmla="*/ 4512472 w 4545947"/>
              <a:gd name="connsiteY564" fmla="*/ 3529100 h 4525940"/>
              <a:gd name="connsiteX565" fmla="*/ 1784685 w 4545947"/>
              <a:gd name="connsiteY565" fmla="*/ 3528061 h 4525940"/>
              <a:gd name="connsiteX566" fmla="*/ 1786451 w 4545947"/>
              <a:gd name="connsiteY566" fmla="*/ 3530808 h 4525940"/>
              <a:gd name="connsiteX567" fmla="*/ 1786106 w 4545947"/>
              <a:gd name="connsiteY567" fmla="*/ 3542942 h 4525940"/>
              <a:gd name="connsiteX568" fmla="*/ 1783809 w 4545947"/>
              <a:gd name="connsiteY568" fmla="*/ 3534633 h 4525940"/>
              <a:gd name="connsiteX569" fmla="*/ 1784685 w 4545947"/>
              <a:gd name="connsiteY569" fmla="*/ 3528061 h 4525940"/>
              <a:gd name="connsiteX570" fmla="*/ 2708921 w 4545947"/>
              <a:gd name="connsiteY570" fmla="*/ 3527919 h 4525940"/>
              <a:gd name="connsiteX571" fmla="*/ 2719644 w 4545947"/>
              <a:gd name="connsiteY571" fmla="*/ 3532655 h 4525940"/>
              <a:gd name="connsiteX572" fmla="*/ 2712711 w 4545947"/>
              <a:gd name="connsiteY572" fmla="*/ 3550987 h 4525940"/>
              <a:gd name="connsiteX573" fmla="*/ 2701779 w 4545947"/>
              <a:gd name="connsiteY573" fmla="*/ 3541293 h 4525940"/>
              <a:gd name="connsiteX574" fmla="*/ 2708921 w 4545947"/>
              <a:gd name="connsiteY574" fmla="*/ 3527919 h 4525940"/>
              <a:gd name="connsiteX575" fmla="*/ 4454649 w 4545947"/>
              <a:gd name="connsiteY575" fmla="*/ 3527292 h 4525940"/>
              <a:gd name="connsiteX576" fmla="*/ 4459694 w 4545947"/>
              <a:gd name="connsiteY576" fmla="*/ 3534633 h 4525940"/>
              <a:gd name="connsiteX577" fmla="*/ 4452770 w 4545947"/>
              <a:gd name="connsiteY577" fmla="*/ 3544657 h 4525940"/>
              <a:gd name="connsiteX578" fmla="*/ 4447578 w 4545947"/>
              <a:gd name="connsiteY578" fmla="*/ 3537139 h 4525940"/>
              <a:gd name="connsiteX579" fmla="*/ 4454649 w 4545947"/>
              <a:gd name="connsiteY579" fmla="*/ 3527292 h 4525940"/>
              <a:gd name="connsiteX580" fmla="*/ 4330693 w 4545947"/>
              <a:gd name="connsiteY580" fmla="*/ 3513002 h 4525940"/>
              <a:gd name="connsiteX581" fmla="*/ 4337253 w 4545947"/>
              <a:gd name="connsiteY581" fmla="*/ 3522872 h 4525940"/>
              <a:gd name="connsiteX582" fmla="*/ 4341625 w 4545947"/>
              <a:gd name="connsiteY582" fmla="*/ 3528830 h 4525940"/>
              <a:gd name="connsiteX583" fmla="*/ 4345998 w 4545947"/>
              <a:gd name="connsiteY583" fmla="*/ 3531621 h 4525940"/>
              <a:gd name="connsiteX584" fmla="*/ 4331787 w 4545947"/>
              <a:gd name="connsiteY584" fmla="*/ 3533962 h 4525940"/>
              <a:gd name="connsiteX585" fmla="*/ 4330693 w 4545947"/>
              <a:gd name="connsiteY585" fmla="*/ 3513002 h 4525940"/>
              <a:gd name="connsiteX586" fmla="*/ 1781278 w 4545947"/>
              <a:gd name="connsiteY586" fmla="*/ 3513002 h 4525940"/>
              <a:gd name="connsiteX587" fmla="*/ 1770345 w 4545947"/>
              <a:gd name="connsiteY587" fmla="*/ 3522499 h 4525940"/>
              <a:gd name="connsiteX588" fmla="*/ 1770345 w 4545947"/>
              <a:gd name="connsiteY588" fmla="*/ 3541491 h 4525940"/>
              <a:gd name="connsiteX589" fmla="*/ 1781278 w 4545947"/>
              <a:gd name="connsiteY589" fmla="*/ 3550987 h 4525940"/>
              <a:gd name="connsiteX590" fmla="*/ 1792210 w 4545947"/>
              <a:gd name="connsiteY590" fmla="*/ 3541491 h 4525940"/>
              <a:gd name="connsiteX591" fmla="*/ 1792210 w 4545947"/>
              <a:gd name="connsiteY591" fmla="*/ 3522499 h 4525940"/>
              <a:gd name="connsiteX592" fmla="*/ 1781278 w 4545947"/>
              <a:gd name="connsiteY592" fmla="*/ 3513002 h 4525940"/>
              <a:gd name="connsiteX593" fmla="*/ 2765727 w 4545947"/>
              <a:gd name="connsiteY593" fmla="*/ 3506671 h 4525940"/>
              <a:gd name="connsiteX594" fmla="*/ 2771915 w 4545947"/>
              <a:gd name="connsiteY594" fmla="*/ 3549820 h 4525940"/>
              <a:gd name="connsiteX595" fmla="*/ 2777517 w 4545947"/>
              <a:gd name="connsiteY595" fmla="*/ 3587805 h 4525940"/>
              <a:gd name="connsiteX596" fmla="*/ 2777592 w 4545947"/>
              <a:gd name="connsiteY596" fmla="*/ 3645950 h 4525940"/>
              <a:gd name="connsiteX597" fmla="*/ 2767140 w 4545947"/>
              <a:gd name="connsiteY597" fmla="*/ 3632658 h 4525940"/>
              <a:gd name="connsiteX598" fmla="*/ 2750756 w 4545947"/>
              <a:gd name="connsiteY598" fmla="*/ 3622540 h 4525940"/>
              <a:gd name="connsiteX599" fmla="*/ 2733789 w 4545947"/>
              <a:gd name="connsiteY599" fmla="*/ 3615257 h 4525940"/>
              <a:gd name="connsiteX600" fmla="*/ 2734887 w 4545947"/>
              <a:gd name="connsiteY600" fmla="*/ 3595303 h 4525940"/>
              <a:gd name="connsiteX601" fmla="*/ 2757753 w 4545947"/>
              <a:gd name="connsiteY601" fmla="*/ 3540827 h 4525940"/>
              <a:gd name="connsiteX602" fmla="*/ 2765727 w 4545947"/>
              <a:gd name="connsiteY602" fmla="*/ 3506671 h 4525940"/>
              <a:gd name="connsiteX603" fmla="*/ 740522 w 4545947"/>
              <a:gd name="connsiteY603" fmla="*/ 3475017 h 4525940"/>
              <a:gd name="connsiteX604" fmla="*/ 747081 w 4545947"/>
              <a:gd name="connsiteY604" fmla="*/ 3484514 h 4525940"/>
              <a:gd name="connsiteX605" fmla="*/ 740522 w 4545947"/>
              <a:gd name="connsiteY605" fmla="*/ 3494010 h 4525940"/>
              <a:gd name="connsiteX606" fmla="*/ 733962 w 4545947"/>
              <a:gd name="connsiteY606" fmla="*/ 3484514 h 4525940"/>
              <a:gd name="connsiteX607" fmla="*/ 740522 w 4545947"/>
              <a:gd name="connsiteY607" fmla="*/ 3475017 h 4525940"/>
              <a:gd name="connsiteX608" fmla="*/ 2881943 w 4545947"/>
              <a:gd name="connsiteY608" fmla="*/ 3462355 h 4525940"/>
              <a:gd name="connsiteX609" fmla="*/ 2878636 w 4545947"/>
              <a:gd name="connsiteY609" fmla="*/ 3495324 h 4525940"/>
              <a:gd name="connsiteX610" fmla="*/ 2869346 w 4545947"/>
              <a:gd name="connsiteY610" fmla="*/ 3523011 h 4525940"/>
              <a:gd name="connsiteX611" fmla="*/ 2885957 w 4545947"/>
              <a:gd name="connsiteY611" fmla="*/ 3557318 h 4525940"/>
              <a:gd name="connsiteX612" fmla="*/ 2892001 w 4545947"/>
              <a:gd name="connsiteY612" fmla="*/ 3550987 h 4525940"/>
              <a:gd name="connsiteX613" fmla="*/ 2898525 w 4545947"/>
              <a:gd name="connsiteY613" fmla="*/ 3544657 h 4525940"/>
              <a:gd name="connsiteX614" fmla="*/ 2906022 w 4545947"/>
              <a:gd name="connsiteY614" fmla="*/ 3571563 h 4525940"/>
              <a:gd name="connsiteX615" fmla="*/ 2895961 w 4545947"/>
              <a:gd name="connsiteY615" fmla="*/ 3600666 h 4525940"/>
              <a:gd name="connsiteX616" fmla="*/ 2883473 w 4545947"/>
              <a:gd name="connsiteY616" fmla="*/ 3608579 h 4525940"/>
              <a:gd name="connsiteX617" fmla="*/ 2866193 w 4545947"/>
              <a:gd name="connsiteY617" fmla="*/ 3600603 h 4525940"/>
              <a:gd name="connsiteX618" fmla="*/ 2861950 w 4545947"/>
              <a:gd name="connsiteY618" fmla="*/ 3581332 h 4525940"/>
              <a:gd name="connsiteX619" fmla="*/ 2859095 w 4545947"/>
              <a:gd name="connsiteY619" fmla="*/ 3566625 h 4525940"/>
              <a:gd name="connsiteX620" fmla="*/ 2855607 w 4545947"/>
              <a:gd name="connsiteY620" fmla="*/ 3535822 h 4525940"/>
              <a:gd name="connsiteX621" fmla="*/ 2845247 w 4545947"/>
              <a:gd name="connsiteY621" fmla="*/ 3503796 h 4525940"/>
              <a:gd name="connsiteX622" fmla="*/ 2838518 w 4545947"/>
              <a:gd name="connsiteY622" fmla="*/ 3479481 h 4525940"/>
              <a:gd name="connsiteX623" fmla="*/ 2844567 w 4545947"/>
              <a:gd name="connsiteY623" fmla="*/ 3463500 h 4525940"/>
              <a:gd name="connsiteX624" fmla="*/ 2854296 w 4545947"/>
              <a:gd name="connsiteY624" fmla="*/ 3469672 h 4525940"/>
              <a:gd name="connsiteX625" fmla="*/ 2868715 w 4545947"/>
              <a:gd name="connsiteY625" fmla="*/ 3470111 h 4525940"/>
              <a:gd name="connsiteX626" fmla="*/ 2881943 w 4545947"/>
              <a:gd name="connsiteY626" fmla="*/ 3462355 h 4525940"/>
              <a:gd name="connsiteX627" fmla="*/ 3212720 w 4545947"/>
              <a:gd name="connsiteY627" fmla="*/ 3424461 h 4525940"/>
              <a:gd name="connsiteX628" fmla="*/ 3204212 w 4545947"/>
              <a:gd name="connsiteY628" fmla="*/ 3429702 h 4525940"/>
              <a:gd name="connsiteX629" fmla="*/ 3191529 w 4545947"/>
              <a:gd name="connsiteY629" fmla="*/ 3430662 h 4525940"/>
              <a:gd name="connsiteX630" fmla="*/ 3172515 w 4545947"/>
              <a:gd name="connsiteY630" fmla="*/ 3443537 h 4525940"/>
              <a:gd name="connsiteX631" fmla="*/ 3184563 w 4545947"/>
              <a:gd name="connsiteY631" fmla="*/ 3508254 h 4525940"/>
              <a:gd name="connsiteX632" fmla="*/ 3208164 w 4545947"/>
              <a:gd name="connsiteY632" fmla="*/ 3511736 h 4525940"/>
              <a:gd name="connsiteX633" fmla="*/ 3209038 w 4545947"/>
              <a:gd name="connsiteY633" fmla="*/ 3481348 h 4525940"/>
              <a:gd name="connsiteX634" fmla="*/ 3213411 w 4545947"/>
              <a:gd name="connsiteY634" fmla="*/ 3460521 h 4525940"/>
              <a:gd name="connsiteX635" fmla="*/ 3217851 w 4545947"/>
              <a:gd name="connsiteY635" fmla="*/ 3430701 h 4525940"/>
              <a:gd name="connsiteX636" fmla="*/ 3212720 w 4545947"/>
              <a:gd name="connsiteY636" fmla="*/ 3424461 h 4525940"/>
              <a:gd name="connsiteX637" fmla="*/ 4431270 w 4545947"/>
              <a:gd name="connsiteY637" fmla="*/ 3405378 h 4525940"/>
              <a:gd name="connsiteX638" fmla="*/ 4442203 w 4545947"/>
              <a:gd name="connsiteY638" fmla="*/ 3417522 h 4525940"/>
              <a:gd name="connsiteX639" fmla="*/ 4444857 w 4545947"/>
              <a:gd name="connsiteY639" fmla="*/ 3439680 h 4525940"/>
              <a:gd name="connsiteX640" fmla="*/ 4430057 w 4545947"/>
              <a:gd name="connsiteY640" fmla="*/ 3439839 h 4525940"/>
              <a:gd name="connsiteX641" fmla="*/ 4431270 w 4545947"/>
              <a:gd name="connsiteY641" fmla="*/ 3405378 h 4525940"/>
              <a:gd name="connsiteX642" fmla="*/ 549890 w 4545947"/>
              <a:gd name="connsiteY642" fmla="*/ 3399047 h 4525940"/>
              <a:gd name="connsiteX643" fmla="*/ 548842 w 4545947"/>
              <a:gd name="connsiteY643" fmla="*/ 3426481 h 4525940"/>
              <a:gd name="connsiteX644" fmla="*/ 558681 w 4545947"/>
              <a:gd name="connsiteY644" fmla="*/ 3429967 h 4525940"/>
              <a:gd name="connsiteX645" fmla="*/ 557546 w 4545947"/>
              <a:gd name="connsiteY645" fmla="*/ 3426224 h 4525940"/>
              <a:gd name="connsiteX646" fmla="*/ 551671 w 4545947"/>
              <a:gd name="connsiteY646" fmla="*/ 3411132 h 4525940"/>
              <a:gd name="connsiteX647" fmla="*/ 549890 w 4545947"/>
              <a:gd name="connsiteY647" fmla="*/ 3399047 h 4525940"/>
              <a:gd name="connsiteX648" fmla="*/ 4493782 w 4545947"/>
              <a:gd name="connsiteY648" fmla="*/ 3361062 h 4525940"/>
              <a:gd name="connsiteX649" fmla="*/ 4515201 w 4545947"/>
              <a:gd name="connsiteY649" fmla="*/ 3429955 h 4525940"/>
              <a:gd name="connsiteX650" fmla="*/ 4510617 w 4545947"/>
              <a:gd name="connsiteY650" fmla="*/ 3475017 h 4525940"/>
              <a:gd name="connsiteX651" fmla="*/ 4503423 w 4545947"/>
              <a:gd name="connsiteY651" fmla="*/ 3459717 h 4525940"/>
              <a:gd name="connsiteX652" fmla="*/ 4499676 w 4545947"/>
              <a:gd name="connsiteY652" fmla="*/ 3442307 h 4525940"/>
              <a:gd name="connsiteX653" fmla="*/ 4493782 w 4545947"/>
              <a:gd name="connsiteY653" fmla="*/ 3361062 h 4525940"/>
              <a:gd name="connsiteX654" fmla="*/ 2909492 w 4545947"/>
              <a:gd name="connsiteY654" fmla="*/ 3361062 h 4525940"/>
              <a:gd name="connsiteX655" fmla="*/ 2916052 w 4545947"/>
              <a:gd name="connsiteY655" fmla="*/ 3376889 h 4525940"/>
              <a:gd name="connsiteX656" fmla="*/ 2914958 w 4545947"/>
              <a:gd name="connsiteY656" fmla="*/ 3392216 h 4525940"/>
              <a:gd name="connsiteX657" fmla="*/ 2908399 w 4545947"/>
              <a:gd name="connsiteY657" fmla="*/ 3388523 h 4525940"/>
              <a:gd name="connsiteX658" fmla="*/ 2909492 w 4545947"/>
              <a:gd name="connsiteY658" fmla="*/ 3361062 h 4525940"/>
              <a:gd name="connsiteX659" fmla="*/ 4276032 w 4545947"/>
              <a:gd name="connsiteY659" fmla="*/ 3354731 h 4525940"/>
              <a:gd name="connsiteX660" fmla="*/ 4265567 w 4545947"/>
              <a:gd name="connsiteY660" fmla="*/ 3364745 h 4525940"/>
              <a:gd name="connsiteX661" fmla="*/ 4267117 w 4545947"/>
              <a:gd name="connsiteY661" fmla="*/ 3405378 h 4525940"/>
              <a:gd name="connsiteX662" fmla="*/ 4276032 w 4545947"/>
              <a:gd name="connsiteY662" fmla="*/ 3430701 h 4525940"/>
              <a:gd name="connsiteX663" fmla="*/ 4302037 w 4545947"/>
              <a:gd name="connsiteY663" fmla="*/ 3446933 h 4525940"/>
              <a:gd name="connsiteX664" fmla="*/ 4293369 w 4545947"/>
              <a:gd name="connsiteY664" fmla="*/ 3411709 h 4525940"/>
              <a:gd name="connsiteX665" fmla="*/ 4289150 w 4545947"/>
              <a:gd name="connsiteY665" fmla="*/ 3393234 h 4525940"/>
              <a:gd name="connsiteX666" fmla="*/ 4276032 w 4545947"/>
              <a:gd name="connsiteY666" fmla="*/ 3354731 h 4525940"/>
              <a:gd name="connsiteX667" fmla="*/ 2669069 w 4545947"/>
              <a:gd name="connsiteY667" fmla="*/ 3336073 h 4525940"/>
              <a:gd name="connsiteX668" fmla="*/ 2661312 w 4545947"/>
              <a:gd name="connsiteY668" fmla="*/ 3343652 h 4525940"/>
              <a:gd name="connsiteX669" fmla="*/ 2652411 w 4545947"/>
              <a:gd name="connsiteY669" fmla="*/ 3343129 h 4525940"/>
              <a:gd name="connsiteX670" fmla="*/ 2636395 w 4545947"/>
              <a:gd name="connsiteY670" fmla="*/ 3338808 h 4525940"/>
              <a:gd name="connsiteX671" fmla="*/ 2627439 w 4545947"/>
              <a:gd name="connsiteY671" fmla="*/ 3373095 h 4525940"/>
              <a:gd name="connsiteX672" fmla="*/ 2630354 w 4545947"/>
              <a:gd name="connsiteY672" fmla="*/ 3407488 h 4525940"/>
              <a:gd name="connsiteX673" fmla="*/ 2652210 w 4545947"/>
              <a:gd name="connsiteY673" fmla="*/ 3403795 h 4525940"/>
              <a:gd name="connsiteX674" fmla="*/ 2655748 w 4545947"/>
              <a:gd name="connsiteY674" fmla="*/ 3386385 h 4525940"/>
              <a:gd name="connsiteX675" fmla="*/ 2665384 w 4545947"/>
              <a:gd name="connsiteY675" fmla="*/ 3374926 h 4525940"/>
              <a:gd name="connsiteX676" fmla="*/ 2679914 w 4545947"/>
              <a:gd name="connsiteY676" fmla="*/ 3345235 h 4525940"/>
              <a:gd name="connsiteX677" fmla="*/ 2669069 w 4545947"/>
              <a:gd name="connsiteY677" fmla="*/ 3336073 h 4525940"/>
              <a:gd name="connsiteX678" fmla="*/ 587549 w 4545947"/>
              <a:gd name="connsiteY678" fmla="*/ 3300251 h 4525940"/>
              <a:gd name="connsiteX679" fmla="*/ 574278 w 4545947"/>
              <a:gd name="connsiteY679" fmla="*/ 3300379 h 4525940"/>
              <a:gd name="connsiteX680" fmla="*/ 564236 w 4545947"/>
              <a:gd name="connsiteY680" fmla="*/ 3321715 h 4525940"/>
              <a:gd name="connsiteX681" fmla="*/ 575444 w 4545947"/>
              <a:gd name="connsiteY681" fmla="*/ 3340927 h 4525940"/>
              <a:gd name="connsiteX682" fmla="*/ 585283 w 4545947"/>
              <a:gd name="connsiteY682" fmla="*/ 3354654 h 4525940"/>
              <a:gd name="connsiteX683" fmla="*/ 606273 w 4545947"/>
              <a:gd name="connsiteY683" fmla="*/ 3378788 h 4525940"/>
              <a:gd name="connsiteX684" fmla="*/ 601264 w 4545947"/>
              <a:gd name="connsiteY684" fmla="*/ 3348772 h 4525940"/>
              <a:gd name="connsiteX685" fmla="*/ 590611 w 4545947"/>
              <a:gd name="connsiteY685" fmla="*/ 3322956 h 4525940"/>
              <a:gd name="connsiteX686" fmla="*/ 587549 w 4545947"/>
              <a:gd name="connsiteY686" fmla="*/ 3300251 h 4525940"/>
              <a:gd name="connsiteX687" fmla="*/ 4154664 w 4545947"/>
              <a:gd name="connsiteY687" fmla="*/ 3279903 h 4525940"/>
              <a:gd name="connsiteX688" fmla="*/ 4148160 w 4545947"/>
              <a:gd name="connsiteY688" fmla="*/ 3310449 h 4525940"/>
              <a:gd name="connsiteX689" fmla="*/ 4154873 w 4545947"/>
              <a:gd name="connsiteY689" fmla="*/ 3347448 h 4525940"/>
              <a:gd name="connsiteX690" fmla="*/ 4157387 w 4545947"/>
              <a:gd name="connsiteY690" fmla="*/ 3373723 h 4525940"/>
              <a:gd name="connsiteX691" fmla="*/ 4162336 w 4545947"/>
              <a:gd name="connsiteY691" fmla="*/ 3393890 h 4525940"/>
              <a:gd name="connsiteX692" fmla="*/ 4171844 w 4545947"/>
              <a:gd name="connsiteY692" fmla="*/ 3428710 h 4525940"/>
              <a:gd name="connsiteX693" fmla="*/ 4190840 w 4545947"/>
              <a:gd name="connsiteY693" fmla="*/ 3430334 h 4525940"/>
              <a:gd name="connsiteX694" fmla="*/ 4184264 w 4545947"/>
              <a:gd name="connsiteY694" fmla="*/ 3354731 h 4525940"/>
              <a:gd name="connsiteX695" fmla="*/ 4178032 w 4545947"/>
              <a:gd name="connsiteY695" fmla="*/ 3338904 h 4525940"/>
              <a:gd name="connsiteX696" fmla="*/ 4168795 w 4545947"/>
              <a:gd name="connsiteY696" fmla="*/ 3323077 h 4525940"/>
              <a:gd name="connsiteX697" fmla="*/ 4163412 w 4545947"/>
              <a:gd name="connsiteY697" fmla="*/ 3302505 h 4525940"/>
              <a:gd name="connsiteX698" fmla="*/ 4154664 w 4545947"/>
              <a:gd name="connsiteY698" fmla="*/ 3279903 h 4525940"/>
              <a:gd name="connsiteX699" fmla="*/ 3384462 w 4545947"/>
              <a:gd name="connsiteY699" fmla="*/ 3266400 h 4525940"/>
              <a:gd name="connsiteX700" fmla="*/ 3379525 w 4545947"/>
              <a:gd name="connsiteY700" fmla="*/ 3272430 h 4525940"/>
              <a:gd name="connsiteX701" fmla="*/ 3379925 w 4545947"/>
              <a:gd name="connsiteY701" fmla="*/ 3355951 h 4525940"/>
              <a:gd name="connsiteX702" fmla="*/ 3385390 w 4545947"/>
              <a:gd name="connsiteY702" fmla="*/ 3380219 h 4525940"/>
              <a:gd name="connsiteX703" fmla="*/ 3373548 w 4545947"/>
              <a:gd name="connsiteY703" fmla="*/ 3404295 h 4525940"/>
              <a:gd name="connsiteX704" fmla="*/ 3363543 w 4545947"/>
              <a:gd name="connsiteY704" fmla="*/ 3438014 h 4525940"/>
              <a:gd name="connsiteX705" fmla="*/ 3377229 w 4545947"/>
              <a:gd name="connsiteY705" fmla="*/ 3482289 h 4525940"/>
              <a:gd name="connsiteX706" fmla="*/ 3388329 w 4545947"/>
              <a:gd name="connsiteY706" fmla="*/ 3506757 h 4525940"/>
              <a:gd name="connsiteX707" fmla="*/ 3392701 w 4545947"/>
              <a:gd name="connsiteY707" fmla="*/ 3522499 h 4525940"/>
              <a:gd name="connsiteX708" fmla="*/ 3397074 w 4545947"/>
              <a:gd name="connsiteY708" fmla="*/ 3538273 h 4525940"/>
              <a:gd name="connsiteX709" fmla="*/ 3405820 w 4545947"/>
              <a:gd name="connsiteY709" fmla="*/ 3554153 h 4525940"/>
              <a:gd name="connsiteX710" fmla="*/ 3414566 w 4545947"/>
              <a:gd name="connsiteY710" fmla="*/ 3570407 h 4525940"/>
              <a:gd name="connsiteX711" fmla="*/ 3418939 w 4545947"/>
              <a:gd name="connsiteY711" fmla="*/ 3582642 h 4525940"/>
              <a:gd name="connsiteX712" fmla="*/ 3423312 w 4545947"/>
              <a:gd name="connsiteY712" fmla="*/ 3597414 h 4525940"/>
              <a:gd name="connsiteX713" fmla="*/ 3426227 w 4545947"/>
              <a:gd name="connsiteY713" fmla="*/ 3616406 h 4525940"/>
              <a:gd name="connsiteX714" fmla="*/ 3446895 w 4545947"/>
              <a:gd name="connsiteY714" fmla="*/ 3610613 h 4525940"/>
              <a:gd name="connsiteX715" fmla="*/ 3445741 w 4545947"/>
              <a:gd name="connsiteY715" fmla="*/ 3569980 h 4525940"/>
              <a:gd name="connsiteX716" fmla="*/ 3438964 w 4545947"/>
              <a:gd name="connsiteY716" fmla="*/ 3531995 h 4525940"/>
              <a:gd name="connsiteX717" fmla="*/ 3432296 w 4545947"/>
              <a:gd name="connsiteY717" fmla="*/ 3494010 h 4525940"/>
              <a:gd name="connsiteX718" fmla="*/ 3425497 w 4545947"/>
              <a:gd name="connsiteY718" fmla="*/ 3443363 h 4525940"/>
              <a:gd name="connsiteX719" fmla="*/ 3418484 w 4545947"/>
              <a:gd name="connsiteY719" fmla="*/ 3392716 h 4525940"/>
              <a:gd name="connsiteX720" fmla="*/ 3414566 w 4545947"/>
              <a:gd name="connsiteY720" fmla="*/ 3374498 h 4525940"/>
              <a:gd name="connsiteX721" fmla="*/ 3408222 w 4545947"/>
              <a:gd name="connsiteY721" fmla="*/ 3348660 h 4525940"/>
              <a:gd name="connsiteX722" fmla="*/ 3400570 w 4545947"/>
              <a:gd name="connsiteY722" fmla="*/ 3308969 h 4525940"/>
              <a:gd name="connsiteX723" fmla="*/ 3391484 w 4545947"/>
              <a:gd name="connsiteY723" fmla="*/ 3269917 h 4525940"/>
              <a:gd name="connsiteX724" fmla="*/ 3384462 w 4545947"/>
              <a:gd name="connsiteY724" fmla="*/ 3266400 h 4525940"/>
              <a:gd name="connsiteX725" fmla="*/ 3348864 w 4545947"/>
              <a:gd name="connsiteY725" fmla="*/ 3248793 h 4525940"/>
              <a:gd name="connsiteX726" fmla="*/ 3339131 w 4545947"/>
              <a:gd name="connsiteY726" fmla="*/ 3252124 h 4525940"/>
              <a:gd name="connsiteX727" fmla="*/ 3346508 w 4545947"/>
              <a:gd name="connsiteY727" fmla="*/ 3297753 h 4525940"/>
              <a:gd name="connsiteX728" fmla="*/ 3356934 w 4545947"/>
              <a:gd name="connsiteY728" fmla="*/ 3289624 h 4525940"/>
              <a:gd name="connsiteX729" fmla="*/ 3348864 w 4545947"/>
              <a:gd name="connsiteY729" fmla="*/ 3248793 h 4525940"/>
              <a:gd name="connsiteX730" fmla="*/ 313287 w 4545947"/>
              <a:gd name="connsiteY730" fmla="*/ 3234445 h 4525940"/>
              <a:gd name="connsiteX731" fmla="*/ 305415 w 4545947"/>
              <a:gd name="connsiteY731" fmla="*/ 3256085 h 4525940"/>
              <a:gd name="connsiteX732" fmla="*/ 318534 w 4545947"/>
              <a:gd name="connsiteY732" fmla="*/ 3297753 h 4525940"/>
              <a:gd name="connsiteX733" fmla="*/ 328998 w 4545947"/>
              <a:gd name="connsiteY733" fmla="*/ 3287739 h 4525940"/>
              <a:gd name="connsiteX734" fmla="*/ 313287 w 4545947"/>
              <a:gd name="connsiteY734" fmla="*/ 3234445 h 4525940"/>
              <a:gd name="connsiteX735" fmla="*/ 4380392 w 4545947"/>
              <a:gd name="connsiteY735" fmla="*/ 3159521 h 4525940"/>
              <a:gd name="connsiteX736" fmla="*/ 4371629 w 4545947"/>
              <a:gd name="connsiteY736" fmla="*/ 3212287 h 4525940"/>
              <a:gd name="connsiteX737" fmla="*/ 4377095 w 4545947"/>
              <a:gd name="connsiteY737" fmla="*/ 3265043 h 4525940"/>
              <a:gd name="connsiteX738" fmla="*/ 4380982 w 4545947"/>
              <a:gd name="connsiteY738" fmla="*/ 3275924 h 4525940"/>
              <a:gd name="connsiteX739" fmla="*/ 4396210 w 4545947"/>
              <a:gd name="connsiteY739" fmla="*/ 3266447 h 4525940"/>
              <a:gd name="connsiteX740" fmla="*/ 4395554 w 4545947"/>
              <a:gd name="connsiteY740" fmla="*/ 3164378 h 4525940"/>
              <a:gd name="connsiteX741" fmla="*/ 4380392 w 4545947"/>
              <a:gd name="connsiteY741" fmla="*/ 3159521 h 4525940"/>
              <a:gd name="connsiteX742" fmla="*/ 608431 w 4545947"/>
              <a:gd name="connsiteY742" fmla="*/ 3076110 h 4525940"/>
              <a:gd name="connsiteX743" fmla="*/ 602272 w 4545947"/>
              <a:gd name="connsiteY743" fmla="*/ 3083464 h 4525940"/>
              <a:gd name="connsiteX744" fmla="*/ 603005 w 4545947"/>
              <a:gd name="connsiteY744" fmla="*/ 3130192 h 4525940"/>
              <a:gd name="connsiteX745" fmla="*/ 605816 w 4545947"/>
              <a:gd name="connsiteY745" fmla="*/ 3141644 h 4525940"/>
              <a:gd name="connsiteX746" fmla="*/ 621984 w 4545947"/>
              <a:gd name="connsiteY746" fmla="*/ 3177467 h 4525940"/>
              <a:gd name="connsiteX747" fmla="*/ 639944 w 4545947"/>
              <a:gd name="connsiteY747" fmla="*/ 3205956 h 4525940"/>
              <a:gd name="connsiteX748" fmla="*/ 626855 w 4545947"/>
              <a:gd name="connsiteY748" fmla="*/ 3208107 h 4525940"/>
              <a:gd name="connsiteX749" fmla="*/ 601711 w 4545947"/>
              <a:gd name="connsiteY749" fmla="*/ 3189354 h 4525940"/>
              <a:gd name="connsiteX750" fmla="*/ 589378 w 4545947"/>
              <a:gd name="connsiteY750" fmla="*/ 3174540 h 4525940"/>
              <a:gd name="connsiteX751" fmla="*/ 585043 w 4545947"/>
              <a:gd name="connsiteY751" fmla="*/ 3165981 h 4525940"/>
              <a:gd name="connsiteX752" fmla="*/ 577206 w 4545947"/>
              <a:gd name="connsiteY752" fmla="*/ 3154710 h 4525940"/>
              <a:gd name="connsiteX753" fmla="*/ 575492 w 4545947"/>
              <a:gd name="connsiteY753" fmla="*/ 3142456 h 4525940"/>
              <a:gd name="connsiteX754" fmla="*/ 581420 w 4545947"/>
              <a:gd name="connsiteY754" fmla="*/ 3126820 h 4525940"/>
              <a:gd name="connsiteX755" fmla="*/ 574489 w 4545947"/>
              <a:gd name="connsiteY755" fmla="*/ 3102739 h 4525940"/>
              <a:gd name="connsiteX756" fmla="*/ 556997 w 4545947"/>
              <a:gd name="connsiteY756" fmla="*/ 3109463 h 4525940"/>
              <a:gd name="connsiteX757" fmla="*/ 556129 w 4545947"/>
              <a:gd name="connsiteY757" fmla="*/ 3135846 h 4525940"/>
              <a:gd name="connsiteX758" fmla="*/ 560000 w 4545947"/>
              <a:gd name="connsiteY758" fmla="*/ 3151929 h 4525940"/>
              <a:gd name="connsiteX759" fmla="*/ 563838 w 4545947"/>
              <a:gd name="connsiteY759" fmla="*/ 3181366 h 4525940"/>
              <a:gd name="connsiteX760" fmla="*/ 574180 w 4545947"/>
              <a:gd name="connsiteY760" fmla="*/ 3202392 h 4525940"/>
              <a:gd name="connsiteX761" fmla="*/ 600152 w 4545947"/>
              <a:gd name="connsiteY761" fmla="*/ 3246045 h 4525940"/>
              <a:gd name="connsiteX762" fmla="*/ 601046 w 4545947"/>
              <a:gd name="connsiteY762" fmla="*/ 3251855 h 4525940"/>
              <a:gd name="connsiteX763" fmla="*/ 603100 w 4545947"/>
              <a:gd name="connsiteY763" fmla="*/ 3266099 h 4525940"/>
              <a:gd name="connsiteX764" fmla="*/ 609854 w 4545947"/>
              <a:gd name="connsiteY764" fmla="*/ 3283509 h 4525940"/>
              <a:gd name="connsiteX765" fmla="*/ 617032 w 4545947"/>
              <a:gd name="connsiteY765" fmla="*/ 3308832 h 4525940"/>
              <a:gd name="connsiteX766" fmla="*/ 617946 w 4545947"/>
              <a:gd name="connsiteY766" fmla="*/ 3316746 h 4525940"/>
              <a:gd name="connsiteX767" fmla="*/ 623970 w 4545947"/>
              <a:gd name="connsiteY767" fmla="*/ 3328567 h 4525940"/>
              <a:gd name="connsiteX768" fmla="*/ 633385 w 4545947"/>
              <a:gd name="connsiteY768" fmla="*/ 3352836 h 4525940"/>
              <a:gd name="connsiteX769" fmla="*/ 658577 w 4545947"/>
              <a:gd name="connsiteY769" fmla="*/ 3369716 h 4525940"/>
              <a:gd name="connsiteX770" fmla="*/ 671077 w 4545947"/>
              <a:gd name="connsiteY770" fmla="*/ 3350809 h 4525940"/>
              <a:gd name="connsiteX771" fmla="*/ 690819 w 4545947"/>
              <a:gd name="connsiteY771" fmla="*/ 3346003 h 4525940"/>
              <a:gd name="connsiteX772" fmla="*/ 704860 w 4545947"/>
              <a:gd name="connsiteY772" fmla="*/ 3315662 h 4525940"/>
              <a:gd name="connsiteX773" fmla="*/ 683069 w 4545947"/>
              <a:gd name="connsiteY773" fmla="*/ 3313581 h 4525940"/>
              <a:gd name="connsiteX774" fmla="*/ 648396 w 4545947"/>
              <a:gd name="connsiteY774" fmla="*/ 3281551 h 4525940"/>
              <a:gd name="connsiteX775" fmla="*/ 638964 w 4545947"/>
              <a:gd name="connsiteY775" fmla="*/ 3252310 h 4525940"/>
              <a:gd name="connsiteX776" fmla="*/ 636844 w 4545947"/>
              <a:gd name="connsiteY776" fmla="*/ 3230703 h 4525940"/>
              <a:gd name="connsiteX777" fmla="*/ 644091 w 4545947"/>
              <a:gd name="connsiteY777" fmla="*/ 3233414 h 4525940"/>
              <a:gd name="connsiteX778" fmla="*/ 653357 w 4545947"/>
              <a:gd name="connsiteY778" fmla="*/ 3247106 h 4525940"/>
              <a:gd name="connsiteX779" fmla="*/ 659622 w 4545947"/>
              <a:gd name="connsiteY779" fmla="*/ 3255622 h 4525940"/>
              <a:gd name="connsiteX780" fmla="*/ 668613 w 4545947"/>
              <a:gd name="connsiteY780" fmla="*/ 3275916 h 4525940"/>
              <a:gd name="connsiteX781" fmla="*/ 686690 w 4545947"/>
              <a:gd name="connsiteY781" fmla="*/ 3279479 h 4525940"/>
              <a:gd name="connsiteX782" fmla="*/ 698996 w 4545947"/>
              <a:gd name="connsiteY782" fmla="*/ 3278800 h 4525940"/>
              <a:gd name="connsiteX783" fmla="*/ 718657 w 4545947"/>
              <a:gd name="connsiteY783" fmla="*/ 3266012 h 4525940"/>
              <a:gd name="connsiteX784" fmla="*/ 702258 w 4545947"/>
              <a:gd name="connsiteY784" fmla="*/ 3248307 h 4525940"/>
              <a:gd name="connsiteX785" fmla="*/ 685860 w 4545947"/>
              <a:gd name="connsiteY785" fmla="*/ 3218686 h 4525940"/>
              <a:gd name="connsiteX786" fmla="*/ 671132 w 4545947"/>
              <a:gd name="connsiteY786" fmla="*/ 3168421 h 4525940"/>
              <a:gd name="connsiteX787" fmla="*/ 649936 w 4545947"/>
              <a:gd name="connsiteY787" fmla="*/ 3145813 h 4525940"/>
              <a:gd name="connsiteX788" fmla="*/ 623889 w 4545947"/>
              <a:gd name="connsiteY788" fmla="*/ 3101236 h 4525940"/>
              <a:gd name="connsiteX789" fmla="*/ 608431 w 4545947"/>
              <a:gd name="connsiteY789" fmla="*/ 3076110 h 4525940"/>
              <a:gd name="connsiteX790" fmla="*/ 299116 w 4545947"/>
              <a:gd name="connsiteY790" fmla="*/ 2844933 h 4525940"/>
              <a:gd name="connsiteX791" fmla="*/ 305415 w 4545947"/>
              <a:gd name="connsiteY791" fmla="*/ 2859317 h 4525940"/>
              <a:gd name="connsiteX792" fmla="*/ 312354 w 4545947"/>
              <a:gd name="connsiteY792" fmla="*/ 2885111 h 4525940"/>
              <a:gd name="connsiteX793" fmla="*/ 314006 w 4545947"/>
              <a:gd name="connsiteY793" fmla="*/ 2908678 h 4525940"/>
              <a:gd name="connsiteX794" fmla="*/ 303161 w 4545947"/>
              <a:gd name="connsiteY794" fmla="*/ 2917902 h 4525940"/>
              <a:gd name="connsiteX795" fmla="*/ 295229 w 4545947"/>
              <a:gd name="connsiteY795" fmla="*/ 2926867 h 4525940"/>
              <a:gd name="connsiteX796" fmla="*/ 301032 w 4545947"/>
              <a:gd name="connsiteY796" fmla="*/ 3016030 h 4525940"/>
              <a:gd name="connsiteX797" fmla="*/ 307082 w 4545947"/>
              <a:gd name="connsiteY797" fmla="*/ 3039770 h 4525940"/>
              <a:gd name="connsiteX798" fmla="*/ 314244 w 4545947"/>
              <a:gd name="connsiteY798" fmla="*/ 3057181 h 4525940"/>
              <a:gd name="connsiteX799" fmla="*/ 311975 w 4545947"/>
              <a:gd name="connsiteY799" fmla="*/ 3120489 h 4525940"/>
              <a:gd name="connsiteX800" fmla="*/ 314431 w 4545947"/>
              <a:gd name="connsiteY800" fmla="*/ 3160411 h 4525940"/>
              <a:gd name="connsiteX801" fmla="*/ 322659 w 4545947"/>
              <a:gd name="connsiteY801" fmla="*/ 3172228 h 4525940"/>
              <a:gd name="connsiteX802" fmla="*/ 333101 w 4545947"/>
              <a:gd name="connsiteY802" fmla="*/ 3196459 h 4525940"/>
              <a:gd name="connsiteX803" fmla="*/ 351673 w 4545947"/>
              <a:gd name="connsiteY803" fmla="*/ 3244221 h 4525940"/>
              <a:gd name="connsiteX804" fmla="*/ 357674 w 4545947"/>
              <a:gd name="connsiteY804" fmla="*/ 3270391 h 4525940"/>
              <a:gd name="connsiteX805" fmla="*/ 360077 w 4545947"/>
              <a:gd name="connsiteY805" fmla="*/ 3300043 h 4525940"/>
              <a:gd name="connsiteX806" fmla="*/ 362263 w 4545947"/>
              <a:gd name="connsiteY806" fmla="*/ 3345235 h 4525940"/>
              <a:gd name="connsiteX807" fmla="*/ 371009 w 4545947"/>
              <a:gd name="connsiteY807" fmla="*/ 3371539 h 4525940"/>
              <a:gd name="connsiteX808" fmla="*/ 359940 w 4545947"/>
              <a:gd name="connsiteY808" fmla="*/ 3386385 h 4525940"/>
              <a:gd name="connsiteX809" fmla="*/ 348358 w 4545947"/>
              <a:gd name="connsiteY809" fmla="*/ 3410274 h 4525940"/>
              <a:gd name="connsiteX810" fmla="*/ 353518 w 4545947"/>
              <a:gd name="connsiteY810" fmla="*/ 3431779 h 4525940"/>
              <a:gd name="connsiteX811" fmla="*/ 366316 w 4545947"/>
              <a:gd name="connsiteY811" fmla="*/ 3457788 h 4525940"/>
              <a:gd name="connsiteX812" fmla="*/ 388501 w 4545947"/>
              <a:gd name="connsiteY812" fmla="*/ 3503581 h 4525940"/>
              <a:gd name="connsiteX813" fmla="*/ 397247 w 4545947"/>
              <a:gd name="connsiteY813" fmla="*/ 3519333 h 4525940"/>
              <a:gd name="connsiteX814" fmla="*/ 405993 w 4545947"/>
              <a:gd name="connsiteY814" fmla="*/ 3538971 h 4525940"/>
              <a:gd name="connsiteX815" fmla="*/ 416925 w 4545947"/>
              <a:gd name="connsiteY815" fmla="*/ 3572583 h 4525940"/>
              <a:gd name="connsiteX816" fmla="*/ 400289 w 4545947"/>
              <a:gd name="connsiteY816" fmla="*/ 3581960 h 4525940"/>
              <a:gd name="connsiteX817" fmla="*/ 374258 w 4545947"/>
              <a:gd name="connsiteY817" fmla="*/ 3529946 h 4525940"/>
              <a:gd name="connsiteX818" fmla="*/ 357004 w 4545947"/>
              <a:gd name="connsiteY818" fmla="*/ 3495233 h 4525940"/>
              <a:gd name="connsiteX819" fmla="*/ 349145 w 4545947"/>
              <a:gd name="connsiteY819" fmla="*/ 3472244 h 4525940"/>
              <a:gd name="connsiteX820" fmla="*/ 333840 w 4545947"/>
              <a:gd name="connsiteY820" fmla="*/ 3440626 h 4525940"/>
              <a:gd name="connsiteX821" fmla="*/ 318534 w 4545947"/>
              <a:gd name="connsiteY821" fmla="*/ 3411084 h 4525940"/>
              <a:gd name="connsiteX822" fmla="*/ 307602 w 4545947"/>
              <a:gd name="connsiteY822" fmla="*/ 3383774 h 4525940"/>
              <a:gd name="connsiteX823" fmla="*/ 296670 w 4545947"/>
              <a:gd name="connsiteY823" fmla="*/ 3361833 h 4525940"/>
              <a:gd name="connsiteX824" fmla="*/ 291204 w 4545947"/>
              <a:gd name="connsiteY824" fmla="*/ 3341156 h 4525940"/>
              <a:gd name="connsiteX825" fmla="*/ 291204 w 4545947"/>
              <a:gd name="connsiteY825" fmla="*/ 3324887 h 4525940"/>
              <a:gd name="connsiteX826" fmla="*/ 292297 w 4545947"/>
              <a:gd name="connsiteY826" fmla="*/ 3288257 h 4525940"/>
              <a:gd name="connsiteX827" fmla="*/ 287924 w 4545947"/>
              <a:gd name="connsiteY827" fmla="*/ 3268298 h 4525940"/>
              <a:gd name="connsiteX828" fmla="*/ 279316 w 4545947"/>
              <a:gd name="connsiteY828" fmla="*/ 3248993 h 4525940"/>
              <a:gd name="connsiteX829" fmla="*/ 271663 w 4545947"/>
              <a:gd name="connsiteY829" fmla="*/ 3209582 h 4525940"/>
              <a:gd name="connsiteX830" fmla="*/ 255824 w 4545947"/>
              <a:gd name="connsiteY830" fmla="*/ 3151135 h 4525940"/>
              <a:gd name="connsiteX831" fmla="*/ 240519 w 4545947"/>
              <a:gd name="connsiteY831" fmla="*/ 3114065 h 4525940"/>
              <a:gd name="connsiteX832" fmla="*/ 275363 w 4545947"/>
              <a:gd name="connsiteY832" fmla="*/ 3076636 h 4525940"/>
              <a:gd name="connsiteX833" fmla="*/ 287016 w 4545947"/>
              <a:gd name="connsiteY833" fmla="*/ 3068260 h 4525940"/>
              <a:gd name="connsiteX834" fmla="*/ 271736 w 4545947"/>
              <a:gd name="connsiteY834" fmla="*/ 3019134 h 4525940"/>
              <a:gd name="connsiteX835" fmla="*/ 248567 w 4545947"/>
              <a:gd name="connsiteY835" fmla="*/ 2993872 h 4525940"/>
              <a:gd name="connsiteX836" fmla="*/ 219553 w 4545947"/>
              <a:gd name="connsiteY836" fmla="*/ 2968611 h 4525940"/>
              <a:gd name="connsiteX837" fmla="*/ 198550 w 4545947"/>
              <a:gd name="connsiteY837" fmla="*/ 2952433 h 4525940"/>
              <a:gd name="connsiteX838" fmla="*/ 209422 w 4545947"/>
              <a:gd name="connsiteY838" fmla="*/ 2911571 h 4525940"/>
              <a:gd name="connsiteX839" fmla="*/ 225158 w 4545947"/>
              <a:gd name="connsiteY839" fmla="*/ 2894161 h 4525940"/>
              <a:gd name="connsiteX840" fmla="*/ 245762 w 4545947"/>
              <a:gd name="connsiteY840" fmla="*/ 2861125 h 4525940"/>
              <a:gd name="connsiteX841" fmla="*/ 247013 w 4545947"/>
              <a:gd name="connsiteY841" fmla="*/ 2875360 h 4525940"/>
              <a:gd name="connsiteX842" fmla="*/ 275118 w 4545947"/>
              <a:gd name="connsiteY842" fmla="*/ 2914326 h 4525940"/>
              <a:gd name="connsiteX843" fmla="*/ 276532 w 4545947"/>
              <a:gd name="connsiteY843" fmla="*/ 2870294 h 4525940"/>
              <a:gd name="connsiteX844" fmla="*/ 281659 w 4545947"/>
              <a:gd name="connsiteY844" fmla="*/ 2848100 h 4525940"/>
              <a:gd name="connsiteX845" fmla="*/ 299116 w 4545947"/>
              <a:gd name="connsiteY845" fmla="*/ 2844933 h 4525940"/>
              <a:gd name="connsiteX846" fmla="*/ 4347140 w 4545947"/>
              <a:gd name="connsiteY846" fmla="*/ 2808314 h 4525940"/>
              <a:gd name="connsiteX847" fmla="*/ 4335975 w 4545947"/>
              <a:gd name="connsiteY847" fmla="*/ 2820272 h 4525940"/>
              <a:gd name="connsiteX848" fmla="*/ 4313472 w 4545947"/>
              <a:gd name="connsiteY848" fmla="*/ 2830622 h 4525940"/>
              <a:gd name="connsiteX849" fmla="*/ 4287024 w 4545947"/>
              <a:gd name="connsiteY849" fmla="*/ 2841656 h 4525940"/>
              <a:gd name="connsiteX850" fmla="*/ 4290942 w 4545947"/>
              <a:gd name="connsiteY850" fmla="*/ 2866625 h 4525940"/>
              <a:gd name="connsiteX851" fmla="*/ 4293523 w 4545947"/>
              <a:gd name="connsiteY851" fmla="*/ 2892578 h 4525940"/>
              <a:gd name="connsiteX852" fmla="*/ 4298383 w 4545947"/>
              <a:gd name="connsiteY852" fmla="*/ 2914961 h 4525940"/>
              <a:gd name="connsiteX853" fmla="*/ 4316481 w 4545947"/>
              <a:gd name="connsiteY853" fmla="*/ 2894457 h 4525940"/>
              <a:gd name="connsiteX854" fmla="*/ 4322232 w 4545947"/>
              <a:gd name="connsiteY854" fmla="*/ 2867098 h 4525940"/>
              <a:gd name="connsiteX855" fmla="*/ 4344228 w 4545947"/>
              <a:gd name="connsiteY855" fmla="*/ 2883547 h 4525940"/>
              <a:gd name="connsiteX856" fmla="*/ 4341331 w 4545947"/>
              <a:gd name="connsiteY856" fmla="*/ 2930563 h 4525940"/>
              <a:gd name="connsiteX857" fmla="*/ 4341235 w 4545947"/>
              <a:gd name="connsiteY857" fmla="*/ 2950611 h 4525940"/>
              <a:gd name="connsiteX858" fmla="*/ 4346422 w 4545947"/>
              <a:gd name="connsiteY858" fmla="*/ 2978045 h 4525940"/>
              <a:gd name="connsiteX859" fmla="*/ 4351599 w 4545947"/>
              <a:gd name="connsiteY859" fmla="*/ 3011069 h 4525940"/>
              <a:gd name="connsiteX860" fmla="*/ 4353681 w 4545947"/>
              <a:gd name="connsiteY860" fmla="*/ 3026896 h 4525940"/>
              <a:gd name="connsiteX861" fmla="*/ 4358733 w 4545947"/>
              <a:gd name="connsiteY861" fmla="*/ 3042735 h 4525940"/>
              <a:gd name="connsiteX862" fmla="*/ 4374735 w 4545947"/>
              <a:gd name="connsiteY862" fmla="*/ 3041806 h 4525940"/>
              <a:gd name="connsiteX863" fmla="*/ 4376609 w 4545947"/>
              <a:gd name="connsiteY863" fmla="*/ 3009699 h 4525940"/>
              <a:gd name="connsiteX864" fmla="*/ 4372236 w 4545947"/>
              <a:gd name="connsiteY864" fmla="*/ 2977671 h 4525940"/>
              <a:gd name="connsiteX865" fmla="*/ 4376609 w 4545947"/>
              <a:gd name="connsiteY865" fmla="*/ 2949556 h 4525940"/>
              <a:gd name="connsiteX866" fmla="*/ 4375625 w 4545947"/>
              <a:gd name="connsiteY866" fmla="*/ 2919010 h 4525940"/>
              <a:gd name="connsiteX867" fmla="*/ 4374793 w 4545947"/>
              <a:gd name="connsiteY867" fmla="*/ 2900334 h 4525940"/>
              <a:gd name="connsiteX868" fmla="*/ 4376745 w 4545947"/>
              <a:gd name="connsiteY868" fmla="*/ 2841931 h 4525940"/>
              <a:gd name="connsiteX869" fmla="*/ 4372236 w 4545947"/>
              <a:gd name="connsiteY869" fmla="*/ 2835149 h 4525940"/>
              <a:gd name="connsiteX870" fmla="*/ 4347140 w 4545947"/>
              <a:gd name="connsiteY870" fmla="*/ 2808314 h 4525940"/>
              <a:gd name="connsiteX871" fmla="*/ 185194 w 4545947"/>
              <a:gd name="connsiteY871" fmla="*/ 2800466 h 4525940"/>
              <a:gd name="connsiteX872" fmla="*/ 202843 w 4545947"/>
              <a:gd name="connsiteY872" fmla="*/ 2804051 h 4525940"/>
              <a:gd name="connsiteX873" fmla="*/ 209063 w 4545947"/>
              <a:gd name="connsiteY873" fmla="*/ 2816874 h 4525940"/>
              <a:gd name="connsiteX874" fmla="*/ 178601 w 4545947"/>
              <a:gd name="connsiteY874" fmla="*/ 2813244 h 4525940"/>
              <a:gd name="connsiteX875" fmla="*/ 185194 w 4545947"/>
              <a:gd name="connsiteY875" fmla="*/ 2800466 h 4525940"/>
              <a:gd name="connsiteX876" fmla="*/ 222256 w 4545947"/>
              <a:gd name="connsiteY876" fmla="*/ 2788186 h 4525940"/>
              <a:gd name="connsiteX877" fmla="*/ 241934 w 4545947"/>
              <a:gd name="connsiteY877" fmla="*/ 2788517 h 4525940"/>
              <a:gd name="connsiteX878" fmla="*/ 257313 w 4545947"/>
              <a:gd name="connsiteY878" fmla="*/ 2810982 h 4525940"/>
              <a:gd name="connsiteX879" fmla="*/ 249103 w 4545947"/>
              <a:gd name="connsiteY879" fmla="*/ 2829270 h 4525940"/>
              <a:gd name="connsiteX880" fmla="*/ 235449 w 4545947"/>
              <a:gd name="connsiteY880" fmla="*/ 2819774 h 4525940"/>
              <a:gd name="connsiteX881" fmla="*/ 223981 w 4545947"/>
              <a:gd name="connsiteY881" fmla="*/ 2810277 h 4525940"/>
              <a:gd name="connsiteX882" fmla="*/ 222256 w 4545947"/>
              <a:gd name="connsiteY882" fmla="*/ 2788186 h 4525940"/>
              <a:gd name="connsiteX883" fmla="*/ 4412081 w 4545947"/>
              <a:gd name="connsiteY883" fmla="*/ 2689991 h 4525940"/>
              <a:gd name="connsiteX884" fmla="*/ 4428685 w 4545947"/>
              <a:gd name="connsiteY884" fmla="*/ 2766566 h 4525940"/>
              <a:gd name="connsiteX885" fmla="*/ 4416240 w 4545947"/>
              <a:gd name="connsiteY885" fmla="*/ 2811021 h 4525940"/>
              <a:gd name="connsiteX886" fmla="*/ 4408816 w 4545947"/>
              <a:gd name="connsiteY886" fmla="*/ 2744370 h 4525940"/>
              <a:gd name="connsiteX887" fmla="*/ 4412081 w 4545947"/>
              <a:gd name="connsiteY887" fmla="*/ 2689991 h 4525940"/>
              <a:gd name="connsiteX888" fmla="*/ 127218 w 4545947"/>
              <a:gd name="connsiteY888" fmla="*/ 2621494 h 4525940"/>
              <a:gd name="connsiteX889" fmla="*/ 122846 w 4545947"/>
              <a:gd name="connsiteY889" fmla="*/ 2670901 h 4525940"/>
              <a:gd name="connsiteX890" fmla="*/ 117380 w 4545947"/>
              <a:gd name="connsiteY890" fmla="*/ 2645235 h 4525940"/>
              <a:gd name="connsiteX891" fmla="*/ 127218 w 4545947"/>
              <a:gd name="connsiteY891" fmla="*/ 2621494 h 4525940"/>
              <a:gd name="connsiteX892" fmla="*/ 202062 w 4545947"/>
              <a:gd name="connsiteY892" fmla="*/ 2494799 h 4525940"/>
              <a:gd name="connsiteX893" fmla="*/ 208469 w 4545947"/>
              <a:gd name="connsiteY893" fmla="*/ 2507415 h 4525940"/>
              <a:gd name="connsiteX894" fmla="*/ 216859 w 4545947"/>
              <a:gd name="connsiteY894" fmla="*/ 2533762 h 4525940"/>
              <a:gd name="connsiteX895" fmla="*/ 226703 w 4545947"/>
              <a:gd name="connsiteY895" fmla="*/ 2556236 h 4525940"/>
              <a:gd name="connsiteX896" fmla="*/ 231595 w 4545947"/>
              <a:gd name="connsiteY896" fmla="*/ 2574254 h 4525940"/>
              <a:gd name="connsiteX897" fmla="*/ 227222 w 4545947"/>
              <a:gd name="connsiteY897" fmla="*/ 2624068 h 4525940"/>
              <a:gd name="connsiteX898" fmla="*/ 224867 w 4545947"/>
              <a:gd name="connsiteY898" fmla="*/ 2696743 h 4525940"/>
              <a:gd name="connsiteX899" fmla="*/ 244545 w 4545947"/>
              <a:gd name="connsiteY899" fmla="*/ 2698068 h 4525940"/>
              <a:gd name="connsiteX900" fmla="*/ 257313 w 4545947"/>
              <a:gd name="connsiteY900" fmla="*/ 2706368 h 4525940"/>
              <a:gd name="connsiteX901" fmla="*/ 242983 w 4545947"/>
              <a:gd name="connsiteY901" fmla="*/ 2721645 h 4525940"/>
              <a:gd name="connsiteX902" fmla="*/ 214289 w 4545947"/>
              <a:gd name="connsiteY902" fmla="*/ 2740638 h 4525940"/>
              <a:gd name="connsiteX903" fmla="*/ 187346 w 4545947"/>
              <a:gd name="connsiteY903" fmla="*/ 2731669 h 4525940"/>
              <a:gd name="connsiteX904" fmla="*/ 182313 w 4545947"/>
              <a:gd name="connsiteY904" fmla="*/ 2701279 h 4525940"/>
              <a:gd name="connsiteX905" fmla="*/ 175205 w 4545947"/>
              <a:gd name="connsiteY905" fmla="*/ 2662649 h 4525940"/>
              <a:gd name="connsiteX906" fmla="*/ 169307 w 4545947"/>
              <a:gd name="connsiteY906" fmla="*/ 2623027 h 4525940"/>
              <a:gd name="connsiteX907" fmla="*/ 165482 w 4545947"/>
              <a:gd name="connsiteY907" fmla="*/ 2600985 h 4525940"/>
              <a:gd name="connsiteX908" fmla="*/ 176156 w 4545947"/>
              <a:gd name="connsiteY908" fmla="*/ 2582366 h 4525940"/>
              <a:gd name="connsiteX909" fmla="*/ 193816 w 4545947"/>
              <a:gd name="connsiteY909" fmla="*/ 2531949 h 4525940"/>
              <a:gd name="connsiteX910" fmla="*/ 202062 w 4545947"/>
              <a:gd name="connsiteY910" fmla="*/ 2494799 h 4525940"/>
              <a:gd name="connsiteX911" fmla="*/ 154003 w 4545947"/>
              <a:gd name="connsiteY911" fmla="*/ 2487403 h 4525940"/>
              <a:gd name="connsiteX912" fmla="*/ 165482 w 4545947"/>
              <a:gd name="connsiteY912" fmla="*/ 2545173 h 4525940"/>
              <a:gd name="connsiteX913" fmla="*/ 140337 w 4545947"/>
              <a:gd name="connsiteY913" fmla="*/ 2556845 h 4525940"/>
              <a:gd name="connsiteX914" fmla="*/ 139428 w 4545947"/>
              <a:gd name="connsiteY914" fmla="*/ 2529713 h 4525940"/>
              <a:gd name="connsiteX915" fmla="*/ 147656 w 4545947"/>
              <a:gd name="connsiteY915" fmla="*/ 2515110 h 4525940"/>
              <a:gd name="connsiteX916" fmla="*/ 154003 w 4545947"/>
              <a:gd name="connsiteY916" fmla="*/ 2487403 h 4525940"/>
              <a:gd name="connsiteX917" fmla="*/ 4489212 w 4545947"/>
              <a:gd name="connsiteY917" fmla="*/ 2459669 h 4525940"/>
              <a:gd name="connsiteX918" fmla="*/ 4507796 w 4545947"/>
              <a:gd name="connsiteY918" fmla="*/ 2490415 h 4525940"/>
              <a:gd name="connsiteX919" fmla="*/ 4512956 w 4545947"/>
              <a:gd name="connsiteY919" fmla="*/ 2514162 h 4525940"/>
              <a:gd name="connsiteX920" fmla="*/ 4514448 w 4545947"/>
              <a:gd name="connsiteY920" fmla="*/ 2528934 h 4525940"/>
              <a:gd name="connsiteX921" fmla="*/ 4511569 w 4545947"/>
              <a:gd name="connsiteY921" fmla="*/ 2546369 h 4525940"/>
              <a:gd name="connsiteX922" fmla="*/ 4507545 w 4545947"/>
              <a:gd name="connsiteY922" fmla="*/ 2577386 h 4525940"/>
              <a:gd name="connsiteX923" fmla="*/ 4513150 w 4545947"/>
              <a:gd name="connsiteY923" fmla="*/ 2616549 h 4525940"/>
              <a:gd name="connsiteX924" fmla="*/ 4531819 w 4545947"/>
              <a:gd name="connsiteY924" fmla="*/ 2636631 h 4525940"/>
              <a:gd name="connsiteX925" fmla="*/ 4544130 w 4545947"/>
              <a:gd name="connsiteY925" fmla="*/ 2661031 h 4525940"/>
              <a:gd name="connsiteX926" fmla="*/ 4539364 w 4545947"/>
              <a:gd name="connsiteY926" fmla="*/ 2691419 h 4525940"/>
              <a:gd name="connsiteX927" fmla="*/ 4520915 w 4545947"/>
              <a:gd name="connsiteY927" fmla="*/ 2683088 h 4525940"/>
              <a:gd name="connsiteX928" fmla="*/ 4514355 w 4545947"/>
              <a:gd name="connsiteY928" fmla="*/ 2666957 h 4525940"/>
              <a:gd name="connsiteX929" fmla="*/ 4507796 w 4545947"/>
              <a:gd name="connsiteY929" fmla="*/ 2648681 h 4525940"/>
              <a:gd name="connsiteX930" fmla="*/ 4476606 w 4545947"/>
              <a:gd name="connsiteY930" fmla="*/ 2627651 h 4525940"/>
              <a:gd name="connsiteX931" fmla="*/ 4472248 w 4545947"/>
              <a:gd name="connsiteY931" fmla="*/ 2654666 h 4525940"/>
              <a:gd name="connsiteX932" fmla="*/ 4478572 w 4545947"/>
              <a:gd name="connsiteY932" fmla="*/ 2676289 h 4525940"/>
              <a:gd name="connsiteX933" fmla="*/ 4516779 w 4545947"/>
              <a:gd name="connsiteY933" fmla="*/ 2707060 h 4525940"/>
              <a:gd name="connsiteX934" fmla="*/ 4523632 w 4545947"/>
              <a:gd name="connsiteY934" fmla="*/ 2733459 h 4525940"/>
              <a:gd name="connsiteX935" fmla="*/ 4516542 w 4545947"/>
              <a:gd name="connsiteY935" fmla="*/ 2777165 h 4525940"/>
              <a:gd name="connsiteX936" fmla="*/ 4500806 w 4545947"/>
              <a:gd name="connsiteY936" fmla="*/ 2805311 h 4525940"/>
              <a:gd name="connsiteX937" fmla="*/ 4500806 w 4545947"/>
              <a:gd name="connsiteY937" fmla="*/ 2805310 h 4525940"/>
              <a:gd name="connsiteX938" fmla="*/ 4487024 w 4545947"/>
              <a:gd name="connsiteY938" fmla="*/ 2793817 h 4525940"/>
              <a:gd name="connsiteX939" fmla="*/ 4475000 w 4545947"/>
              <a:gd name="connsiteY939" fmla="*/ 2792234 h 4525940"/>
              <a:gd name="connsiteX940" fmla="*/ 4468440 w 4545947"/>
              <a:gd name="connsiteY940" fmla="*/ 2775457 h 4525940"/>
              <a:gd name="connsiteX941" fmla="*/ 4464067 w 4545947"/>
              <a:gd name="connsiteY941" fmla="*/ 2759630 h 4525940"/>
              <a:gd name="connsiteX942" fmla="*/ 4459694 w 4545947"/>
              <a:gd name="connsiteY942" fmla="*/ 2747342 h 4525940"/>
              <a:gd name="connsiteX943" fmla="*/ 4464067 w 4545947"/>
              <a:gd name="connsiteY943" fmla="*/ 2731141 h 4525940"/>
              <a:gd name="connsiteX944" fmla="*/ 4463558 w 4545947"/>
              <a:gd name="connsiteY944" fmla="*/ 2689991 h 4525940"/>
              <a:gd name="connsiteX945" fmla="*/ 4460961 w 4545947"/>
              <a:gd name="connsiteY945" fmla="*/ 2677329 h 4525940"/>
              <a:gd name="connsiteX946" fmla="*/ 4459285 w 4545947"/>
              <a:gd name="connsiteY946" fmla="*/ 2664667 h 4525940"/>
              <a:gd name="connsiteX947" fmla="*/ 4455321 w 4545947"/>
              <a:gd name="connsiteY947" fmla="*/ 2629110 h 4525940"/>
              <a:gd name="connsiteX948" fmla="*/ 4464775 w 4545947"/>
              <a:gd name="connsiteY948" fmla="*/ 2597130 h 4525940"/>
              <a:gd name="connsiteX949" fmla="*/ 4484058 w 4545947"/>
              <a:gd name="connsiteY949" fmla="*/ 2553425 h 4525940"/>
              <a:gd name="connsiteX950" fmla="*/ 4463930 w 4545947"/>
              <a:gd name="connsiteY950" fmla="*/ 2554058 h 4525940"/>
              <a:gd name="connsiteX951" fmla="*/ 4417058 w 4545947"/>
              <a:gd name="connsiteY951" fmla="*/ 2525589 h 4525940"/>
              <a:gd name="connsiteX952" fmla="*/ 4398473 w 4545947"/>
              <a:gd name="connsiteY952" fmla="*/ 2483464 h 4525940"/>
              <a:gd name="connsiteX953" fmla="*/ 4413779 w 4545947"/>
              <a:gd name="connsiteY953" fmla="*/ 2471995 h 4525940"/>
              <a:gd name="connsiteX954" fmla="*/ 4429084 w 4545947"/>
              <a:gd name="connsiteY954" fmla="*/ 2469116 h 4525940"/>
              <a:gd name="connsiteX955" fmla="*/ 4451173 w 4545947"/>
              <a:gd name="connsiteY955" fmla="*/ 2475117 h 4525940"/>
              <a:gd name="connsiteX956" fmla="*/ 4468085 w 4545947"/>
              <a:gd name="connsiteY956" fmla="*/ 2479925 h 4525940"/>
              <a:gd name="connsiteX957" fmla="*/ 4477186 w 4545947"/>
              <a:gd name="connsiteY957" fmla="*/ 2463602 h 4525940"/>
              <a:gd name="connsiteX958" fmla="*/ 4489212 w 4545947"/>
              <a:gd name="connsiteY958" fmla="*/ 2459669 h 4525940"/>
              <a:gd name="connsiteX959" fmla="*/ 7746 w 4545947"/>
              <a:gd name="connsiteY959" fmla="*/ 2436756 h 4525940"/>
              <a:gd name="connsiteX960" fmla="*/ 15909 w 4545947"/>
              <a:gd name="connsiteY960" fmla="*/ 2478985 h 4525940"/>
              <a:gd name="connsiteX961" fmla="*/ 9149 w 4545947"/>
              <a:gd name="connsiteY961" fmla="*/ 2523829 h 4525940"/>
              <a:gd name="connsiteX962" fmla="*/ 3624 w 4545947"/>
              <a:gd name="connsiteY962" fmla="*/ 2495844 h 4525940"/>
              <a:gd name="connsiteX963" fmla="*/ 927 w 4545947"/>
              <a:gd name="connsiteY963" fmla="*/ 2451001 h 4525940"/>
              <a:gd name="connsiteX964" fmla="*/ 7746 w 4545947"/>
              <a:gd name="connsiteY964" fmla="*/ 2436756 h 4525940"/>
              <a:gd name="connsiteX965" fmla="*/ 4451449 w 4545947"/>
              <a:gd name="connsiteY965" fmla="*/ 2180169 h 4525940"/>
              <a:gd name="connsiteX966" fmla="*/ 4461168 w 4545947"/>
              <a:gd name="connsiteY966" fmla="*/ 2183599 h 4525940"/>
              <a:gd name="connsiteX967" fmla="*/ 4460788 w 4545947"/>
              <a:gd name="connsiteY967" fmla="*/ 2194337 h 4525940"/>
              <a:gd name="connsiteX968" fmla="*/ 4455322 w 4545947"/>
              <a:gd name="connsiteY968" fmla="*/ 2218869 h 4525940"/>
              <a:gd name="connsiteX969" fmla="*/ 4450949 w 4545947"/>
              <a:gd name="connsiteY969" fmla="*/ 2240500 h 4525940"/>
              <a:gd name="connsiteX970" fmla="*/ 4453135 w 4545947"/>
              <a:gd name="connsiteY970" fmla="*/ 2272154 h 4525940"/>
              <a:gd name="connsiteX971" fmla="*/ 4452776 w 4545947"/>
              <a:gd name="connsiteY971" fmla="*/ 2299966 h 4525940"/>
              <a:gd name="connsiteX972" fmla="*/ 4445124 w 4545947"/>
              <a:gd name="connsiteY972" fmla="*/ 2303309 h 4525940"/>
              <a:gd name="connsiteX973" fmla="*/ 4438922 w 4545947"/>
              <a:gd name="connsiteY973" fmla="*/ 2299616 h 4525940"/>
              <a:gd name="connsiteX974" fmla="*/ 4438923 w 4545947"/>
              <a:gd name="connsiteY974" fmla="*/ 2299616 h 4525940"/>
              <a:gd name="connsiteX975" fmla="*/ 4438704 w 4545947"/>
              <a:gd name="connsiteY975" fmla="*/ 2248097 h 4525940"/>
              <a:gd name="connsiteX976" fmla="*/ 4438704 w 4545947"/>
              <a:gd name="connsiteY976" fmla="*/ 2240500 h 4525940"/>
              <a:gd name="connsiteX977" fmla="*/ 4433457 w 4545947"/>
              <a:gd name="connsiteY977" fmla="*/ 2227838 h 4525940"/>
              <a:gd name="connsiteX978" fmla="*/ 4437830 w 4545947"/>
              <a:gd name="connsiteY978" fmla="*/ 2215176 h 4525940"/>
              <a:gd name="connsiteX979" fmla="*/ 4442203 w 4545947"/>
              <a:gd name="connsiteY979" fmla="*/ 2205680 h 4525940"/>
              <a:gd name="connsiteX980" fmla="*/ 4446833 w 4545947"/>
              <a:gd name="connsiteY980" fmla="*/ 2196184 h 4525940"/>
              <a:gd name="connsiteX981" fmla="*/ 4448948 w 4545947"/>
              <a:gd name="connsiteY981" fmla="*/ 2190290 h 4525940"/>
              <a:gd name="connsiteX982" fmla="*/ 4451449 w 4545947"/>
              <a:gd name="connsiteY982" fmla="*/ 2180169 h 4525940"/>
              <a:gd name="connsiteX983" fmla="*/ 34606 w 4545947"/>
              <a:gd name="connsiteY983" fmla="*/ 2069567 h 4525940"/>
              <a:gd name="connsiteX984" fmla="*/ 53749 w 4545947"/>
              <a:gd name="connsiteY984" fmla="*/ 2077480 h 4525940"/>
              <a:gd name="connsiteX985" fmla="*/ 68742 w 4545947"/>
              <a:gd name="connsiteY985" fmla="*/ 2094705 h 4525940"/>
              <a:gd name="connsiteX986" fmla="*/ 78162 w 4545947"/>
              <a:gd name="connsiteY986" fmla="*/ 2113698 h 4525940"/>
              <a:gd name="connsiteX987" fmla="*/ 84722 w 4545947"/>
              <a:gd name="connsiteY987" fmla="*/ 2135668 h 4525940"/>
              <a:gd name="connsiteX988" fmla="*/ 91142 w 4545947"/>
              <a:gd name="connsiteY988" fmla="*/ 2159094 h 4525940"/>
              <a:gd name="connsiteX989" fmla="*/ 98649 w 4545947"/>
              <a:gd name="connsiteY989" fmla="*/ 2176313 h 4525940"/>
              <a:gd name="connsiteX990" fmla="*/ 100678 w 4545947"/>
              <a:gd name="connsiteY990" fmla="*/ 2197213 h 4525940"/>
              <a:gd name="connsiteX991" fmla="*/ 94264 w 4545947"/>
              <a:gd name="connsiteY991" fmla="*/ 2240455 h 4525940"/>
              <a:gd name="connsiteX992" fmla="*/ 103228 w 4545947"/>
              <a:gd name="connsiteY992" fmla="*/ 2275221 h 4525940"/>
              <a:gd name="connsiteX993" fmla="*/ 111157 w 4545947"/>
              <a:gd name="connsiteY993" fmla="*/ 2288996 h 4525940"/>
              <a:gd name="connsiteX994" fmla="*/ 115154 w 4545947"/>
              <a:gd name="connsiteY994" fmla="*/ 2299745 h 4525940"/>
              <a:gd name="connsiteX995" fmla="*/ 119839 w 4545947"/>
              <a:gd name="connsiteY995" fmla="*/ 2335089 h 4525940"/>
              <a:gd name="connsiteX996" fmla="*/ 121247 w 4545947"/>
              <a:gd name="connsiteY996" fmla="*/ 2367166 h 4525940"/>
              <a:gd name="connsiteX997" fmla="*/ 134871 w 4545947"/>
              <a:gd name="connsiteY997" fmla="*/ 2434853 h 4525940"/>
              <a:gd name="connsiteX998" fmla="*/ 105354 w 4545947"/>
              <a:gd name="connsiteY998" fmla="*/ 2463831 h 4525940"/>
              <a:gd name="connsiteX999" fmla="*/ 91142 w 4545947"/>
              <a:gd name="connsiteY999" fmla="*/ 2442687 h 4525940"/>
              <a:gd name="connsiteX1000" fmla="*/ 86424 w 4545947"/>
              <a:gd name="connsiteY1000" fmla="*/ 2424095 h 4525940"/>
              <a:gd name="connsiteX1001" fmla="*/ 83144 w 4545947"/>
              <a:gd name="connsiteY1001" fmla="*/ 2376598 h 4525940"/>
              <a:gd name="connsiteX1002" fmla="*/ 81303 w 4545947"/>
              <a:gd name="connsiteY1002" fmla="*/ 2329117 h 4525940"/>
              <a:gd name="connsiteX1003" fmla="*/ 78023 w 4545947"/>
              <a:gd name="connsiteY1003" fmla="*/ 2282860 h 4525940"/>
              <a:gd name="connsiteX1004" fmla="*/ 56084 w 4545947"/>
              <a:gd name="connsiteY1004" fmla="*/ 2206845 h 4525940"/>
              <a:gd name="connsiteX1005" fmla="*/ 43040 w 4545947"/>
              <a:gd name="connsiteY1005" fmla="*/ 2151714 h 4525940"/>
              <a:gd name="connsiteX1006" fmla="*/ 31014 w 4545947"/>
              <a:gd name="connsiteY1006" fmla="*/ 2102364 h 4525940"/>
              <a:gd name="connsiteX1007" fmla="*/ 21175 w 4545947"/>
              <a:gd name="connsiteY1007" fmla="*/ 2084954 h 4525940"/>
              <a:gd name="connsiteX1008" fmla="*/ 34606 w 4545947"/>
              <a:gd name="connsiteY1008" fmla="*/ 2069567 h 4525940"/>
              <a:gd name="connsiteX1009" fmla="*/ 4460614 w 4545947"/>
              <a:gd name="connsiteY1009" fmla="*/ 2037913 h 4525940"/>
              <a:gd name="connsiteX1010" fmla="*/ 4466134 w 4545947"/>
              <a:gd name="connsiteY1010" fmla="*/ 2064819 h 4525940"/>
              <a:gd name="connsiteX1011" fmla="*/ 4453412 w 4545947"/>
              <a:gd name="connsiteY1011" fmla="*/ 2101221 h 4525940"/>
              <a:gd name="connsiteX1012" fmla="*/ 4442203 w 4545947"/>
              <a:gd name="connsiteY1012" fmla="*/ 2110717 h 4525940"/>
              <a:gd name="connsiteX1013" fmla="*/ 4432921 w 4545947"/>
              <a:gd name="connsiteY1013" fmla="*/ 2120214 h 4525940"/>
              <a:gd name="connsiteX1014" fmla="*/ 4429084 w 4545947"/>
              <a:gd name="connsiteY1014" fmla="*/ 2110717 h 4525940"/>
              <a:gd name="connsiteX1015" fmla="*/ 4424711 w 4545947"/>
              <a:gd name="connsiteY1015" fmla="*/ 2101221 h 4525940"/>
              <a:gd name="connsiteX1016" fmla="*/ 4420338 w 4545947"/>
              <a:gd name="connsiteY1016" fmla="*/ 2092252 h 4525940"/>
              <a:gd name="connsiteX1017" fmla="*/ 4415178 w 4545947"/>
              <a:gd name="connsiteY1017" fmla="*/ 2080794 h 4525940"/>
              <a:gd name="connsiteX1018" fmla="*/ 4428412 w 4545947"/>
              <a:gd name="connsiteY1018" fmla="*/ 2056905 h 4525940"/>
              <a:gd name="connsiteX1019" fmla="*/ 4446576 w 4545947"/>
              <a:gd name="connsiteY1019" fmla="*/ 2047409 h 4525940"/>
              <a:gd name="connsiteX1020" fmla="*/ 4460614 w 4545947"/>
              <a:gd name="connsiteY1020" fmla="*/ 2037913 h 4525940"/>
              <a:gd name="connsiteX1021" fmla="*/ 103803 w 4545947"/>
              <a:gd name="connsiteY1021" fmla="*/ 1997172 h 4525940"/>
              <a:gd name="connsiteX1022" fmla="*/ 109790 w 4545947"/>
              <a:gd name="connsiteY1022" fmla="*/ 2015136 h 4525940"/>
              <a:gd name="connsiteX1023" fmla="*/ 99888 w 4545947"/>
              <a:gd name="connsiteY1023" fmla="*/ 2009798 h 4525940"/>
              <a:gd name="connsiteX1024" fmla="*/ 103803 w 4545947"/>
              <a:gd name="connsiteY1024" fmla="*/ 1997172 h 4525940"/>
              <a:gd name="connsiteX1025" fmla="*/ 4417411 w 4545947"/>
              <a:gd name="connsiteY1025" fmla="*/ 1842865 h 4525940"/>
              <a:gd name="connsiteX1026" fmla="*/ 4440321 w 4545947"/>
              <a:gd name="connsiteY1026" fmla="*/ 1848354 h 4525940"/>
              <a:gd name="connsiteX1027" fmla="*/ 4446576 w 4545947"/>
              <a:gd name="connsiteY1027" fmla="*/ 1896026 h 4525940"/>
              <a:gd name="connsiteX1028" fmla="*/ 4433604 w 4545947"/>
              <a:gd name="connsiteY1028" fmla="*/ 1955393 h 4525940"/>
              <a:gd name="connsiteX1029" fmla="*/ 4410134 w 4545947"/>
              <a:gd name="connsiteY1029" fmla="*/ 1970383 h 4525940"/>
              <a:gd name="connsiteX1030" fmla="*/ 4407219 w 4545947"/>
              <a:gd name="connsiteY1030" fmla="*/ 1948678 h 4525940"/>
              <a:gd name="connsiteX1031" fmla="*/ 4400659 w 4545947"/>
              <a:gd name="connsiteY1031" fmla="*/ 1921696 h 4525940"/>
              <a:gd name="connsiteX1032" fmla="*/ 4398473 w 4545947"/>
              <a:gd name="connsiteY1032" fmla="*/ 1860649 h 4525940"/>
              <a:gd name="connsiteX1033" fmla="*/ 4401754 w 4545947"/>
              <a:gd name="connsiteY1033" fmla="*/ 1852735 h 4525940"/>
              <a:gd name="connsiteX1034" fmla="*/ 4417411 w 4545947"/>
              <a:gd name="connsiteY1034" fmla="*/ 1842865 h 4525940"/>
              <a:gd name="connsiteX1035" fmla="*/ 4344905 w 4545947"/>
              <a:gd name="connsiteY1035" fmla="*/ 1614950 h 4525940"/>
              <a:gd name="connsiteX1036" fmla="*/ 4352557 w 4545947"/>
              <a:gd name="connsiteY1036" fmla="*/ 1626407 h 4525940"/>
              <a:gd name="connsiteX1037" fmla="*/ 4344905 w 4545947"/>
              <a:gd name="connsiteY1037" fmla="*/ 1637863 h 4525940"/>
              <a:gd name="connsiteX1038" fmla="*/ 4337253 w 4545947"/>
              <a:gd name="connsiteY1038" fmla="*/ 1626407 h 4525940"/>
              <a:gd name="connsiteX1039" fmla="*/ 4344905 w 4545947"/>
              <a:gd name="connsiteY1039" fmla="*/ 1614950 h 4525940"/>
              <a:gd name="connsiteX1040" fmla="*/ 4204363 w 4545947"/>
              <a:gd name="connsiteY1040" fmla="*/ 1582188 h 4525940"/>
              <a:gd name="connsiteX1041" fmla="*/ 4198605 w 4545947"/>
              <a:gd name="connsiteY1041" fmla="*/ 1612163 h 4525940"/>
              <a:gd name="connsiteX1042" fmla="*/ 4221888 w 4545947"/>
              <a:gd name="connsiteY1042" fmla="*/ 1704182 h 4525940"/>
              <a:gd name="connsiteX1043" fmla="*/ 4243234 w 4545947"/>
              <a:gd name="connsiteY1043" fmla="*/ 1696654 h 4525940"/>
              <a:gd name="connsiteX1044" fmla="*/ 4257843 w 4545947"/>
              <a:gd name="connsiteY1044" fmla="*/ 1674394 h 4525940"/>
              <a:gd name="connsiteX1045" fmla="*/ 4235464 w 4545947"/>
              <a:gd name="connsiteY1045" fmla="*/ 1634601 h 4525940"/>
              <a:gd name="connsiteX1046" fmla="*/ 4226892 w 4545947"/>
              <a:gd name="connsiteY1046" fmla="*/ 1613755 h 4525940"/>
              <a:gd name="connsiteX1047" fmla="*/ 4204363 w 4545947"/>
              <a:gd name="connsiteY1047" fmla="*/ 1582188 h 4525940"/>
              <a:gd name="connsiteX1048" fmla="*/ 4407219 w 4545947"/>
              <a:gd name="connsiteY1048" fmla="*/ 1487128 h 4525940"/>
              <a:gd name="connsiteX1049" fmla="*/ 4411592 w 4545947"/>
              <a:gd name="connsiteY1049" fmla="*/ 1496625 h 4525940"/>
              <a:gd name="connsiteX1050" fmla="*/ 4407219 w 4545947"/>
              <a:gd name="connsiteY1050" fmla="*/ 1506120 h 4525940"/>
              <a:gd name="connsiteX1051" fmla="*/ 4402846 w 4545947"/>
              <a:gd name="connsiteY1051" fmla="*/ 1496625 h 4525940"/>
              <a:gd name="connsiteX1052" fmla="*/ 4407219 w 4545947"/>
              <a:gd name="connsiteY1052" fmla="*/ 1487128 h 4525940"/>
              <a:gd name="connsiteX1053" fmla="*/ 4317718 w 4545947"/>
              <a:gd name="connsiteY1053" fmla="*/ 1474466 h 4525940"/>
              <a:gd name="connsiteX1054" fmla="*/ 4345998 w 4545947"/>
              <a:gd name="connsiteY1054" fmla="*/ 1518157 h 4525940"/>
              <a:gd name="connsiteX1055" fmla="*/ 4327663 w 4545947"/>
              <a:gd name="connsiteY1055" fmla="*/ 1517200 h 4525940"/>
              <a:gd name="connsiteX1056" fmla="*/ 4317718 w 4545947"/>
              <a:gd name="connsiteY1056" fmla="*/ 1474466 h 4525940"/>
              <a:gd name="connsiteX1057" fmla="*/ 4293987 w 4545947"/>
              <a:gd name="connsiteY1057" fmla="*/ 1306730 h 4525940"/>
              <a:gd name="connsiteX1058" fmla="*/ 4303395 w 4545947"/>
              <a:gd name="connsiteY1058" fmla="*/ 1311043 h 4525940"/>
              <a:gd name="connsiteX1059" fmla="*/ 4318980 w 4545947"/>
              <a:gd name="connsiteY1059" fmla="*/ 1376275 h 4525940"/>
              <a:gd name="connsiteX1060" fmla="*/ 4300491 w 4545947"/>
              <a:gd name="connsiteY1060" fmla="*/ 1383107 h 4525940"/>
              <a:gd name="connsiteX1061" fmla="*/ 4285001 w 4545947"/>
              <a:gd name="connsiteY1061" fmla="*/ 1360511 h 4525940"/>
              <a:gd name="connsiteX1062" fmla="*/ 4282590 w 4545947"/>
              <a:gd name="connsiteY1062" fmla="*/ 1335187 h 4525940"/>
              <a:gd name="connsiteX1063" fmla="*/ 4289150 w 4545947"/>
              <a:gd name="connsiteY1063" fmla="*/ 1318959 h 4525940"/>
              <a:gd name="connsiteX1064" fmla="*/ 4293987 w 4545947"/>
              <a:gd name="connsiteY1064" fmla="*/ 1306730 h 4525940"/>
              <a:gd name="connsiteX1065" fmla="*/ 4289150 w 4545947"/>
              <a:gd name="connsiteY1065" fmla="*/ 1180082 h 4525940"/>
              <a:gd name="connsiteX1066" fmla="*/ 4293523 w 4545947"/>
              <a:gd name="connsiteY1066" fmla="*/ 1186038 h 4525940"/>
              <a:gd name="connsiteX1067" fmla="*/ 4289150 w 4545947"/>
              <a:gd name="connsiteY1067" fmla="*/ 1195908 h 4525940"/>
              <a:gd name="connsiteX1068" fmla="*/ 4284778 w 4545947"/>
              <a:gd name="connsiteY1068" fmla="*/ 1189951 h 4525940"/>
              <a:gd name="connsiteX1069" fmla="*/ 4289150 w 4545947"/>
              <a:gd name="connsiteY1069" fmla="*/ 1180082 h 4525940"/>
              <a:gd name="connsiteX1070" fmla="*/ 4345236 w 4545947"/>
              <a:gd name="connsiteY1070" fmla="*/ 1176916 h 4525940"/>
              <a:gd name="connsiteX1071" fmla="*/ 4370740 w 4545947"/>
              <a:gd name="connsiteY1071" fmla="*/ 1217745 h 4525940"/>
              <a:gd name="connsiteX1072" fmla="*/ 4345998 w 4545947"/>
              <a:gd name="connsiteY1072" fmla="*/ 1218067 h 4525940"/>
              <a:gd name="connsiteX1073" fmla="*/ 4341625 w 4545947"/>
              <a:gd name="connsiteY1073" fmla="*/ 1208570 h 4525940"/>
              <a:gd name="connsiteX1074" fmla="*/ 4337253 w 4545947"/>
              <a:gd name="connsiteY1074" fmla="*/ 1192743 h 4525940"/>
              <a:gd name="connsiteX1075" fmla="*/ 4345236 w 4545947"/>
              <a:gd name="connsiteY1075" fmla="*/ 1176916 h 4525940"/>
              <a:gd name="connsiteX1076" fmla="*/ 4039894 w 4545947"/>
              <a:gd name="connsiteY1076" fmla="*/ 1107277 h 4525940"/>
              <a:gd name="connsiteX1077" fmla="*/ 4039019 w 4545947"/>
              <a:gd name="connsiteY1077" fmla="*/ 1162988 h 4525940"/>
              <a:gd name="connsiteX1078" fmla="*/ 4019800 w 4545947"/>
              <a:gd name="connsiteY1078" fmla="*/ 1156998 h 4525940"/>
              <a:gd name="connsiteX1079" fmla="*/ 4016936 w 4545947"/>
              <a:gd name="connsiteY1079" fmla="*/ 1140644 h 4525940"/>
              <a:gd name="connsiteX1080" fmla="*/ 4022402 w 4545947"/>
              <a:gd name="connsiteY1080" fmla="*/ 1128907 h 4525940"/>
              <a:gd name="connsiteX1081" fmla="*/ 4028961 w 4545947"/>
              <a:gd name="connsiteY1081" fmla="*/ 1119938 h 4525940"/>
              <a:gd name="connsiteX1082" fmla="*/ 4035521 w 4545947"/>
              <a:gd name="connsiteY1082" fmla="*/ 1113607 h 4525940"/>
              <a:gd name="connsiteX1083" fmla="*/ 4039894 w 4545947"/>
              <a:gd name="connsiteY1083" fmla="*/ 1107277 h 4525940"/>
              <a:gd name="connsiteX1084" fmla="*/ 4144916 w 4545947"/>
              <a:gd name="connsiteY1084" fmla="*/ 1053528 h 4525940"/>
              <a:gd name="connsiteX1085" fmla="*/ 4140471 w 4545947"/>
              <a:gd name="connsiteY1085" fmla="*/ 1069291 h 4525940"/>
              <a:gd name="connsiteX1086" fmla="*/ 4134098 w 4545947"/>
              <a:gd name="connsiteY1086" fmla="*/ 1063398 h 4525940"/>
              <a:gd name="connsiteX1087" fmla="*/ 4144916 w 4545947"/>
              <a:gd name="connsiteY1087" fmla="*/ 1053528 h 4525940"/>
              <a:gd name="connsiteX1088" fmla="*/ 3987419 w 4545947"/>
              <a:gd name="connsiteY1088" fmla="*/ 990156 h 4525940"/>
              <a:gd name="connsiteX1089" fmla="*/ 3983046 w 4545947"/>
              <a:gd name="connsiteY1089" fmla="*/ 992947 h 4525940"/>
              <a:gd name="connsiteX1090" fmla="*/ 3987419 w 4545947"/>
              <a:gd name="connsiteY1090" fmla="*/ 999652 h 4525940"/>
              <a:gd name="connsiteX1091" fmla="*/ 3991792 w 4545947"/>
              <a:gd name="connsiteY1091" fmla="*/ 996860 h 4525940"/>
              <a:gd name="connsiteX1092" fmla="*/ 3987419 w 4545947"/>
              <a:gd name="connsiteY1092" fmla="*/ 990156 h 4525940"/>
              <a:gd name="connsiteX1093" fmla="*/ 4173388 w 4545947"/>
              <a:gd name="connsiteY1093" fmla="*/ 892398 h 4525940"/>
              <a:gd name="connsiteX1094" fmla="*/ 4182372 w 4545947"/>
              <a:gd name="connsiteY1094" fmla="*/ 907667 h 4525940"/>
              <a:gd name="connsiteX1095" fmla="*/ 4178395 w 4545947"/>
              <a:gd name="connsiteY1095" fmla="*/ 932991 h 4525940"/>
              <a:gd name="connsiteX1096" fmla="*/ 4163952 w 4545947"/>
              <a:gd name="connsiteY1096" fmla="*/ 928430 h 4525940"/>
              <a:gd name="connsiteX1097" fmla="*/ 4166648 w 4545947"/>
              <a:gd name="connsiteY1097" fmla="*/ 903107 h 4525940"/>
              <a:gd name="connsiteX1098" fmla="*/ 4173388 w 4545947"/>
              <a:gd name="connsiteY1098" fmla="*/ 892398 h 4525940"/>
              <a:gd name="connsiteX1099" fmla="*/ 4006132 w 4545947"/>
              <a:gd name="connsiteY1099" fmla="*/ 869101 h 4525940"/>
              <a:gd name="connsiteX1100" fmla="*/ 4005256 w 4545947"/>
              <a:gd name="connsiteY1100" fmla="*/ 875673 h 4525940"/>
              <a:gd name="connsiteX1101" fmla="*/ 4007552 w 4545947"/>
              <a:gd name="connsiteY1101" fmla="*/ 883982 h 4525940"/>
              <a:gd name="connsiteX1102" fmla="*/ 4007897 w 4545947"/>
              <a:gd name="connsiteY1102" fmla="*/ 871848 h 4525940"/>
              <a:gd name="connsiteX1103" fmla="*/ 4007897 w 4545947"/>
              <a:gd name="connsiteY1103" fmla="*/ 871848 h 4525940"/>
              <a:gd name="connsiteX1104" fmla="*/ 4006132 w 4545947"/>
              <a:gd name="connsiteY1104" fmla="*/ 869101 h 4525940"/>
              <a:gd name="connsiteX1105" fmla="*/ 4268481 w 4545947"/>
              <a:gd name="connsiteY1105" fmla="*/ 836466 h 4525940"/>
              <a:gd name="connsiteX1106" fmla="*/ 4272461 w 4545947"/>
              <a:gd name="connsiteY1106" fmla="*/ 852405 h 4525940"/>
              <a:gd name="connsiteX1107" fmla="*/ 4298063 w 4545947"/>
              <a:gd name="connsiteY1107" fmla="*/ 860052 h 4525940"/>
              <a:gd name="connsiteX1108" fmla="*/ 4319761 w 4545947"/>
              <a:gd name="connsiteY1108" fmla="*/ 891455 h 4525940"/>
              <a:gd name="connsiteX1109" fmla="*/ 4315033 w 4545947"/>
              <a:gd name="connsiteY1109" fmla="*/ 933496 h 4525940"/>
              <a:gd name="connsiteX1110" fmla="*/ 4296867 w 4545947"/>
              <a:gd name="connsiteY1110" fmla="*/ 919625 h 4525940"/>
              <a:gd name="connsiteX1111" fmla="*/ 4286139 w 4545947"/>
              <a:gd name="connsiteY1111" fmla="*/ 912555 h 4525940"/>
              <a:gd name="connsiteX1112" fmla="*/ 4283218 w 4545947"/>
              <a:gd name="connsiteY1112" fmla="*/ 931206 h 4525940"/>
              <a:gd name="connsiteX1113" fmla="*/ 4284339 w 4545947"/>
              <a:gd name="connsiteY1113" fmla="*/ 950245 h 4525940"/>
              <a:gd name="connsiteX1114" fmla="*/ 4309434 w 4545947"/>
              <a:gd name="connsiteY1114" fmla="*/ 952171 h 4525940"/>
              <a:gd name="connsiteX1115" fmla="*/ 4324134 w 4545947"/>
              <a:gd name="connsiteY1115" fmla="*/ 948089 h 4525940"/>
              <a:gd name="connsiteX1116" fmla="*/ 4338345 w 4545947"/>
              <a:gd name="connsiteY1116" fmla="*/ 959380 h 4525940"/>
              <a:gd name="connsiteX1117" fmla="*/ 4353914 w 4545947"/>
              <a:gd name="connsiteY1117" fmla="*/ 978828 h 4525940"/>
              <a:gd name="connsiteX1118" fmla="*/ 4361566 w 4545947"/>
              <a:gd name="connsiteY1118" fmla="*/ 999968 h 4525940"/>
              <a:gd name="connsiteX1119" fmla="*/ 4367863 w 4545947"/>
              <a:gd name="connsiteY1119" fmla="*/ 1018968 h 4525940"/>
              <a:gd name="connsiteX1120" fmla="*/ 4374106 w 4545947"/>
              <a:gd name="connsiteY1120" fmla="*/ 1039440 h 4525940"/>
              <a:gd name="connsiteX1121" fmla="*/ 4381726 w 4545947"/>
              <a:gd name="connsiteY1121" fmla="*/ 1094615 h 4525940"/>
              <a:gd name="connsiteX1122" fmla="*/ 4374326 w 4545947"/>
              <a:gd name="connsiteY1122" fmla="*/ 1088058 h 4525940"/>
              <a:gd name="connsiteX1123" fmla="*/ 4355483 w 4545947"/>
              <a:gd name="connsiteY1123" fmla="*/ 1082503 h 4525940"/>
              <a:gd name="connsiteX1124" fmla="*/ 4304542 w 4545947"/>
              <a:gd name="connsiteY1124" fmla="*/ 1078559 h 4525940"/>
              <a:gd name="connsiteX1125" fmla="*/ 4277212 w 4545947"/>
              <a:gd name="connsiteY1125" fmla="*/ 1084565 h 4525940"/>
              <a:gd name="connsiteX1126" fmla="*/ 4284778 w 4545947"/>
              <a:gd name="connsiteY1126" fmla="*/ 1102482 h 4525940"/>
              <a:gd name="connsiteX1127" fmla="*/ 4292039 w 4545947"/>
              <a:gd name="connsiteY1127" fmla="*/ 1121061 h 4525940"/>
              <a:gd name="connsiteX1128" fmla="*/ 4280650 w 4545947"/>
              <a:gd name="connsiteY1128" fmla="*/ 1132702 h 4525940"/>
              <a:gd name="connsiteX1129" fmla="*/ 4258269 w 4545947"/>
              <a:gd name="connsiteY1129" fmla="*/ 1132810 h 4525940"/>
              <a:gd name="connsiteX1130" fmla="*/ 4239604 w 4545947"/>
              <a:gd name="connsiteY1130" fmla="*/ 1108859 h 4525940"/>
              <a:gd name="connsiteX1131" fmla="*/ 4238427 w 4545947"/>
              <a:gd name="connsiteY1131" fmla="*/ 1056630 h 4525940"/>
              <a:gd name="connsiteX1132" fmla="*/ 4236655 w 4545947"/>
              <a:gd name="connsiteY1132" fmla="*/ 986990 h 4525940"/>
              <a:gd name="connsiteX1133" fmla="*/ 4237269 w 4545947"/>
              <a:gd name="connsiteY1133" fmla="*/ 933495 h 4525940"/>
              <a:gd name="connsiteX1134" fmla="*/ 4241048 w 4545947"/>
              <a:gd name="connsiteY1134" fmla="*/ 916085 h 4525940"/>
              <a:gd name="connsiteX1135" fmla="*/ 4245421 w 4545947"/>
              <a:gd name="connsiteY1135" fmla="*/ 904689 h 4525940"/>
              <a:gd name="connsiteX1136" fmla="*/ 4249794 w 4545947"/>
              <a:gd name="connsiteY1136" fmla="*/ 873712 h 4525940"/>
              <a:gd name="connsiteX1137" fmla="*/ 4256711 w 4545947"/>
              <a:gd name="connsiteY1137" fmla="*/ 838893 h 4525940"/>
              <a:gd name="connsiteX1138" fmla="*/ 4268481 w 4545947"/>
              <a:gd name="connsiteY1138" fmla="*/ 836466 h 4525940"/>
              <a:gd name="connsiteX1139" fmla="*/ 1503102 w 4545947"/>
              <a:gd name="connsiteY1139" fmla="*/ 801258 h 4525940"/>
              <a:gd name="connsiteX1140" fmla="*/ 1489315 w 4545947"/>
              <a:gd name="connsiteY1140" fmla="*/ 822388 h 4525940"/>
              <a:gd name="connsiteX1141" fmla="*/ 1490647 w 4545947"/>
              <a:gd name="connsiteY1141" fmla="*/ 856262 h 4525940"/>
              <a:gd name="connsiteX1142" fmla="*/ 1530226 w 4545947"/>
              <a:gd name="connsiteY1142" fmla="*/ 866125 h 4525940"/>
              <a:gd name="connsiteX1143" fmla="*/ 1532021 w 4545947"/>
              <a:gd name="connsiteY1143" fmla="*/ 819901 h 4525940"/>
              <a:gd name="connsiteX1144" fmla="*/ 1520594 w 4545947"/>
              <a:gd name="connsiteY1144" fmla="*/ 807589 h 4525940"/>
              <a:gd name="connsiteX1145" fmla="*/ 1503102 w 4545947"/>
              <a:gd name="connsiteY1145" fmla="*/ 801258 h 4525940"/>
              <a:gd name="connsiteX1146" fmla="*/ 3729804 w 4545947"/>
              <a:gd name="connsiteY1146" fmla="*/ 798436 h 4525940"/>
              <a:gd name="connsiteX1147" fmla="*/ 3719615 w 4545947"/>
              <a:gd name="connsiteY1147" fmla="*/ 808547 h 4525940"/>
              <a:gd name="connsiteX1148" fmla="*/ 3717041 w 4545947"/>
              <a:gd name="connsiteY1148" fmla="*/ 813557 h 4525940"/>
              <a:gd name="connsiteX1149" fmla="*/ 3718483 w 4545947"/>
              <a:gd name="connsiteY1149" fmla="*/ 830980 h 4525940"/>
              <a:gd name="connsiteX1150" fmla="*/ 3721246 w 4545947"/>
              <a:gd name="connsiteY1150" fmla="*/ 854042 h 4525940"/>
              <a:gd name="connsiteX1151" fmla="*/ 3718912 w 4545947"/>
              <a:gd name="connsiteY1151" fmla="*/ 922278 h 4525940"/>
              <a:gd name="connsiteX1152" fmla="*/ 3722944 w 4545947"/>
              <a:gd name="connsiteY1152" fmla="*/ 942470 h 4525940"/>
              <a:gd name="connsiteX1153" fmla="*/ 3747598 w 4545947"/>
              <a:gd name="connsiteY1153" fmla="*/ 980659 h 4525940"/>
              <a:gd name="connsiteX1154" fmla="*/ 3757482 w 4545947"/>
              <a:gd name="connsiteY1154" fmla="*/ 976816 h 4525940"/>
              <a:gd name="connsiteX1155" fmla="*/ 3760153 w 4545947"/>
              <a:gd name="connsiteY1155" fmla="*/ 920630 h 4525940"/>
              <a:gd name="connsiteX1156" fmla="*/ 3753030 w 4545947"/>
              <a:gd name="connsiteY1156" fmla="*/ 885437 h 4525940"/>
              <a:gd name="connsiteX1157" fmla="*/ 3746345 w 4545947"/>
              <a:gd name="connsiteY1157" fmla="*/ 854042 h 4525940"/>
              <a:gd name="connsiteX1158" fmla="*/ 3742535 w 4545947"/>
              <a:gd name="connsiteY1158" fmla="*/ 825977 h 4525940"/>
              <a:gd name="connsiteX1159" fmla="*/ 3729804 w 4545947"/>
              <a:gd name="connsiteY1159" fmla="*/ 798436 h 4525940"/>
              <a:gd name="connsiteX1160" fmla="*/ 4044267 w 4545947"/>
              <a:gd name="connsiteY1160" fmla="*/ 755914 h 4525940"/>
              <a:gd name="connsiteX1161" fmla="*/ 4052223 w 4545947"/>
              <a:gd name="connsiteY1161" fmla="*/ 770158 h 4525940"/>
              <a:gd name="connsiteX1162" fmla="*/ 4044267 w 4545947"/>
              <a:gd name="connsiteY1162" fmla="*/ 784403 h 4525940"/>
              <a:gd name="connsiteX1163" fmla="*/ 4036310 w 4545947"/>
              <a:gd name="connsiteY1163" fmla="*/ 770158 h 4525940"/>
              <a:gd name="connsiteX1164" fmla="*/ 4044267 w 4545947"/>
              <a:gd name="connsiteY1164" fmla="*/ 755914 h 4525940"/>
              <a:gd name="connsiteX1165" fmla="*/ 4191963 w 4545947"/>
              <a:gd name="connsiteY1165" fmla="*/ 753633 h 4525940"/>
              <a:gd name="connsiteX1166" fmla="*/ 4213395 w 4545947"/>
              <a:gd name="connsiteY1166" fmla="*/ 793226 h 4525940"/>
              <a:gd name="connsiteX1167" fmla="*/ 4208313 w 4545947"/>
              <a:gd name="connsiteY1167" fmla="*/ 816057 h 4525940"/>
              <a:gd name="connsiteX1168" fmla="*/ 4202744 w 4545947"/>
              <a:gd name="connsiteY1168" fmla="*/ 800369 h 4525940"/>
              <a:gd name="connsiteX1169" fmla="*/ 4196694 w 4545947"/>
              <a:gd name="connsiteY1169" fmla="*/ 780951 h 4525940"/>
              <a:gd name="connsiteX1170" fmla="*/ 4188573 w 4545947"/>
              <a:gd name="connsiteY1170" fmla="*/ 764983 h 4525940"/>
              <a:gd name="connsiteX1171" fmla="*/ 4191963 w 4545947"/>
              <a:gd name="connsiteY1171" fmla="*/ 753633 h 4525940"/>
              <a:gd name="connsiteX1172" fmla="*/ 2207638 w 4545947"/>
              <a:gd name="connsiteY1172" fmla="*/ 740087 h 4525940"/>
              <a:gd name="connsiteX1173" fmla="*/ 2203265 w 4545947"/>
              <a:gd name="connsiteY1173" fmla="*/ 749119 h 4525940"/>
              <a:gd name="connsiteX1174" fmla="*/ 2195613 w 4545947"/>
              <a:gd name="connsiteY1174" fmla="*/ 761046 h 4525940"/>
              <a:gd name="connsiteX1175" fmla="*/ 2194738 w 4545947"/>
              <a:gd name="connsiteY1175" fmla="*/ 764676 h 4525940"/>
              <a:gd name="connsiteX1176" fmla="*/ 2206763 w 4545947"/>
              <a:gd name="connsiteY1176" fmla="*/ 757813 h 4525940"/>
              <a:gd name="connsiteX1177" fmla="*/ 2207638 w 4545947"/>
              <a:gd name="connsiteY1177" fmla="*/ 740087 h 4525940"/>
              <a:gd name="connsiteX1178" fmla="*/ 2492685 w 4545947"/>
              <a:gd name="connsiteY1178" fmla="*/ 661279 h 4525940"/>
              <a:gd name="connsiteX1179" fmla="*/ 2487033 w 4545947"/>
              <a:gd name="connsiteY1179" fmla="*/ 671621 h 4525940"/>
              <a:gd name="connsiteX1180" fmla="*/ 2481109 w 4545947"/>
              <a:gd name="connsiteY1180" fmla="*/ 700808 h 4525940"/>
              <a:gd name="connsiteX1181" fmla="*/ 2491725 w 4545947"/>
              <a:gd name="connsiteY1181" fmla="*/ 713470 h 4525940"/>
              <a:gd name="connsiteX1182" fmla="*/ 2504127 w 4545947"/>
              <a:gd name="connsiteY1182" fmla="*/ 692066 h 4525940"/>
              <a:gd name="connsiteX1183" fmla="*/ 2498966 w 4545947"/>
              <a:gd name="connsiteY1183" fmla="*/ 664751 h 4525940"/>
              <a:gd name="connsiteX1184" fmla="*/ 2492685 w 4545947"/>
              <a:gd name="connsiteY1184" fmla="*/ 661279 h 4525940"/>
              <a:gd name="connsiteX1185" fmla="*/ 1542281 w 4545947"/>
              <a:gd name="connsiteY1185" fmla="*/ 646751 h 4525940"/>
              <a:gd name="connsiteX1186" fmla="*/ 1547326 w 4545947"/>
              <a:gd name="connsiteY1186" fmla="*/ 654093 h 4525940"/>
              <a:gd name="connsiteX1187" fmla="*/ 1540402 w 4545947"/>
              <a:gd name="connsiteY1187" fmla="*/ 664117 h 4525940"/>
              <a:gd name="connsiteX1188" fmla="*/ 1535210 w 4545947"/>
              <a:gd name="connsiteY1188" fmla="*/ 656599 h 4525940"/>
              <a:gd name="connsiteX1189" fmla="*/ 1542281 w 4545947"/>
              <a:gd name="connsiteY1189" fmla="*/ 646751 h 4525940"/>
              <a:gd name="connsiteX1190" fmla="*/ 4233596 w 4545947"/>
              <a:gd name="connsiteY1190" fmla="*/ 626131 h 4525940"/>
              <a:gd name="connsiteX1191" fmla="*/ 4297896 w 4545947"/>
              <a:gd name="connsiteY1191" fmla="*/ 718993 h 4525940"/>
              <a:gd name="connsiteX1192" fmla="*/ 4291336 w 4545947"/>
              <a:gd name="connsiteY1192" fmla="*/ 729715 h 4525940"/>
              <a:gd name="connsiteX1193" fmla="*/ 4284778 w 4545947"/>
              <a:gd name="connsiteY1193" fmla="*/ 755341 h 4525940"/>
              <a:gd name="connsiteX1194" fmla="*/ 4266012 w 4545947"/>
              <a:gd name="connsiteY1194" fmla="*/ 772883 h 4525940"/>
              <a:gd name="connsiteX1195" fmla="*/ 4256152 w 4545947"/>
              <a:gd name="connsiteY1195" fmla="*/ 754391 h 4525940"/>
              <a:gd name="connsiteX1196" fmla="*/ 4254030 w 4545947"/>
              <a:gd name="connsiteY1196" fmla="*/ 746418 h 4525940"/>
              <a:gd name="connsiteX1197" fmla="*/ 4249794 w 4545947"/>
              <a:gd name="connsiteY1197" fmla="*/ 730392 h 4525940"/>
              <a:gd name="connsiteX1198" fmla="*/ 4242141 w 4545947"/>
              <a:gd name="connsiteY1198" fmla="*/ 710456 h 4525940"/>
              <a:gd name="connsiteX1199" fmla="*/ 4214811 w 4545947"/>
              <a:gd name="connsiteY1199" fmla="*/ 669344 h 4525940"/>
              <a:gd name="connsiteX1200" fmla="*/ 4218709 w 4545947"/>
              <a:gd name="connsiteY1200" fmla="*/ 657786 h 4525940"/>
              <a:gd name="connsiteX1201" fmla="*/ 4225352 w 4545947"/>
              <a:gd name="connsiteY1201" fmla="*/ 641959 h 4525940"/>
              <a:gd name="connsiteX1202" fmla="*/ 4233596 w 4545947"/>
              <a:gd name="connsiteY1202" fmla="*/ 626131 h 4525940"/>
              <a:gd name="connsiteX1203" fmla="*/ 2100311 w 4545947"/>
              <a:gd name="connsiteY1203" fmla="*/ 609600 h 4525940"/>
              <a:gd name="connsiteX1204" fmla="*/ 2108154 w 4545947"/>
              <a:gd name="connsiteY1204" fmla="*/ 610589 h 4525940"/>
              <a:gd name="connsiteX1205" fmla="*/ 2122602 w 4545947"/>
              <a:gd name="connsiteY1205" fmla="*/ 631911 h 4525940"/>
              <a:gd name="connsiteX1206" fmla="*/ 2101230 w 4545947"/>
              <a:gd name="connsiteY1206" fmla="*/ 634573 h 4525940"/>
              <a:gd name="connsiteX1207" fmla="*/ 2098315 w 4545947"/>
              <a:gd name="connsiteY1207" fmla="*/ 618319 h 4525940"/>
              <a:gd name="connsiteX1208" fmla="*/ 2100311 w 4545947"/>
              <a:gd name="connsiteY1208" fmla="*/ 609600 h 4525940"/>
              <a:gd name="connsiteX1209" fmla="*/ 4009611 w 4545947"/>
              <a:gd name="connsiteY1209" fmla="*/ 608352 h 4525940"/>
              <a:gd name="connsiteX1210" fmla="*/ 4014312 w 4545947"/>
              <a:gd name="connsiteY1210" fmla="*/ 616635 h 4525940"/>
              <a:gd name="connsiteX1211" fmla="*/ 4009611 w 4545947"/>
              <a:gd name="connsiteY1211" fmla="*/ 624918 h 4525940"/>
              <a:gd name="connsiteX1212" fmla="*/ 4004911 w 4545947"/>
              <a:gd name="connsiteY1212" fmla="*/ 616635 h 4525940"/>
              <a:gd name="connsiteX1213" fmla="*/ 4009611 w 4545947"/>
              <a:gd name="connsiteY1213" fmla="*/ 608352 h 4525940"/>
              <a:gd name="connsiteX1214" fmla="*/ 4096448 w 4545947"/>
              <a:gd name="connsiteY1214" fmla="*/ 583964 h 4525940"/>
              <a:gd name="connsiteX1215" fmla="*/ 4107195 w 4545947"/>
              <a:gd name="connsiteY1215" fmla="*/ 593827 h 4525940"/>
              <a:gd name="connsiteX1216" fmla="*/ 4128369 w 4545947"/>
              <a:gd name="connsiteY1216" fmla="*/ 607139 h 4525940"/>
              <a:gd name="connsiteX1217" fmla="*/ 4153590 w 4545947"/>
              <a:gd name="connsiteY1217" fmla="*/ 630348 h 4525940"/>
              <a:gd name="connsiteX1218" fmla="*/ 4149141 w 4545947"/>
              <a:gd name="connsiteY1218" fmla="*/ 641890 h 4525940"/>
              <a:gd name="connsiteX1219" fmla="*/ 4120525 w 4545947"/>
              <a:gd name="connsiteY1219" fmla="*/ 642281 h 4525940"/>
              <a:gd name="connsiteX1220" fmla="*/ 4067481 w 4545947"/>
              <a:gd name="connsiteY1220" fmla="*/ 703404 h 4525940"/>
              <a:gd name="connsiteX1221" fmla="*/ 4035521 w 4545947"/>
              <a:gd name="connsiteY1221" fmla="*/ 724260 h 4525940"/>
              <a:gd name="connsiteX1222" fmla="*/ 4039894 w 4545947"/>
              <a:gd name="connsiteY1222" fmla="*/ 714763 h 4525940"/>
              <a:gd name="connsiteX1223" fmla="*/ 4039254 w 4545947"/>
              <a:gd name="connsiteY1223" fmla="*/ 671317 h 4525940"/>
              <a:gd name="connsiteX1224" fmla="*/ 4044061 w 4545947"/>
              <a:gd name="connsiteY1224" fmla="*/ 629112 h 4525940"/>
              <a:gd name="connsiteX1225" fmla="*/ 4057125 w 4545947"/>
              <a:gd name="connsiteY1225" fmla="*/ 614000 h 4525940"/>
              <a:gd name="connsiteX1226" fmla="*/ 4081844 w 4545947"/>
              <a:gd name="connsiteY1226" fmla="*/ 587951 h 4525940"/>
              <a:gd name="connsiteX1227" fmla="*/ 4096448 w 4545947"/>
              <a:gd name="connsiteY1227" fmla="*/ 583964 h 4525940"/>
              <a:gd name="connsiteX1228" fmla="*/ 3399607 w 4545947"/>
              <a:gd name="connsiteY1228" fmla="*/ 565410 h 4525940"/>
              <a:gd name="connsiteX1229" fmla="*/ 3390710 w 4545947"/>
              <a:gd name="connsiteY1229" fmla="*/ 595369 h 4525940"/>
              <a:gd name="connsiteX1230" fmla="*/ 3412518 w 4545947"/>
              <a:gd name="connsiteY1230" fmla="*/ 593840 h 4525940"/>
              <a:gd name="connsiteX1231" fmla="*/ 3399607 w 4545947"/>
              <a:gd name="connsiteY1231" fmla="*/ 565410 h 4525940"/>
              <a:gd name="connsiteX1232" fmla="*/ 3753272 w 4545947"/>
              <a:gd name="connsiteY1232" fmla="*/ 543830 h 4525940"/>
              <a:gd name="connsiteX1233" fmla="*/ 3790519 w 4545947"/>
              <a:gd name="connsiteY1233" fmla="*/ 599225 h 4525940"/>
              <a:gd name="connsiteX1234" fmla="*/ 3794812 w 4545947"/>
              <a:gd name="connsiteY1234" fmla="*/ 607139 h 4525940"/>
              <a:gd name="connsiteX1235" fmla="*/ 3804642 w 4545947"/>
              <a:gd name="connsiteY1235" fmla="*/ 659368 h 4525940"/>
              <a:gd name="connsiteX1236" fmla="*/ 3808129 w 4545947"/>
              <a:gd name="connsiteY1236" fmla="*/ 664117 h 4525940"/>
              <a:gd name="connsiteX1237" fmla="*/ 3812502 w 4545947"/>
              <a:gd name="connsiteY1237" fmla="*/ 679944 h 4525940"/>
              <a:gd name="connsiteX1238" fmla="*/ 3805943 w 4545947"/>
              <a:gd name="connsiteY1238" fmla="*/ 695771 h 4525940"/>
              <a:gd name="connsiteX1239" fmla="*/ 3799383 w 4545947"/>
              <a:gd name="connsiteY1239" fmla="*/ 686189 h 4525940"/>
              <a:gd name="connsiteX1240" fmla="*/ 3795328 w 4545947"/>
              <a:gd name="connsiteY1240" fmla="*/ 665613 h 4525940"/>
              <a:gd name="connsiteX1241" fmla="*/ 3788882 w 4545947"/>
              <a:gd name="connsiteY1241" fmla="*/ 643446 h 4525940"/>
              <a:gd name="connsiteX1242" fmla="*/ 3776114 w 4545947"/>
              <a:gd name="connsiteY1242" fmla="*/ 626562 h 4525940"/>
              <a:gd name="connsiteX1243" fmla="*/ 3757864 w 4545947"/>
              <a:gd name="connsiteY1243" fmla="*/ 596585 h 4525940"/>
              <a:gd name="connsiteX1244" fmla="*/ 3745624 w 4545947"/>
              <a:gd name="connsiteY1244" fmla="*/ 568210 h 4525940"/>
              <a:gd name="connsiteX1245" fmla="*/ 3753272 w 4545947"/>
              <a:gd name="connsiteY1245" fmla="*/ 543830 h 4525940"/>
              <a:gd name="connsiteX1246" fmla="*/ 2508411 w 4545947"/>
              <a:gd name="connsiteY1246" fmla="*/ 515434 h 4525940"/>
              <a:gd name="connsiteX1247" fmla="*/ 2493352 w 4545947"/>
              <a:gd name="connsiteY1247" fmla="*/ 518847 h 4525940"/>
              <a:gd name="connsiteX1248" fmla="*/ 2472948 w 4545947"/>
              <a:gd name="connsiteY1248" fmla="*/ 519406 h 4525940"/>
              <a:gd name="connsiteX1249" fmla="*/ 2426655 w 4545947"/>
              <a:gd name="connsiteY1249" fmla="*/ 542091 h 4525940"/>
              <a:gd name="connsiteX1250" fmla="*/ 2421860 w 4545947"/>
              <a:gd name="connsiteY1250" fmla="*/ 628589 h 4525940"/>
              <a:gd name="connsiteX1251" fmla="*/ 2426284 w 4545947"/>
              <a:gd name="connsiteY1251" fmla="*/ 648832 h 4525940"/>
              <a:gd name="connsiteX1252" fmla="*/ 2440777 w 4545947"/>
              <a:gd name="connsiteY1252" fmla="*/ 700519 h 4525940"/>
              <a:gd name="connsiteX1253" fmla="*/ 2459393 w 4545947"/>
              <a:gd name="connsiteY1253" fmla="*/ 699389 h 4525940"/>
              <a:gd name="connsiteX1254" fmla="*/ 2459081 w 4545947"/>
              <a:gd name="connsiteY1254" fmla="*/ 657786 h 4525940"/>
              <a:gd name="connsiteX1255" fmla="*/ 2459470 w 4545947"/>
              <a:gd name="connsiteY1255" fmla="*/ 641298 h 4525940"/>
              <a:gd name="connsiteX1256" fmla="*/ 2477551 w 4545947"/>
              <a:gd name="connsiteY1256" fmla="*/ 632480 h 4525940"/>
              <a:gd name="connsiteX1257" fmla="*/ 2483722 w 4545947"/>
              <a:gd name="connsiteY1257" fmla="*/ 619800 h 4525940"/>
              <a:gd name="connsiteX1258" fmla="*/ 2478759 w 4545947"/>
              <a:gd name="connsiteY1258" fmla="*/ 588146 h 4525940"/>
              <a:gd name="connsiteX1259" fmla="*/ 2485319 w 4545947"/>
              <a:gd name="connsiteY1259" fmla="*/ 556492 h 4525940"/>
              <a:gd name="connsiteX1260" fmla="*/ 2491878 w 4545947"/>
              <a:gd name="connsiteY1260" fmla="*/ 564659 h 4525940"/>
              <a:gd name="connsiteX1261" fmla="*/ 2508588 w 4545947"/>
              <a:gd name="connsiteY1261" fmla="*/ 599558 h 4525940"/>
              <a:gd name="connsiteX1262" fmla="*/ 2525299 w 4545947"/>
              <a:gd name="connsiteY1262" fmla="*/ 626289 h 4525940"/>
              <a:gd name="connsiteX1263" fmla="*/ 2539199 w 4545947"/>
              <a:gd name="connsiteY1263" fmla="*/ 616250 h 4525940"/>
              <a:gd name="connsiteX1264" fmla="*/ 2548428 w 4545947"/>
              <a:gd name="connsiteY1264" fmla="*/ 572052 h 4525940"/>
              <a:gd name="connsiteX1265" fmla="*/ 2546291 w 4545947"/>
              <a:gd name="connsiteY1265" fmla="*/ 558312 h 4525940"/>
              <a:gd name="connsiteX1266" fmla="*/ 2542439 w 4545947"/>
              <a:gd name="connsiteY1266" fmla="*/ 552299 h 4525940"/>
              <a:gd name="connsiteX1267" fmla="*/ 2537847 w 4545947"/>
              <a:gd name="connsiteY1267" fmla="*/ 548256 h 4525940"/>
              <a:gd name="connsiteX1268" fmla="*/ 2523962 w 4545947"/>
              <a:gd name="connsiteY1268" fmla="*/ 526189 h 4525940"/>
              <a:gd name="connsiteX1269" fmla="*/ 2508411 w 4545947"/>
              <a:gd name="connsiteY1269" fmla="*/ 515434 h 4525940"/>
              <a:gd name="connsiteX1270" fmla="*/ 3394917 w 4545947"/>
              <a:gd name="connsiteY1270" fmla="*/ 499514 h 4525940"/>
              <a:gd name="connsiteX1271" fmla="*/ 3385075 w 4545947"/>
              <a:gd name="connsiteY1271" fmla="*/ 540733 h 4525940"/>
              <a:gd name="connsiteX1272" fmla="*/ 3404022 w 4545947"/>
              <a:gd name="connsiteY1272" fmla="*/ 534348 h 4525940"/>
              <a:gd name="connsiteX1273" fmla="*/ 3394917 w 4545947"/>
              <a:gd name="connsiteY1273" fmla="*/ 499514 h 4525940"/>
              <a:gd name="connsiteX1274" fmla="*/ 2473972 w 4545947"/>
              <a:gd name="connsiteY1274" fmla="*/ 490389 h 4525940"/>
              <a:gd name="connsiteX1275" fmla="*/ 2475523 w 4545947"/>
              <a:gd name="connsiteY1275" fmla="*/ 502376 h 4525940"/>
              <a:gd name="connsiteX1276" fmla="*/ 2480591 w 4545947"/>
              <a:gd name="connsiteY1276" fmla="*/ 497291 h 4525940"/>
              <a:gd name="connsiteX1277" fmla="*/ 2473972 w 4545947"/>
              <a:gd name="connsiteY1277" fmla="*/ 490389 h 4525940"/>
              <a:gd name="connsiteX1278" fmla="*/ 2576610 w 4545947"/>
              <a:gd name="connsiteY1278" fmla="*/ 482359 h 4525940"/>
              <a:gd name="connsiteX1279" fmla="*/ 2586852 w 4545947"/>
              <a:gd name="connsiteY1279" fmla="*/ 505111 h 4525940"/>
              <a:gd name="connsiteX1280" fmla="*/ 2586989 w 4545947"/>
              <a:gd name="connsiteY1280" fmla="*/ 501481 h 4525940"/>
              <a:gd name="connsiteX1281" fmla="*/ 2579336 w 4545947"/>
              <a:gd name="connsiteY1281" fmla="*/ 488499 h 4525940"/>
              <a:gd name="connsiteX1282" fmla="*/ 2576610 w 4545947"/>
              <a:gd name="connsiteY1282" fmla="*/ 482359 h 4525940"/>
              <a:gd name="connsiteX1283" fmla="*/ 2585636 w 4545947"/>
              <a:gd name="connsiteY1283" fmla="*/ 469292 h 4525940"/>
              <a:gd name="connsiteX1284" fmla="*/ 2590998 w 4545947"/>
              <a:gd name="connsiteY1284" fmla="*/ 485006 h 4525940"/>
              <a:gd name="connsiteX1285" fmla="*/ 2600616 w 4545947"/>
              <a:gd name="connsiteY1285" fmla="*/ 491243 h 4525940"/>
              <a:gd name="connsiteX1286" fmla="*/ 2595253 w 4545947"/>
              <a:gd name="connsiteY1286" fmla="*/ 475529 h 4525940"/>
              <a:gd name="connsiteX1287" fmla="*/ 2585636 w 4545947"/>
              <a:gd name="connsiteY1287" fmla="*/ 469292 h 4525940"/>
              <a:gd name="connsiteX1288" fmla="*/ 3422903 w 4545947"/>
              <a:gd name="connsiteY1288" fmla="*/ 465059 h 4525940"/>
              <a:gd name="connsiteX1289" fmla="*/ 3418939 w 4545947"/>
              <a:gd name="connsiteY1289" fmla="*/ 477730 h 4525940"/>
              <a:gd name="connsiteX1290" fmla="*/ 3424580 w 4545947"/>
              <a:gd name="connsiteY1290" fmla="*/ 474182 h 4525940"/>
              <a:gd name="connsiteX1291" fmla="*/ 3422903 w 4545947"/>
              <a:gd name="connsiteY1291" fmla="*/ 465059 h 4525940"/>
              <a:gd name="connsiteX1292" fmla="*/ 3788764 w 4545947"/>
              <a:gd name="connsiteY1292" fmla="*/ 436206 h 4525940"/>
              <a:gd name="connsiteX1293" fmla="*/ 3799916 w 4545947"/>
              <a:gd name="connsiteY1293" fmla="*/ 450450 h 4525940"/>
              <a:gd name="connsiteX1294" fmla="*/ 3813589 w 4545947"/>
              <a:gd name="connsiteY1294" fmla="*/ 475438 h 4525940"/>
              <a:gd name="connsiteX1295" fmla="*/ 3819205 w 4545947"/>
              <a:gd name="connsiteY1295" fmla="*/ 492847 h 4525940"/>
              <a:gd name="connsiteX1296" fmla="*/ 3796103 w 4545947"/>
              <a:gd name="connsiteY1296" fmla="*/ 490044 h 4525940"/>
              <a:gd name="connsiteX1297" fmla="*/ 3790637 w 4545947"/>
              <a:gd name="connsiteY1297" fmla="*/ 475233 h 4525940"/>
              <a:gd name="connsiteX1298" fmla="*/ 3784337 w 4545947"/>
              <a:gd name="connsiteY1298" fmla="*/ 461842 h 4525940"/>
              <a:gd name="connsiteX1299" fmla="*/ 3788764 w 4545947"/>
              <a:gd name="connsiteY1299" fmla="*/ 436206 h 4525940"/>
              <a:gd name="connsiteX1300" fmla="*/ 2416536 w 4545947"/>
              <a:gd name="connsiteY1300" fmla="*/ 393600 h 4525940"/>
              <a:gd name="connsiteX1301" fmla="*/ 2421911 w 4545947"/>
              <a:gd name="connsiteY1301" fmla="*/ 404024 h 4525940"/>
              <a:gd name="connsiteX1302" fmla="*/ 2415031 w 4545947"/>
              <a:gd name="connsiteY1302" fmla="*/ 417213 h 4525940"/>
              <a:gd name="connsiteX1303" fmla="*/ 2409565 w 4545947"/>
              <a:gd name="connsiteY1303" fmla="*/ 406659 h 4525940"/>
              <a:gd name="connsiteX1304" fmla="*/ 2416536 w 4545947"/>
              <a:gd name="connsiteY1304" fmla="*/ 393600 h 4525940"/>
              <a:gd name="connsiteX1305" fmla="*/ 3384911 w 4545947"/>
              <a:gd name="connsiteY1305" fmla="*/ 341340 h 4525940"/>
              <a:gd name="connsiteX1306" fmla="*/ 3372417 w 4545947"/>
              <a:gd name="connsiteY1306" fmla="*/ 369731 h 4525940"/>
              <a:gd name="connsiteX1307" fmla="*/ 3380538 w 4545947"/>
              <a:gd name="connsiteY1307" fmla="*/ 378728 h 4525940"/>
              <a:gd name="connsiteX1308" fmla="*/ 3380675 w 4545947"/>
              <a:gd name="connsiteY1308" fmla="*/ 375035 h 4525940"/>
              <a:gd name="connsiteX1309" fmla="*/ 3380675 w 4545947"/>
              <a:gd name="connsiteY1309" fmla="*/ 375035 h 4525940"/>
              <a:gd name="connsiteX1310" fmla="*/ 3375209 w 4545947"/>
              <a:gd name="connsiteY1310" fmla="*/ 359334 h 4525940"/>
              <a:gd name="connsiteX1311" fmla="*/ 3378698 w 4545947"/>
              <a:gd name="connsiteY1311" fmla="*/ 349948 h 4525940"/>
              <a:gd name="connsiteX1312" fmla="*/ 3388537 w 4545947"/>
              <a:gd name="connsiteY1312" fmla="*/ 347252 h 4525940"/>
              <a:gd name="connsiteX1313" fmla="*/ 3384911 w 4545947"/>
              <a:gd name="connsiteY1313" fmla="*/ 341340 h 4525940"/>
              <a:gd name="connsiteX1314" fmla="*/ 3481752 w 4545947"/>
              <a:gd name="connsiteY1314" fmla="*/ 328581 h 4525940"/>
              <a:gd name="connsiteX1315" fmla="*/ 3473209 w 4545947"/>
              <a:gd name="connsiteY1315" fmla="*/ 344408 h 4525940"/>
              <a:gd name="connsiteX1316" fmla="*/ 3451077 w 4545947"/>
              <a:gd name="connsiteY1316" fmla="*/ 360235 h 4525940"/>
              <a:gd name="connsiteX1317" fmla="*/ 3425989 w 4545947"/>
              <a:gd name="connsiteY1317" fmla="*/ 367943 h 4525940"/>
              <a:gd name="connsiteX1318" fmla="*/ 3435239 w 4545947"/>
              <a:gd name="connsiteY1318" fmla="*/ 429875 h 4525940"/>
              <a:gd name="connsiteX1319" fmla="*/ 3440516 w 4545947"/>
              <a:gd name="connsiteY1319" fmla="*/ 463112 h 4525940"/>
              <a:gd name="connsiteX1320" fmla="*/ 3443678 w 4545947"/>
              <a:gd name="connsiteY1320" fmla="*/ 486853 h 4525940"/>
              <a:gd name="connsiteX1321" fmla="*/ 3449549 w 4545947"/>
              <a:gd name="connsiteY1321" fmla="*/ 501624 h 4525940"/>
              <a:gd name="connsiteX1322" fmla="*/ 3464675 w 4545947"/>
              <a:gd name="connsiteY1322" fmla="*/ 523522 h 4525940"/>
              <a:gd name="connsiteX1323" fmla="*/ 3474924 w 4545947"/>
              <a:gd name="connsiteY1323" fmla="*/ 480522 h 4525940"/>
              <a:gd name="connsiteX1324" fmla="*/ 3480390 w 4545947"/>
              <a:gd name="connsiteY1324" fmla="*/ 433357 h 4525940"/>
              <a:gd name="connsiteX1325" fmla="*/ 3484532 w 4545947"/>
              <a:gd name="connsiteY1325" fmla="*/ 412781 h 4525940"/>
              <a:gd name="connsiteX1326" fmla="*/ 3490938 w 4545947"/>
              <a:gd name="connsiteY1326" fmla="*/ 398220 h 4525940"/>
              <a:gd name="connsiteX1327" fmla="*/ 3504808 w 4545947"/>
              <a:gd name="connsiteY1327" fmla="*/ 364853 h 4525940"/>
              <a:gd name="connsiteX1328" fmla="*/ 3481752 w 4545947"/>
              <a:gd name="connsiteY1328" fmla="*/ 328581 h 4525940"/>
              <a:gd name="connsiteX1329" fmla="*/ 3250209 w 4545947"/>
              <a:gd name="connsiteY1329" fmla="*/ 322250 h 4525940"/>
              <a:gd name="connsiteX1330" fmla="*/ 3218734 w 4545947"/>
              <a:gd name="connsiteY1330" fmla="*/ 345991 h 4525940"/>
              <a:gd name="connsiteX1331" fmla="*/ 3207511 w 4545947"/>
              <a:gd name="connsiteY1331" fmla="*/ 353905 h 4525940"/>
              <a:gd name="connsiteX1332" fmla="*/ 3185026 w 4545947"/>
              <a:gd name="connsiteY1332" fmla="*/ 391710 h 4525940"/>
              <a:gd name="connsiteX1333" fmla="*/ 3190049 w 4545947"/>
              <a:gd name="connsiteY1333" fmla="*/ 417333 h 4525940"/>
              <a:gd name="connsiteX1334" fmla="*/ 3209038 w 4545947"/>
              <a:gd name="connsiteY1334" fmla="*/ 423965 h 4525940"/>
              <a:gd name="connsiteX1335" fmla="*/ 3221064 w 4545947"/>
              <a:gd name="connsiteY1335" fmla="*/ 416051 h 4525940"/>
              <a:gd name="connsiteX1336" fmla="*/ 3234472 w 4545947"/>
              <a:gd name="connsiteY1336" fmla="*/ 396638 h 4525940"/>
              <a:gd name="connsiteX1337" fmla="*/ 3252767 w 4545947"/>
              <a:gd name="connsiteY1337" fmla="*/ 392871 h 4525940"/>
              <a:gd name="connsiteX1338" fmla="*/ 3261513 w 4545947"/>
              <a:gd name="connsiteY1338" fmla="*/ 395055 h 4525940"/>
              <a:gd name="connsiteX1339" fmla="*/ 3250209 w 4545947"/>
              <a:gd name="connsiteY1339" fmla="*/ 322250 h 4525940"/>
              <a:gd name="connsiteX1340" fmla="*/ 3735611 w 4545947"/>
              <a:gd name="connsiteY1340" fmla="*/ 303258 h 4525940"/>
              <a:gd name="connsiteX1341" fmla="*/ 3742535 w 4545947"/>
              <a:gd name="connsiteY1341" fmla="*/ 312227 h 4525940"/>
              <a:gd name="connsiteX1342" fmla="*/ 3747682 w 4545947"/>
              <a:gd name="connsiteY1342" fmla="*/ 323679 h 4525940"/>
              <a:gd name="connsiteX1343" fmla="*/ 3749611 w 4545947"/>
              <a:gd name="connsiteY1343" fmla="*/ 333703 h 4525940"/>
              <a:gd name="connsiteX1344" fmla="*/ 3736483 w 4545947"/>
              <a:gd name="connsiteY1344" fmla="*/ 330164 h 4525940"/>
              <a:gd name="connsiteX1345" fmla="*/ 3731235 w 4545947"/>
              <a:gd name="connsiteY1345" fmla="*/ 311171 h 4525940"/>
              <a:gd name="connsiteX1346" fmla="*/ 3735611 w 4545947"/>
              <a:gd name="connsiteY1346" fmla="*/ 303258 h 4525940"/>
              <a:gd name="connsiteX1347" fmla="*/ 2667524 w 4545947"/>
              <a:gd name="connsiteY1347" fmla="*/ 278974 h 4525940"/>
              <a:gd name="connsiteX1348" fmla="*/ 2658117 w 4545947"/>
              <a:gd name="connsiteY1348" fmla="*/ 316447 h 4525940"/>
              <a:gd name="connsiteX1349" fmla="*/ 2673175 w 4545947"/>
              <a:gd name="connsiteY1349" fmla="*/ 346258 h 4525940"/>
              <a:gd name="connsiteX1350" fmla="*/ 2682100 w 4545947"/>
              <a:gd name="connsiteY1350" fmla="*/ 316609 h 4525940"/>
              <a:gd name="connsiteX1351" fmla="*/ 2674323 w 4545947"/>
              <a:gd name="connsiteY1351" fmla="*/ 281790 h 4525940"/>
              <a:gd name="connsiteX1352" fmla="*/ 2667524 w 4545947"/>
              <a:gd name="connsiteY1352" fmla="*/ 278974 h 4525940"/>
              <a:gd name="connsiteX1353" fmla="*/ 2403748 w 4545947"/>
              <a:gd name="connsiteY1353" fmla="*/ 222584 h 4525940"/>
              <a:gd name="connsiteX1354" fmla="*/ 2408792 w 4545947"/>
              <a:gd name="connsiteY1354" fmla="*/ 229925 h 4525940"/>
              <a:gd name="connsiteX1355" fmla="*/ 2401869 w 4545947"/>
              <a:gd name="connsiteY1355" fmla="*/ 239949 h 4525940"/>
              <a:gd name="connsiteX1356" fmla="*/ 2396676 w 4545947"/>
              <a:gd name="connsiteY1356" fmla="*/ 232431 h 4525940"/>
              <a:gd name="connsiteX1357" fmla="*/ 2403748 w 4545947"/>
              <a:gd name="connsiteY1357" fmla="*/ 222584 h 4525940"/>
              <a:gd name="connsiteX1358" fmla="*/ 3661635 w 4545947"/>
              <a:gd name="connsiteY1358" fmla="*/ 214625 h 4525940"/>
              <a:gd name="connsiteX1359" fmla="*/ 3668195 w 4545947"/>
              <a:gd name="connsiteY1359" fmla="*/ 227287 h 4525940"/>
              <a:gd name="connsiteX1360" fmla="*/ 3661635 w 4545947"/>
              <a:gd name="connsiteY1360" fmla="*/ 239949 h 4525940"/>
              <a:gd name="connsiteX1361" fmla="*/ 3655077 w 4545947"/>
              <a:gd name="connsiteY1361" fmla="*/ 227287 h 4525940"/>
              <a:gd name="connsiteX1362" fmla="*/ 3661635 w 4545947"/>
              <a:gd name="connsiteY1362" fmla="*/ 214625 h 4525940"/>
              <a:gd name="connsiteX1363" fmla="*/ 2458546 w 4545947"/>
              <a:gd name="connsiteY1363" fmla="*/ 189624 h 4525940"/>
              <a:gd name="connsiteX1364" fmla="*/ 2468139 w 4545947"/>
              <a:gd name="connsiteY1364" fmla="*/ 196363 h 4525940"/>
              <a:gd name="connsiteX1365" fmla="*/ 2489869 w 4545947"/>
              <a:gd name="connsiteY1365" fmla="*/ 200371 h 4525940"/>
              <a:gd name="connsiteX1366" fmla="*/ 2518076 w 4545947"/>
              <a:gd name="connsiteY1366" fmla="*/ 215902 h 4525940"/>
              <a:gd name="connsiteX1367" fmla="*/ 2525165 w 4545947"/>
              <a:gd name="connsiteY1367" fmla="*/ 243549 h 4525940"/>
              <a:gd name="connsiteX1368" fmla="*/ 2511500 w 4545947"/>
              <a:gd name="connsiteY1368" fmla="*/ 238403 h 4525940"/>
              <a:gd name="connsiteX1369" fmla="*/ 2489102 w 4545947"/>
              <a:gd name="connsiteY1369" fmla="*/ 239473 h 4525940"/>
              <a:gd name="connsiteX1370" fmla="*/ 2470013 w 4545947"/>
              <a:gd name="connsiteY1370" fmla="*/ 246218 h 4525940"/>
              <a:gd name="connsiteX1371" fmla="*/ 2461268 w 4545947"/>
              <a:gd name="connsiteY1371" fmla="*/ 222653 h 4525940"/>
              <a:gd name="connsiteX1372" fmla="*/ 2452522 w 4545947"/>
              <a:gd name="connsiteY1372" fmla="*/ 200557 h 4525940"/>
              <a:gd name="connsiteX1373" fmla="*/ 2458546 w 4545947"/>
              <a:gd name="connsiteY1373" fmla="*/ 189624 h 4525940"/>
              <a:gd name="connsiteX1374" fmla="*/ 2511298 w 4545947"/>
              <a:gd name="connsiteY1374" fmla="*/ 176640 h 4525940"/>
              <a:gd name="connsiteX1375" fmla="*/ 2518116 w 4545947"/>
              <a:gd name="connsiteY1375" fmla="*/ 182971 h 4525940"/>
              <a:gd name="connsiteX1376" fmla="*/ 2514001 w 4545947"/>
              <a:gd name="connsiteY1376" fmla="*/ 189302 h 4525940"/>
              <a:gd name="connsiteX1377" fmla="*/ 2507183 w 4545947"/>
              <a:gd name="connsiteY1377" fmla="*/ 182971 h 4525940"/>
              <a:gd name="connsiteX1378" fmla="*/ 2511298 w 4545947"/>
              <a:gd name="connsiteY1378" fmla="*/ 176640 h 4525940"/>
              <a:gd name="connsiteX1379" fmla="*/ 2555929 w 4545947"/>
              <a:gd name="connsiteY1379" fmla="*/ 171777 h 4525940"/>
              <a:gd name="connsiteX1380" fmla="*/ 2582482 w 4545947"/>
              <a:gd name="connsiteY1380" fmla="*/ 177792 h 4525940"/>
              <a:gd name="connsiteX1381" fmla="*/ 2574699 w 4545947"/>
              <a:gd name="connsiteY1381" fmla="*/ 193528 h 4525940"/>
              <a:gd name="connsiteX1382" fmla="*/ 2555286 w 4545947"/>
              <a:gd name="connsiteY1382" fmla="*/ 195633 h 4525940"/>
              <a:gd name="connsiteX1383" fmla="*/ 2544095 w 4545947"/>
              <a:gd name="connsiteY1383" fmla="*/ 189302 h 4525940"/>
              <a:gd name="connsiteX1384" fmla="*/ 2535607 w 4545947"/>
              <a:gd name="connsiteY1384" fmla="*/ 181183 h 4525940"/>
              <a:gd name="connsiteX1385" fmla="*/ 2555929 w 4545947"/>
              <a:gd name="connsiteY1385" fmla="*/ 171777 h 4525940"/>
              <a:gd name="connsiteX1386" fmla="*/ 2651238 w 4545947"/>
              <a:gd name="connsiteY1386" fmla="*/ 166688 h 4525940"/>
              <a:gd name="connsiteX1387" fmla="*/ 2662423 w 4545947"/>
              <a:gd name="connsiteY1387" fmla="*/ 186823 h 4525940"/>
              <a:gd name="connsiteX1388" fmla="*/ 2658132 w 4545947"/>
              <a:gd name="connsiteY1388" fmla="*/ 201964 h 4525940"/>
              <a:gd name="connsiteX1389" fmla="*/ 2651099 w 4545947"/>
              <a:gd name="connsiteY1389" fmla="*/ 217791 h 4525940"/>
              <a:gd name="connsiteX1390" fmla="*/ 2631294 w 4545947"/>
              <a:gd name="connsiteY1390" fmla="*/ 228870 h 4525940"/>
              <a:gd name="connsiteX1391" fmla="*/ 2631294 w 4545947"/>
              <a:gd name="connsiteY1391" fmla="*/ 219374 h 4525940"/>
              <a:gd name="connsiteX1392" fmla="*/ 2627439 w 4545947"/>
              <a:gd name="connsiteY1392" fmla="*/ 214625 h 4525940"/>
              <a:gd name="connsiteX1393" fmla="*/ 2631687 w 4545947"/>
              <a:gd name="connsiteY1393" fmla="*/ 178004 h 4525940"/>
              <a:gd name="connsiteX1394" fmla="*/ 2651238 w 4545947"/>
              <a:gd name="connsiteY1394" fmla="*/ 166688 h 4525940"/>
              <a:gd name="connsiteX1395" fmla="*/ 3294675 w 4545947"/>
              <a:gd name="connsiteY1395" fmla="*/ 163979 h 4525940"/>
              <a:gd name="connsiteX1396" fmla="*/ 3292944 w 4545947"/>
              <a:gd name="connsiteY1396" fmla="*/ 181520 h 4525940"/>
              <a:gd name="connsiteX1397" fmla="*/ 3287751 w 4545947"/>
              <a:gd name="connsiteY1397" fmla="*/ 174003 h 4525940"/>
              <a:gd name="connsiteX1398" fmla="*/ 3294675 w 4545947"/>
              <a:gd name="connsiteY1398" fmla="*/ 163979 h 4525940"/>
              <a:gd name="connsiteX1399" fmla="*/ 3593184 w 4545947"/>
              <a:gd name="connsiteY1399" fmla="*/ 152944 h 4525940"/>
              <a:gd name="connsiteX1400" fmla="*/ 3598229 w 4545947"/>
              <a:gd name="connsiteY1400" fmla="*/ 160286 h 4525940"/>
              <a:gd name="connsiteX1401" fmla="*/ 3591305 w 4545947"/>
              <a:gd name="connsiteY1401" fmla="*/ 170310 h 4525940"/>
              <a:gd name="connsiteX1402" fmla="*/ 3586112 w 4545947"/>
              <a:gd name="connsiteY1402" fmla="*/ 162792 h 4525940"/>
              <a:gd name="connsiteX1403" fmla="*/ 3593184 w 4545947"/>
              <a:gd name="connsiteY1403" fmla="*/ 152944 h 4525940"/>
              <a:gd name="connsiteX1404" fmla="*/ 2447768 w 4545947"/>
              <a:gd name="connsiteY1404" fmla="*/ 122488 h 4525940"/>
              <a:gd name="connsiteX1405" fmla="*/ 2445825 w 4545947"/>
              <a:gd name="connsiteY1405" fmla="*/ 151317 h 4525940"/>
              <a:gd name="connsiteX1406" fmla="*/ 2436499 w 4545947"/>
              <a:gd name="connsiteY1406" fmla="*/ 141395 h 4525940"/>
              <a:gd name="connsiteX1407" fmla="*/ 2447768 w 4545947"/>
              <a:gd name="connsiteY1407" fmla="*/ 122488 h 4525940"/>
              <a:gd name="connsiteX1408" fmla="*/ 2758453 w 4545947"/>
              <a:gd name="connsiteY1408" fmla="*/ 113837 h 4525940"/>
              <a:gd name="connsiteX1409" fmla="*/ 2752343 w 4545947"/>
              <a:gd name="connsiteY1409" fmla="*/ 114355 h 4525940"/>
              <a:gd name="connsiteX1410" fmla="*/ 2739995 w 4545947"/>
              <a:gd name="connsiteY1410" fmla="*/ 163342 h 4525940"/>
              <a:gd name="connsiteX1411" fmla="*/ 2756797 w 4545947"/>
              <a:gd name="connsiteY1411" fmla="*/ 236783 h 4525940"/>
              <a:gd name="connsiteX1412" fmla="*/ 2776577 w 4545947"/>
              <a:gd name="connsiteY1412" fmla="*/ 277579 h 4525940"/>
              <a:gd name="connsiteX1413" fmla="*/ 2784864 w 4545947"/>
              <a:gd name="connsiteY1413" fmla="*/ 243265 h 4525940"/>
              <a:gd name="connsiteX1414" fmla="*/ 2789237 w 4545947"/>
              <a:gd name="connsiteY1414" fmla="*/ 211460 h 4525940"/>
              <a:gd name="connsiteX1415" fmla="*/ 2787050 w 4545947"/>
              <a:gd name="connsiteY1415" fmla="*/ 172599 h 4525940"/>
              <a:gd name="connsiteX1416" fmla="*/ 2780492 w 4545947"/>
              <a:gd name="connsiteY1416" fmla="*/ 159871 h 4525940"/>
              <a:gd name="connsiteX1417" fmla="*/ 2754010 w 4545947"/>
              <a:gd name="connsiteY1417" fmla="*/ 129045 h 4525940"/>
              <a:gd name="connsiteX1418" fmla="*/ 2752067 w 4545947"/>
              <a:gd name="connsiteY1418" fmla="*/ 122018 h 4525940"/>
              <a:gd name="connsiteX1419" fmla="*/ 2758453 w 4545947"/>
              <a:gd name="connsiteY1419" fmla="*/ 113837 h 4525940"/>
              <a:gd name="connsiteX1420" fmla="*/ 3208103 w 4545947"/>
              <a:gd name="connsiteY1420" fmla="*/ 91897 h 4525940"/>
              <a:gd name="connsiteX1421" fmla="*/ 3217784 w 4545947"/>
              <a:gd name="connsiteY1421" fmla="*/ 116250 h 4525940"/>
              <a:gd name="connsiteX1422" fmla="*/ 3224343 w 4545947"/>
              <a:gd name="connsiteY1422" fmla="*/ 144986 h 4525940"/>
              <a:gd name="connsiteX1423" fmla="*/ 3230903 w 4545947"/>
              <a:gd name="connsiteY1423" fmla="*/ 168372 h 4525940"/>
              <a:gd name="connsiteX1424" fmla="*/ 3237462 w 4545947"/>
              <a:gd name="connsiteY1424" fmla="*/ 193372 h 4525940"/>
              <a:gd name="connsiteX1425" fmla="*/ 3240742 w 4545947"/>
              <a:gd name="connsiteY1425" fmla="*/ 219944 h 4525940"/>
              <a:gd name="connsiteX1426" fmla="*/ 3223595 w 4545947"/>
              <a:gd name="connsiteY1426" fmla="*/ 216414 h 4525940"/>
              <a:gd name="connsiteX1427" fmla="*/ 3189004 w 4545947"/>
              <a:gd name="connsiteY1427" fmla="*/ 162600 h 4525940"/>
              <a:gd name="connsiteX1428" fmla="*/ 3194368 w 4545947"/>
              <a:gd name="connsiteY1428" fmla="*/ 124622 h 4525940"/>
              <a:gd name="connsiteX1429" fmla="*/ 3208103 w 4545947"/>
              <a:gd name="connsiteY1429" fmla="*/ 91897 h 4525940"/>
              <a:gd name="connsiteX1430" fmla="*/ 3421125 w 4545947"/>
              <a:gd name="connsiteY1430" fmla="*/ 62685 h 4525940"/>
              <a:gd name="connsiteX1431" fmla="*/ 3427684 w 4545947"/>
              <a:gd name="connsiteY1431" fmla="*/ 72181 h 4525940"/>
              <a:gd name="connsiteX1432" fmla="*/ 3431098 w 4545947"/>
              <a:gd name="connsiteY1432" fmla="*/ 81678 h 4525940"/>
              <a:gd name="connsiteX1433" fmla="*/ 3441509 w 4545947"/>
              <a:gd name="connsiteY1433" fmla="*/ 121946 h 4525940"/>
              <a:gd name="connsiteX1434" fmla="*/ 3433123 w 4545947"/>
              <a:gd name="connsiteY1434" fmla="*/ 121434 h 4525940"/>
              <a:gd name="connsiteX1435" fmla="*/ 3430102 w 4545947"/>
              <a:gd name="connsiteY1435" fmla="*/ 112791 h 4525940"/>
              <a:gd name="connsiteX1436" fmla="*/ 3427942 w 4545947"/>
              <a:gd name="connsiteY1436" fmla="*/ 107001 h 4525940"/>
              <a:gd name="connsiteX1437" fmla="*/ 3423312 w 4545947"/>
              <a:gd name="connsiteY1437" fmla="*/ 94339 h 4525940"/>
              <a:gd name="connsiteX1438" fmla="*/ 3418939 w 4545947"/>
              <a:gd name="connsiteY1438" fmla="*/ 81678 h 4525940"/>
              <a:gd name="connsiteX1439" fmla="*/ 3414566 w 4545947"/>
              <a:gd name="connsiteY1439" fmla="*/ 72181 h 4525940"/>
              <a:gd name="connsiteX1440" fmla="*/ 3421125 w 4545947"/>
              <a:gd name="connsiteY1440" fmla="*/ 62685 h 4525940"/>
              <a:gd name="connsiteX1441" fmla="*/ 3123228 w 4545947"/>
              <a:gd name="connsiteY1441" fmla="*/ 39762 h 4525940"/>
              <a:gd name="connsiteX1442" fmla="*/ 3129915 w 4545947"/>
              <a:gd name="connsiteY1442" fmla="*/ 46141 h 4525940"/>
              <a:gd name="connsiteX1443" fmla="*/ 3130996 w 4545947"/>
              <a:gd name="connsiteY1443" fmla="*/ 58920 h 4525940"/>
              <a:gd name="connsiteX1444" fmla="*/ 3124122 w 4545947"/>
              <a:gd name="connsiteY1444" fmla="*/ 52246 h 4525940"/>
              <a:gd name="connsiteX1445" fmla="*/ 3123228 w 4545947"/>
              <a:gd name="connsiteY1445" fmla="*/ 39762 h 4525940"/>
              <a:gd name="connsiteX1446" fmla="*/ 3491456 w 4545947"/>
              <a:gd name="connsiteY1446" fmla="*/ 6650 h 4525940"/>
              <a:gd name="connsiteX1447" fmla="*/ 3502024 w 4545947"/>
              <a:gd name="connsiteY1447" fmla="*/ 18369 h 4525940"/>
              <a:gd name="connsiteX1448" fmla="*/ 3517999 w 4545947"/>
              <a:gd name="connsiteY1448" fmla="*/ 31031 h 4525940"/>
              <a:gd name="connsiteX1449" fmla="*/ 3523889 w 4545947"/>
              <a:gd name="connsiteY1449" fmla="*/ 37362 h 4525940"/>
              <a:gd name="connsiteX1450" fmla="*/ 3530448 w 4545947"/>
              <a:gd name="connsiteY1450" fmla="*/ 43693 h 4525940"/>
              <a:gd name="connsiteX1451" fmla="*/ 3537008 w 4545947"/>
              <a:gd name="connsiteY1451" fmla="*/ 56677 h 4525940"/>
              <a:gd name="connsiteX1452" fmla="*/ 3573084 w 4545947"/>
              <a:gd name="connsiteY1452" fmla="*/ 113301 h 4525940"/>
              <a:gd name="connsiteX1453" fmla="*/ 3576364 w 4545947"/>
              <a:gd name="connsiteY1453" fmla="*/ 123514 h 4525940"/>
              <a:gd name="connsiteX1454" fmla="*/ 3565906 w 4545947"/>
              <a:gd name="connsiteY1454" fmla="*/ 129897 h 4525940"/>
              <a:gd name="connsiteX1455" fmla="*/ 3553610 w 4545947"/>
              <a:gd name="connsiteY1455" fmla="*/ 148893 h 4525940"/>
              <a:gd name="connsiteX1456" fmla="*/ 3559695 w 4545947"/>
              <a:gd name="connsiteY1456" fmla="*/ 178853 h 4525940"/>
              <a:gd name="connsiteX1457" fmla="*/ 3562664 w 4545947"/>
              <a:gd name="connsiteY1457" fmla="*/ 212934 h 4525940"/>
              <a:gd name="connsiteX1458" fmla="*/ 3570416 w 4545947"/>
              <a:gd name="connsiteY1458" fmla="*/ 239949 h 4525940"/>
              <a:gd name="connsiteX1459" fmla="*/ 3586126 w 4545947"/>
              <a:gd name="connsiteY1459" fmla="*/ 229122 h 4525940"/>
              <a:gd name="connsiteX1460" fmla="*/ 3598207 w 4545947"/>
              <a:gd name="connsiteY1460" fmla="*/ 227237 h 4525940"/>
              <a:gd name="connsiteX1461" fmla="*/ 3599566 w 4545947"/>
              <a:gd name="connsiteY1461" fmla="*/ 241937 h 4525940"/>
              <a:gd name="connsiteX1462" fmla="*/ 3618632 w 4545947"/>
              <a:gd name="connsiteY1462" fmla="*/ 258845 h 4525940"/>
              <a:gd name="connsiteX1463" fmla="*/ 3665357 w 4545947"/>
              <a:gd name="connsiteY1463" fmla="*/ 319085 h 4525940"/>
              <a:gd name="connsiteX1464" fmla="*/ 3664147 w 4545947"/>
              <a:gd name="connsiteY1464" fmla="*/ 355487 h 4525940"/>
              <a:gd name="connsiteX1465" fmla="*/ 3664283 w 4545947"/>
              <a:gd name="connsiteY1465" fmla="*/ 379228 h 4525940"/>
              <a:gd name="connsiteX1466" fmla="*/ 3668196 w 4545947"/>
              <a:gd name="connsiteY1466" fmla="*/ 388724 h 4525940"/>
              <a:gd name="connsiteX1467" fmla="*/ 3672568 w 4545947"/>
              <a:gd name="connsiteY1467" fmla="*/ 398220 h 4525940"/>
              <a:gd name="connsiteX1468" fmla="*/ 3676941 w 4545947"/>
              <a:gd name="connsiteY1468" fmla="*/ 421463 h 4525940"/>
              <a:gd name="connsiteX1469" fmla="*/ 3683014 w 4545947"/>
              <a:gd name="connsiteY1469" fmla="*/ 454700 h 4525940"/>
              <a:gd name="connsiteX1470" fmla="*/ 3692108 w 4545947"/>
              <a:gd name="connsiteY1470" fmla="*/ 485270 h 4525940"/>
              <a:gd name="connsiteX1471" fmla="*/ 3688220 w 4545947"/>
              <a:gd name="connsiteY1471" fmla="*/ 505845 h 4525940"/>
              <a:gd name="connsiteX1472" fmla="*/ 3682407 w 4545947"/>
              <a:gd name="connsiteY1472" fmla="*/ 498925 h 4525940"/>
              <a:gd name="connsiteX1473" fmla="*/ 3660542 w 4545947"/>
              <a:gd name="connsiteY1473" fmla="*/ 484398 h 4525940"/>
              <a:gd name="connsiteX1474" fmla="*/ 3656943 w 4545947"/>
              <a:gd name="connsiteY1474" fmla="*/ 532140 h 4525940"/>
              <a:gd name="connsiteX1475" fmla="*/ 3663823 w 4545947"/>
              <a:gd name="connsiteY1475" fmla="*/ 567545 h 4525940"/>
              <a:gd name="connsiteX1476" fmla="*/ 3672568 w 4545947"/>
              <a:gd name="connsiteY1476" fmla="*/ 599081 h 4525940"/>
              <a:gd name="connsiteX1477" fmla="*/ 3681314 w 4545947"/>
              <a:gd name="connsiteY1477" fmla="*/ 626611 h 4525940"/>
              <a:gd name="connsiteX1478" fmla="*/ 3685687 w 4545947"/>
              <a:gd name="connsiteY1478" fmla="*/ 641959 h 4525940"/>
              <a:gd name="connsiteX1479" fmla="*/ 3690060 w 4545947"/>
              <a:gd name="connsiteY1479" fmla="*/ 660343 h 4525940"/>
              <a:gd name="connsiteX1480" fmla="*/ 3714879 w 4545947"/>
              <a:gd name="connsiteY1480" fmla="*/ 694706 h 4525940"/>
              <a:gd name="connsiteX1481" fmla="*/ 3727174 w 4545947"/>
              <a:gd name="connsiteY1481" fmla="*/ 678324 h 4525940"/>
              <a:gd name="connsiteX1482" fmla="*/ 3741385 w 4545947"/>
              <a:gd name="connsiteY1482" fmla="*/ 664117 h 4525940"/>
              <a:gd name="connsiteX1483" fmla="*/ 3736264 w 4545947"/>
              <a:gd name="connsiteY1483" fmla="*/ 703575 h 4525940"/>
              <a:gd name="connsiteX1484" fmla="*/ 3721445 w 4545947"/>
              <a:gd name="connsiteY1484" fmla="*/ 766238 h 4525940"/>
              <a:gd name="connsiteX1485" fmla="*/ 3753209 w 4545947"/>
              <a:gd name="connsiteY1485" fmla="*/ 762044 h 4525940"/>
              <a:gd name="connsiteX1486" fmla="*/ 3792622 w 4545947"/>
              <a:gd name="connsiteY1486" fmla="*/ 783484 h 4525940"/>
              <a:gd name="connsiteX1487" fmla="*/ 3816087 w 4545947"/>
              <a:gd name="connsiteY1487" fmla="*/ 779639 h 4525940"/>
              <a:gd name="connsiteX1488" fmla="*/ 3832485 w 4545947"/>
              <a:gd name="connsiteY1488" fmla="*/ 748816 h 4525940"/>
              <a:gd name="connsiteX1489" fmla="*/ 3847425 w 4545947"/>
              <a:gd name="connsiteY1489" fmla="*/ 709264 h 4525940"/>
              <a:gd name="connsiteX1490" fmla="*/ 3839142 w 4545947"/>
              <a:gd name="connsiteY1490" fmla="*/ 660590 h 4525940"/>
              <a:gd name="connsiteX1491" fmla="*/ 3842989 w 4545947"/>
              <a:gd name="connsiteY1491" fmla="*/ 566799 h 4525940"/>
              <a:gd name="connsiteX1492" fmla="*/ 3847485 w 4545947"/>
              <a:gd name="connsiteY1492" fmla="*/ 549670 h 4525940"/>
              <a:gd name="connsiteX1493" fmla="*/ 3853517 w 4545947"/>
              <a:gd name="connsiteY1493" fmla="*/ 531802 h 4525940"/>
              <a:gd name="connsiteX1494" fmla="*/ 3861473 w 4545947"/>
              <a:gd name="connsiteY1494" fmla="*/ 472401 h 4525940"/>
              <a:gd name="connsiteX1495" fmla="*/ 3842299 w 4545947"/>
              <a:gd name="connsiteY1495" fmla="*/ 430355 h 4525940"/>
              <a:gd name="connsiteX1496" fmla="*/ 3823090 w 4545947"/>
              <a:gd name="connsiteY1496" fmla="*/ 390244 h 4525940"/>
              <a:gd name="connsiteX1497" fmla="*/ 3811876 w 4545947"/>
              <a:gd name="connsiteY1497" fmla="*/ 365824 h 4525940"/>
              <a:gd name="connsiteX1498" fmla="*/ 3803756 w 4545947"/>
              <a:gd name="connsiteY1498" fmla="*/ 345701 h 4525940"/>
              <a:gd name="connsiteX1499" fmla="*/ 3798290 w 4545947"/>
              <a:gd name="connsiteY1499" fmla="*/ 327206 h 4525940"/>
              <a:gd name="connsiteX1500" fmla="*/ 3783985 w 4545947"/>
              <a:gd name="connsiteY1500" fmla="*/ 271395 h 4525940"/>
              <a:gd name="connsiteX1501" fmla="*/ 3795958 w 4545947"/>
              <a:gd name="connsiteY1501" fmla="*/ 251450 h 4525940"/>
              <a:gd name="connsiteX1502" fmla="*/ 3811582 w 4545947"/>
              <a:gd name="connsiteY1502" fmla="*/ 258942 h 4525940"/>
              <a:gd name="connsiteX1503" fmla="*/ 3838594 w 4545947"/>
              <a:gd name="connsiteY1503" fmla="*/ 298509 h 4525940"/>
              <a:gd name="connsiteX1504" fmla="*/ 3843112 w 4545947"/>
              <a:gd name="connsiteY1504" fmla="*/ 309588 h 4525940"/>
              <a:gd name="connsiteX1505" fmla="*/ 3847485 w 4545947"/>
              <a:gd name="connsiteY1505" fmla="*/ 319315 h 4525940"/>
              <a:gd name="connsiteX1506" fmla="*/ 3880487 w 4545947"/>
              <a:gd name="connsiteY1506" fmla="*/ 375747 h 4525940"/>
              <a:gd name="connsiteX1507" fmla="*/ 3913488 w 4545947"/>
              <a:gd name="connsiteY1507" fmla="*/ 422452 h 4525940"/>
              <a:gd name="connsiteX1508" fmla="*/ 3912190 w 4545947"/>
              <a:gd name="connsiteY1508" fmla="*/ 462566 h 4525940"/>
              <a:gd name="connsiteX1509" fmla="*/ 3910892 w 4545947"/>
              <a:gd name="connsiteY1509" fmla="*/ 502680 h 4525940"/>
              <a:gd name="connsiteX1510" fmla="*/ 3924010 w 4545947"/>
              <a:gd name="connsiteY1510" fmla="*/ 504823 h 4525940"/>
              <a:gd name="connsiteX1511" fmla="*/ 3948063 w 4545947"/>
              <a:gd name="connsiteY1511" fmla="*/ 546577 h 4525940"/>
              <a:gd name="connsiteX1512" fmla="*/ 3957252 w 4545947"/>
              <a:gd name="connsiteY1512" fmla="*/ 587378 h 4525940"/>
              <a:gd name="connsiteX1513" fmla="*/ 3964689 w 4545947"/>
              <a:gd name="connsiteY1513" fmla="*/ 623392 h 4525940"/>
              <a:gd name="connsiteX1514" fmla="*/ 3966432 w 4545947"/>
              <a:gd name="connsiteY1514" fmla="*/ 645124 h 4525940"/>
              <a:gd name="connsiteX1515" fmla="*/ 3969927 w 4545947"/>
              <a:gd name="connsiteY1515" fmla="*/ 664117 h 4525940"/>
              <a:gd name="connsiteX1516" fmla="*/ 3961040 w 4545947"/>
              <a:gd name="connsiteY1516" fmla="*/ 683109 h 4525940"/>
              <a:gd name="connsiteX1517" fmla="*/ 3951373 w 4545947"/>
              <a:gd name="connsiteY1517" fmla="*/ 730591 h 4525940"/>
              <a:gd name="connsiteX1518" fmla="*/ 3961150 w 4545947"/>
              <a:gd name="connsiteY1518" fmla="*/ 759079 h 4525940"/>
              <a:gd name="connsiteX1519" fmla="*/ 3975786 w 4545947"/>
              <a:gd name="connsiteY1519" fmla="*/ 770572 h 4525940"/>
              <a:gd name="connsiteX1520" fmla="*/ 3993580 w 4545947"/>
              <a:gd name="connsiteY1520" fmla="*/ 785503 h 4525940"/>
              <a:gd name="connsiteX1521" fmla="*/ 4004560 w 4545947"/>
              <a:gd name="connsiteY1521" fmla="*/ 794212 h 4525940"/>
              <a:gd name="connsiteX1522" fmla="*/ 4011235 w 4545947"/>
              <a:gd name="connsiteY1522" fmla="*/ 814926 h 4525940"/>
              <a:gd name="connsiteX1523" fmla="*/ 4008872 w 4545947"/>
              <a:gd name="connsiteY1523" fmla="*/ 849310 h 4525940"/>
              <a:gd name="connsiteX1524" fmla="*/ 4041280 w 4545947"/>
              <a:gd name="connsiteY1524" fmla="*/ 845658 h 4525940"/>
              <a:gd name="connsiteX1525" fmla="*/ 4062851 w 4545947"/>
              <a:gd name="connsiteY1525" fmla="*/ 820534 h 4525940"/>
              <a:gd name="connsiteX1526" fmla="*/ 4070504 w 4545947"/>
              <a:gd name="connsiteY1526" fmla="*/ 803968 h 4525940"/>
              <a:gd name="connsiteX1527" fmla="*/ 4075068 w 4545947"/>
              <a:gd name="connsiteY1527" fmla="*/ 787397 h 4525940"/>
              <a:gd name="connsiteX1528" fmla="*/ 4092369 w 4545947"/>
              <a:gd name="connsiteY1528" fmla="*/ 816832 h 4525940"/>
              <a:gd name="connsiteX1529" fmla="*/ 4096742 w 4545947"/>
              <a:gd name="connsiteY1529" fmla="*/ 835050 h 4525940"/>
              <a:gd name="connsiteX1530" fmla="*/ 4101115 w 4545947"/>
              <a:gd name="connsiteY1530" fmla="*/ 843771 h 4525940"/>
              <a:gd name="connsiteX1531" fmla="*/ 4107393 w 4545947"/>
              <a:gd name="connsiteY1531" fmla="*/ 860036 h 4525940"/>
              <a:gd name="connsiteX1532" fmla="*/ 4116486 w 4545947"/>
              <a:gd name="connsiteY1532" fmla="*/ 886134 h 4525940"/>
              <a:gd name="connsiteX1533" fmla="*/ 4122859 w 4545947"/>
              <a:gd name="connsiteY1533" fmla="*/ 904689 h 4525940"/>
              <a:gd name="connsiteX1534" fmla="*/ 4126496 w 4545947"/>
              <a:gd name="connsiteY1534" fmla="*/ 933011 h 4525940"/>
              <a:gd name="connsiteX1535" fmla="*/ 4119395 w 4545947"/>
              <a:gd name="connsiteY1535" fmla="*/ 964833 h 4525940"/>
              <a:gd name="connsiteX1536" fmla="*/ 4109556 w 4545947"/>
              <a:gd name="connsiteY1536" fmla="*/ 1003225 h 4525940"/>
              <a:gd name="connsiteX1537" fmla="*/ 4101632 w 4545947"/>
              <a:gd name="connsiteY1537" fmla="*/ 1057038 h 4525940"/>
              <a:gd name="connsiteX1538" fmla="*/ 4119684 w 4545947"/>
              <a:gd name="connsiteY1538" fmla="*/ 1139507 h 4525940"/>
              <a:gd name="connsiteX1539" fmla="*/ 4139990 w 4545947"/>
              <a:gd name="connsiteY1539" fmla="*/ 1128881 h 4525940"/>
              <a:gd name="connsiteX1540" fmla="*/ 4165434 w 4545947"/>
              <a:gd name="connsiteY1540" fmla="*/ 1124687 h 4525940"/>
              <a:gd name="connsiteX1541" fmla="*/ 4171225 w 4545947"/>
              <a:gd name="connsiteY1541" fmla="*/ 1138931 h 4525940"/>
              <a:gd name="connsiteX1542" fmla="*/ 4177151 w 4545947"/>
              <a:gd name="connsiteY1542" fmla="*/ 1165392 h 4525940"/>
              <a:gd name="connsiteX1543" fmla="*/ 4167975 w 4545947"/>
              <a:gd name="connsiteY1543" fmla="*/ 1204976 h 4525940"/>
              <a:gd name="connsiteX1544" fmla="*/ 4151601 w 4545947"/>
              <a:gd name="connsiteY1544" fmla="*/ 1185009 h 4525940"/>
              <a:gd name="connsiteX1545" fmla="*/ 4115472 w 4545947"/>
              <a:gd name="connsiteY1545" fmla="*/ 1175190 h 4525940"/>
              <a:gd name="connsiteX1546" fmla="*/ 4097522 w 4545947"/>
              <a:gd name="connsiteY1546" fmla="*/ 1202239 h 4525940"/>
              <a:gd name="connsiteX1547" fmla="*/ 4090938 w 4545947"/>
              <a:gd name="connsiteY1547" fmla="*/ 1161908 h 4525940"/>
              <a:gd name="connsiteX1548" fmla="*/ 4084144 w 4545947"/>
              <a:gd name="connsiteY1548" fmla="*/ 1120998 h 4525940"/>
              <a:gd name="connsiteX1549" fmla="*/ 4074877 w 4545947"/>
              <a:gd name="connsiteY1549" fmla="*/ 1095063 h 4525940"/>
              <a:gd name="connsiteX1550" fmla="*/ 4063469 w 4545947"/>
              <a:gd name="connsiteY1550" fmla="*/ 1081691 h 4525940"/>
              <a:gd name="connsiteX1551" fmla="*/ 4056887 w 4545947"/>
              <a:gd name="connsiteY1551" fmla="*/ 1066994 h 4525940"/>
              <a:gd name="connsiteX1552" fmla="*/ 4057531 w 4545947"/>
              <a:gd name="connsiteY1552" fmla="*/ 1010814 h 4525940"/>
              <a:gd name="connsiteX1553" fmla="*/ 4057210 w 4545947"/>
              <a:gd name="connsiteY1553" fmla="*/ 943558 h 4525940"/>
              <a:gd name="connsiteX1554" fmla="*/ 4057842 w 4545947"/>
              <a:gd name="connsiteY1554" fmla="*/ 906579 h 4525940"/>
              <a:gd name="connsiteX1555" fmla="*/ 4035718 w 4545947"/>
              <a:gd name="connsiteY1555" fmla="*/ 883685 h 4525940"/>
              <a:gd name="connsiteX1556" fmla="*/ 4009350 w 4545947"/>
              <a:gd name="connsiteY1556" fmla="*/ 906575 h 4525940"/>
              <a:gd name="connsiteX1557" fmla="*/ 3997719 w 4545947"/>
              <a:gd name="connsiteY1557" fmla="*/ 932360 h 4525940"/>
              <a:gd name="connsiteX1558" fmla="*/ 3989704 w 4545947"/>
              <a:gd name="connsiteY1558" fmla="*/ 971623 h 4525940"/>
              <a:gd name="connsiteX1559" fmla="*/ 3992236 w 4545947"/>
              <a:gd name="connsiteY1559" fmla="*/ 1004994 h 4525940"/>
              <a:gd name="connsiteX1560" fmla="*/ 4004625 w 4545947"/>
              <a:gd name="connsiteY1560" fmla="*/ 1009239 h 4525940"/>
              <a:gd name="connsiteX1561" fmla="*/ 4018029 w 4545947"/>
              <a:gd name="connsiteY1561" fmla="*/ 1014201 h 4525940"/>
              <a:gd name="connsiteX1562" fmla="*/ 4024588 w 4545947"/>
              <a:gd name="connsiteY1562" fmla="*/ 1031306 h 4525940"/>
              <a:gd name="connsiteX1563" fmla="*/ 4031148 w 4545947"/>
              <a:gd name="connsiteY1563" fmla="*/ 1054239 h 4525940"/>
              <a:gd name="connsiteX1564" fmla="*/ 4035521 w 4545947"/>
              <a:gd name="connsiteY1564" fmla="*/ 1069291 h 4525940"/>
              <a:gd name="connsiteX1565" fmla="*/ 4039960 w 4545947"/>
              <a:gd name="connsiteY1565" fmla="*/ 1080371 h 4525940"/>
              <a:gd name="connsiteX1566" fmla="*/ 4044266 w 4545947"/>
              <a:gd name="connsiteY1566" fmla="*/ 1081953 h 4525940"/>
              <a:gd name="connsiteX1567" fmla="*/ 4048506 w 4545947"/>
              <a:gd name="connsiteY1567" fmla="*/ 1078788 h 4525940"/>
              <a:gd name="connsiteX1568" fmla="*/ 4044572 w 4545947"/>
              <a:gd name="connsiteY1568" fmla="*/ 1094114 h 4525940"/>
              <a:gd name="connsiteX1569" fmla="*/ 4029488 w 4545947"/>
              <a:gd name="connsiteY1569" fmla="*/ 1092532 h 4525940"/>
              <a:gd name="connsiteX1570" fmla="*/ 4000537 w 4545947"/>
              <a:gd name="connsiteY1570" fmla="*/ 1091450 h 4525940"/>
              <a:gd name="connsiteX1571" fmla="*/ 4001086 w 4545947"/>
              <a:gd name="connsiteY1571" fmla="*/ 1111401 h 4525940"/>
              <a:gd name="connsiteX1572" fmla="*/ 4005684 w 4545947"/>
              <a:gd name="connsiteY1572" fmla="*/ 1179458 h 4525940"/>
              <a:gd name="connsiteX1573" fmla="*/ 4011018 w 4545947"/>
              <a:gd name="connsiteY1573" fmla="*/ 1249721 h 4525940"/>
              <a:gd name="connsiteX1574" fmla="*/ 4017890 w 4545947"/>
              <a:gd name="connsiteY1574" fmla="*/ 1279365 h 4525940"/>
              <a:gd name="connsiteX1575" fmla="*/ 4041682 w 4545947"/>
              <a:gd name="connsiteY1575" fmla="*/ 1293755 h 4525940"/>
              <a:gd name="connsiteX1576" fmla="*/ 4039371 w 4545947"/>
              <a:gd name="connsiteY1576" fmla="*/ 1249254 h 4525940"/>
              <a:gd name="connsiteX1577" fmla="*/ 4035521 w 4545947"/>
              <a:gd name="connsiteY1577" fmla="*/ 1224024 h 4525940"/>
              <a:gd name="connsiteX1578" fmla="*/ 4045401 w 4545947"/>
              <a:gd name="connsiteY1578" fmla="*/ 1202239 h 4525940"/>
              <a:gd name="connsiteX1579" fmla="*/ 4068670 w 4545947"/>
              <a:gd name="connsiteY1579" fmla="*/ 1250220 h 4525940"/>
              <a:gd name="connsiteX1580" fmla="*/ 4076391 w 4545947"/>
              <a:gd name="connsiteY1580" fmla="*/ 1281537 h 4525940"/>
              <a:gd name="connsiteX1581" fmla="*/ 4098627 w 4545947"/>
              <a:gd name="connsiteY1581" fmla="*/ 1277505 h 4525940"/>
              <a:gd name="connsiteX1582" fmla="*/ 4108517 w 4545947"/>
              <a:gd name="connsiteY1582" fmla="*/ 1278416 h 4525940"/>
              <a:gd name="connsiteX1583" fmla="*/ 4126752 w 4545947"/>
              <a:gd name="connsiteY1583" fmla="*/ 1287969 h 4525940"/>
              <a:gd name="connsiteX1584" fmla="*/ 4127806 w 4545947"/>
              <a:gd name="connsiteY1584" fmla="*/ 1299575 h 4525940"/>
              <a:gd name="connsiteX1585" fmla="*/ 4133874 w 4545947"/>
              <a:gd name="connsiteY1585" fmla="*/ 1305093 h 4525940"/>
              <a:gd name="connsiteX1586" fmla="*/ 4144844 w 4545947"/>
              <a:gd name="connsiteY1586" fmla="*/ 1283803 h 4525940"/>
              <a:gd name="connsiteX1587" fmla="*/ 4153286 w 4545947"/>
              <a:gd name="connsiteY1587" fmla="*/ 1265548 h 4525940"/>
              <a:gd name="connsiteX1588" fmla="*/ 4163125 w 4545947"/>
              <a:gd name="connsiteY1588" fmla="*/ 1279728 h 4525940"/>
              <a:gd name="connsiteX1589" fmla="*/ 4172531 w 4545947"/>
              <a:gd name="connsiteY1589" fmla="*/ 1296118 h 4525940"/>
              <a:gd name="connsiteX1590" fmla="*/ 4193740 w 4545947"/>
              <a:gd name="connsiteY1590" fmla="*/ 1257851 h 4525940"/>
              <a:gd name="connsiteX1591" fmla="*/ 4196823 w 4545947"/>
              <a:gd name="connsiteY1591" fmla="*/ 1240225 h 4525940"/>
              <a:gd name="connsiteX1592" fmla="*/ 4201692 w 4545947"/>
              <a:gd name="connsiteY1592" fmla="*/ 1230729 h 4525940"/>
              <a:gd name="connsiteX1593" fmla="*/ 4212078 w 4545947"/>
              <a:gd name="connsiteY1593" fmla="*/ 1221232 h 4525940"/>
              <a:gd name="connsiteX1594" fmla="*/ 4225197 w 4545947"/>
              <a:gd name="connsiteY1594" fmla="*/ 1241016 h 4525940"/>
              <a:gd name="connsiteX1595" fmla="*/ 4227930 w 4545947"/>
              <a:gd name="connsiteY1595" fmla="*/ 1273238 h 4525940"/>
              <a:gd name="connsiteX1596" fmla="*/ 4236457 w 4545947"/>
              <a:gd name="connsiteY1596" fmla="*/ 1296187 h 4525940"/>
              <a:gd name="connsiteX1597" fmla="*/ 4258151 w 4545947"/>
              <a:gd name="connsiteY1597" fmla="*/ 1418012 h 4525940"/>
              <a:gd name="connsiteX1598" fmla="*/ 4264204 w 4545947"/>
              <a:gd name="connsiteY1598" fmla="*/ 1466038 h 4525940"/>
              <a:gd name="connsiteX1599" fmla="*/ 4291061 w 4545947"/>
              <a:gd name="connsiteY1599" fmla="*/ 1458229 h 4525940"/>
              <a:gd name="connsiteX1600" fmla="*/ 4302556 w 4545947"/>
              <a:gd name="connsiteY1600" fmla="*/ 1453466 h 4525940"/>
              <a:gd name="connsiteX1601" fmla="*/ 4288263 w 4545947"/>
              <a:gd name="connsiteY1601" fmla="*/ 1485776 h 4525940"/>
              <a:gd name="connsiteX1602" fmla="*/ 4273845 w 4545947"/>
              <a:gd name="connsiteY1602" fmla="*/ 1491271 h 4525940"/>
              <a:gd name="connsiteX1603" fmla="*/ 4274670 w 4545947"/>
              <a:gd name="connsiteY1603" fmla="*/ 1576119 h 4525940"/>
              <a:gd name="connsiteX1604" fmla="*/ 4280135 w 4545947"/>
              <a:gd name="connsiteY1604" fmla="*/ 1663208 h 4525940"/>
              <a:gd name="connsiteX1605" fmla="*/ 4284796 w 4545947"/>
              <a:gd name="connsiteY1605" fmla="*/ 1691826 h 4525940"/>
              <a:gd name="connsiteX1606" fmla="*/ 4295844 w 4545947"/>
              <a:gd name="connsiteY1606" fmla="*/ 1749682 h 4525940"/>
              <a:gd name="connsiteX1607" fmla="*/ 4309600 w 4545947"/>
              <a:gd name="connsiteY1607" fmla="*/ 1836731 h 4525940"/>
              <a:gd name="connsiteX1608" fmla="*/ 4316241 w 4545947"/>
              <a:gd name="connsiteY1608" fmla="*/ 1892303 h 4525940"/>
              <a:gd name="connsiteX1609" fmla="*/ 4310107 w 4545947"/>
              <a:gd name="connsiteY1609" fmla="*/ 1957356 h 4525940"/>
              <a:gd name="connsiteX1610" fmla="*/ 4312284 w 4545947"/>
              <a:gd name="connsiteY1610" fmla="*/ 1985845 h 4525940"/>
              <a:gd name="connsiteX1611" fmla="*/ 4322081 w 4545947"/>
              <a:gd name="connsiteY1611" fmla="*/ 2014172 h 4525940"/>
              <a:gd name="connsiteX1612" fmla="*/ 4328981 w 4545947"/>
              <a:gd name="connsiteY1612" fmla="*/ 2031582 h 4525940"/>
              <a:gd name="connsiteX1613" fmla="*/ 4332880 w 4545947"/>
              <a:gd name="connsiteY1613" fmla="*/ 2043469 h 4525940"/>
              <a:gd name="connsiteX1614" fmla="*/ 4353651 w 4545947"/>
              <a:gd name="connsiteY1614" fmla="*/ 2056924 h 4525940"/>
              <a:gd name="connsiteX1615" fmla="*/ 4363490 w 4545947"/>
              <a:gd name="connsiteY1615" fmla="*/ 2035116 h 4525940"/>
              <a:gd name="connsiteX1616" fmla="*/ 4378404 w 4545947"/>
              <a:gd name="connsiteY1616" fmla="*/ 2019721 h 4525940"/>
              <a:gd name="connsiteX1617" fmla="*/ 4381043 w 4545947"/>
              <a:gd name="connsiteY1617" fmla="*/ 2075898 h 4525940"/>
              <a:gd name="connsiteX1618" fmla="*/ 4368169 w 4545947"/>
              <a:gd name="connsiteY1618" fmla="*/ 2077583 h 4525940"/>
              <a:gd name="connsiteX1619" fmla="*/ 4352226 w 4545947"/>
              <a:gd name="connsiteY1619" fmla="*/ 2073792 h 4525940"/>
              <a:gd name="connsiteX1620" fmla="*/ 4348141 w 4545947"/>
              <a:gd name="connsiteY1620" fmla="*/ 2106926 h 4525940"/>
              <a:gd name="connsiteX1621" fmla="*/ 4351103 w 4545947"/>
              <a:gd name="connsiteY1621" fmla="*/ 2147120 h 4525940"/>
              <a:gd name="connsiteX1622" fmla="*/ 4355016 w 4545947"/>
              <a:gd name="connsiteY1622" fmla="*/ 2158199 h 4525940"/>
              <a:gd name="connsiteX1623" fmla="*/ 4359117 w 4545947"/>
              <a:gd name="connsiteY1623" fmla="*/ 2167695 h 4525940"/>
              <a:gd name="connsiteX1624" fmla="*/ 4363490 w 4545947"/>
              <a:gd name="connsiteY1624" fmla="*/ 2177191 h 4525940"/>
              <a:gd name="connsiteX1625" fmla="*/ 4362923 w 4545947"/>
              <a:gd name="connsiteY1625" fmla="*/ 2213465 h 4525940"/>
              <a:gd name="connsiteX1626" fmla="*/ 4355271 w 4545947"/>
              <a:gd name="connsiteY1626" fmla="*/ 2293337 h 4525940"/>
              <a:gd name="connsiteX1627" fmla="*/ 4360370 w 4545947"/>
              <a:gd name="connsiteY1627" fmla="*/ 2373116 h 4525940"/>
              <a:gd name="connsiteX1628" fmla="*/ 4371450 w 4545947"/>
              <a:gd name="connsiteY1628" fmla="*/ 2434355 h 4525940"/>
              <a:gd name="connsiteX1629" fmla="*/ 4362612 w 4545947"/>
              <a:gd name="connsiteY1629" fmla="*/ 2455749 h 4525940"/>
              <a:gd name="connsiteX1630" fmla="*/ 4363396 w 4545947"/>
              <a:gd name="connsiteY1630" fmla="*/ 2497396 h 4525940"/>
              <a:gd name="connsiteX1631" fmla="*/ 4369984 w 4545947"/>
              <a:gd name="connsiteY1631" fmla="*/ 2601191 h 4525940"/>
              <a:gd name="connsiteX1632" fmla="*/ 4376297 w 4545947"/>
              <a:gd name="connsiteY1632" fmla="*/ 2702374 h 4525940"/>
              <a:gd name="connsiteX1633" fmla="*/ 4383427 w 4545947"/>
              <a:gd name="connsiteY1633" fmla="*/ 2767613 h 4525940"/>
              <a:gd name="connsiteX1634" fmla="*/ 4390327 w 4545947"/>
              <a:gd name="connsiteY1634" fmla="*/ 2829270 h 4525940"/>
              <a:gd name="connsiteX1635" fmla="*/ 4394101 w 4545947"/>
              <a:gd name="connsiteY1635" fmla="*/ 2854279 h 4525940"/>
              <a:gd name="connsiteX1636" fmla="*/ 4401330 w 4545947"/>
              <a:gd name="connsiteY1636" fmla="*/ 2885145 h 4525940"/>
              <a:gd name="connsiteX1637" fmla="*/ 4403735 w 4545947"/>
              <a:gd name="connsiteY1637" fmla="*/ 2918518 h 4525940"/>
              <a:gd name="connsiteX1638" fmla="*/ 4402014 w 4545947"/>
              <a:gd name="connsiteY1638" fmla="*/ 2949378 h 4525940"/>
              <a:gd name="connsiteX1639" fmla="*/ 4413722 w 4545947"/>
              <a:gd name="connsiteY1639" fmla="*/ 2976462 h 4525940"/>
              <a:gd name="connsiteX1640" fmla="*/ 4436955 w 4545947"/>
              <a:gd name="connsiteY1640" fmla="*/ 2992606 h 4525940"/>
              <a:gd name="connsiteX1641" fmla="*/ 4438402 w 4545947"/>
              <a:gd name="connsiteY1641" fmla="*/ 2962218 h 4525940"/>
              <a:gd name="connsiteX1642" fmla="*/ 4432140 w 4545947"/>
              <a:gd name="connsiteY1642" fmla="*/ 2940257 h 4525940"/>
              <a:gd name="connsiteX1643" fmla="*/ 4420579 w 4545947"/>
              <a:gd name="connsiteY1643" fmla="*/ 2904157 h 4525940"/>
              <a:gd name="connsiteX1644" fmla="*/ 4411480 w 4545947"/>
              <a:gd name="connsiteY1644" fmla="*/ 2890017 h 4525940"/>
              <a:gd name="connsiteX1645" fmla="*/ 4423561 w 4545947"/>
              <a:gd name="connsiteY1645" fmla="*/ 2875699 h 4525940"/>
              <a:gd name="connsiteX1646" fmla="*/ 4459419 w 4545947"/>
              <a:gd name="connsiteY1646" fmla="*/ 2869941 h 4525940"/>
              <a:gd name="connsiteX1647" fmla="*/ 4452464 w 4545947"/>
              <a:gd name="connsiteY1647" fmla="*/ 2935605 h 4525940"/>
              <a:gd name="connsiteX1648" fmla="*/ 4450005 w 4545947"/>
              <a:gd name="connsiteY1648" fmla="*/ 2962218 h 4525940"/>
              <a:gd name="connsiteX1649" fmla="*/ 4461356 w 4545947"/>
              <a:gd name="connsiteY1649" fmla="*/ 2981627 h 4525940"/>
              <a:gd name="connsiteX1650" fmla="*/ 4462298 w 4545947"/>
              <a:gd name="connsiteY1650" fmla="*/ 3012197 h 4525940"/>
              <a:gd name="connsiteX1651" fmla="*/ 4458544 w 4545947"/>
              <a:gd name="connsiteY1651" fmla="*/ 3047075 h 4525940"/>
              <a:gd name="connsiteX1652" fmla="*/ 4466982 w 4545947"/>
              <a:gd name="connsiteY1652" fmla="*/ 3096545 h 4525940"/>
              <a:gd name="connsiteX1653" fmla="*/ 4476717 w 4545947"/>
              <a:gd name="connsiteY1653" fmla="*/ 3145393 h 4525940"/>
              <a:gd name="connsiteX1654" fmla="*/ 4482109 w 4545947"/>
              <a:gd name="connsiteY1654" fmla="*/ 3209351 h 4525940"/>
              <a:gd name="connsiteX1655" fmla="*/ 4491442 w 4545947"/>
              <a:gd name="connsiteY1655" fmla="*/ 3282990 h 4525940"/>
              <a:gd name="connsiteX1656" fmla="*/ 4496943 w 4545947"/>
              <a:gd name="connsiteY1656" fmla="*/ 3316228 h 4525940"/>
              <a:gd name="connsiteX1657" fmla="*/ 4479522 w 4545947"/>
              <a:gd name="connsiteY1657" fmla="*/ 3318328 h 4525940"/>
              <a:gd name="connsiteX1658" fmla="*/ 4452840 w 4545947"/>
              <a:gd name="connsiteY1658" fmla="*/ 3272430 h 4525940"/>
              <a:gd name="connsiteX1659" fmla="*/ 4442203 w 4545947"/>
              <a:gd name="connsiteY1659" fmla="*/ 3311385 h 4525940"/>
              <a:gd name="connsiteX1660" fmla="*/ 4435495 w 4545947"/>
              <a:gd name="connsiteY1660" fmla="*/ 3340023 h 4525940"/>
              <a:gd name="connsiteX1661" fmla="*/ 4431405 w 4545947"/>
              <a:gd name="connsiteY1661" fmla="*/ 3361676 h 4525940"/>
              <a:gd name="connsiteX1662" fmla="*/ 4423901 w 4545947"/>
              <a:gd name="connsiteY1662" fmla="*/ 3368237 h 4525940"/>
              <a:gd name="connsiteX1663" fmla="*/ 4411592 w 4545947"/>
              <a:gd name="connsiteY1663" fmla="*/ 3332307 h 4525940"/>
              <a:gd name="connsiteX1664" fmla="*/ 4397896 w 4545947"/>
              <a:gd name="connsiteY1664" fmla="*/ 3297338 h 4525940"/>
              <a:gd name="connsiteX1665" fmla="*/ 4381244 w 4545947"/>
              <a:gd name="connsiteY1665" fmla="*/ 3297518 h 4525940"/>
              <a:gd name="connsiteX1666" fmla="*/ 4387970 w 4545947"/>
              <a:gd name="connsiteY1666" fmla="*/ 3342585 h 4525940"/>
              <a:gd name="connsiteX1667" fmla="*/ 4389728 w 4545947"/>
              <a:gd name="connsiteY1667" fmla="*/ 3411709 h 4525940"/>
              <a:gd name="connsiteX1668" fmla="*/ 4385355 w 4545947"/>
              <a:gd name="connsiteY1668" fmla="*/ 3437032 h 4525940"/>
              <a:gd name="connsiteX1669" fmla="*/ 4389728 w 4545947"/>
              <a:gd name="connsiteY1669" fmla="*/ 3462355 h 4525940"/>
              <a:gd name="connsiteX1670" fmla="*/ 4394101 w 4545947"/>
              <a:gd name="connsiteY1670" fmla="*/ 3477824 h 4525940"/>
              <a:gd name="connsiteX1671" fmla="*/ 4403134 w 4545947"/>
              <a:gd name="connsiteY1671" fmla="*/ 3502453 h 4525940"/>
              <a:gd name="connsiteX1672" fmla="*/ 4409301 w 4545947"/>
              <a:gd name="connsiteY1672" fmla="*/ 3533741 h 4525940"/>
              <a:gd name="connsiteX1673" fmla="*/ 4411334 w 4545947"/>
              <a:gd name="connsiteY1673" fmla="*/ 3560252 h 4525940"/>
              <a:gd name="connsiteX1674" fmla="*/ 4413426 w 4545947"/>
              <a:gd name="connsiteY1674" fmla="*/ 3586301 h 4525940"/>
              <a:gd name="connsiteX1675" fmla="*/ 4417255 w 4545947"/>
              <a:gd name="connsiteY1675" fmla="*/ 3607965 h 4525940"/>
              <a:gd name="connsiteX1676" fmla="*/ 4421605 w 4545947"/>
              <a:gd name="connsiteY1676" fmla="*/ 3620627 h 4525940"/>
              <a:gd name="connsiteX1677" fmla="*/ 4413131 w 4545947"/>
              <a:gd name="connsiteY1677" fmla="*/ 3633289 h 4525940"/>
              <a:gd name="connsiteX1678" fmla="*/ 4404428 w 4545947"/>
              <a:gd name="connsiteY1678" fmla="*/ 3642785 h 4525940"/>
              <a:gd name="connsiteX1679" fmla="*/ 4393632 w 4545947"/>
              <a:gd name="connsiteY1679" fmla="*/ 3652281 h 4525940"/>
              <a:gd name="connsiteX1680" fmla="*/ 4385355 w 4545947"/>
              <a:gd name="connsiteY1680" fmla="*/ 3629925 h 4525940"/>
              <a:gd name="connsiteX1681" fmla="*/ 4391914 w 4545947"/>
              <a:gd name="connsiteY1681" fmla="*/ 3603924 h 4525940"/>
              <a:gd name="connsiteX1682" fmla="*/ 4398473 w 4545947"/>
              <a:gd name="connsiteY1682" fmla="*/ 3585352 h 4525940"/>
              <a:gd name="connsiteX1683" fmla="*/ 4373070 w 4545947"/>
              <a:gd name="connsiteY1683" fmla="*/ 3557318 h 4525940"/>
              <a:gd name="connsiteX1684" fmla="*/ 4362940 w 4545947"/>
              <a:gd name="connsiteY1684" fmla="*/ 3508318 h 4525940"/>
              <a:gd name="connsiteX1685" fmla="*/ 4359759 w 4545947"/>
              <a:gd name="connsiteY1685" fmla="*/ 3486782 h 4525940"/>
              <a:gd name="connsiteX1686" fmla="*/ 4332004 w 4545947"/>
              <a:gd name="connsiteY1686" fmla="*/ 3485660 h 4525940"/>
              <a:gd name="connsiteX1687" fmla="*/ 4317200 w 4545947"/>
              <a:gd name="connsiteY1687" fmla="*/ 3482495 h 4525940"/>
              <a:gd name="connsiteX1688" fmla="*/ 4293795 w 4545947"/>
              <a:gd name="connsiteY1688" fmla="*/ 3480613 h 4525940"/>
              <a:gd name="connsiteX1689" fmla="*/ 4300183 w 4545947"/>
              <a:gd name="connsiteY1689" fmla="*/ 3523346 h 4525940"/>
              <a:gd name="connsiteX1690" fmla="*/ 4310997 w 4545947"/>
              <a:gd name="connsiteY1690" fmla="*/ 3568024 h 4525940"/>
              <a:gd name="connsiteX1691" fmla="*/ 4315459 w 4545947"/>
              <a:gd name="connsiteY1691" fmla="*/ 3585871 h 4525940"/>
              <a:gd name="connsiteX1692" fmla="*/ 4302514 w 4545947"/>
              <a:gd name="connsiteY1692" fmla="*/ 3601634 h 4525940"/>
              <a:gd name="connsiteX1693" fmla="*/ 4271659 w 4545947"/>
              <a:gd name="connsiteY1693" fmla="*/ 3548478 h 4525940"/>
              <a:gd name="connsiteX1694" fmla="*/ 4251054 w 4545947"/>
              <a:gd name="connsiteY1694" fmla="*/ 3524081 h 4525940"/>
              <a:gd name="connsiteX1695" fmla="*/ 4236675 w 4545947"/>
              <a:gd name="connsiteY1695" fmla="*/ 3514175 h 4525940"/>
              <a:gd name="connsiteX1696" fmla="*/ 4221370 w 4545947"/>
              <a:gd name="connsiteY1696" fmla="*/ 3485789 h 4525940"/>
              <a:gd name="connsiteX1697" fmla="*/ 4206065 w 4545947"/>
              <a:gd name="connsiteY1697" fmla="*/ 3466216 h 4525940"/>
              <a:gd name="connsiteX1698" fmla="*/ 4197295 w 4545947"/>
              <a:gd name="connsiteY1698" fmla="*/ 3460530 h 4525940"/>
              <a:gd name="connsiteX1699" fmla="*/ 4181991 w 4545947"/>
              <a:gd name="connsiteY1699" fmla="*/ 3455997 h 4525940"/>
              <a:gd name="connsiteX1700" fmla="*/ 4175454 w 4545947"/>
              <a:gd name="connsiteY1700" fmla="*/ 3466856 h 4525940"/>
              <a:gd name="connsiteX1701" fmla="*/ 4159615 w 4545947"/>
              <a:gd name="connsiteY1701" fmla="*/ 3483426 h 4525940"/>
              <a:gd name="connsiteX1702" fmla="*/ 4131533 w 4545947"/>
              <a:gd name="connsiteY1702" fmla="*/ 3479975 h 4525940"/>
              <a:gd name="connsiteX1703" fmla="*/ 4116891 w 4545947"/>
              <a:gd name="connsiteY1703" fmla="*/ 3472870 h 4525940"/>
              <a:gd name="connsiteX1704" fmla="*/ 4112678 w 4545947"/>
              <a:gd name="connsiteY1704" fmla="*/ 3467929 h 4525940"/>
              <a:gd name="connsiteX1705" fmla="*/ 4109861 w 4545947"/>
              <a:gd name="connsiteY1705" fmla="*/ 3494010 h 4525940"/>
              <a:gd name="connsiteX1706" fmla="*/ 4107881 w 4545947"/>
              <a:gd name="connsiteY1706" fmla="*/ 3533957 h 4525940"/>
              <a:gd name="connsiteX1707" fmla="*/ 4111751 w 4545947"/>
              <a:gd name="connsiteY1707" fmla="*/ 3655281 h 4525940"/>
              <a:gd name="connsiteX1708" fmla="*/ 4115825 w 4545947"/>
              <a:gd name="connsiteY1708" fmla="*/ 3697990 h 4525940"/>
              <a:gd name="connsiteX1709" fmla="*/ 4100821 w 4545947"/>
              <a:gd name="connsiteY1709" fmla="*/ 3693212 h 4525940"/>
              <a:gd name="connsiteX1710" fmla="*/ 4089044 w 4545947"/>
              <a:gd name="connsiteY1710" fmla="*/ 3691653 h 4525940"/>
              <a:gd name="connsiteX1711" fmla="*/ 4082530 w 4545947"/>
              <a:gd name="connsiteY1711" fmla="*/ 3698884 h 4525940"/>
              <a:gd name="connsiteX1712" fmla="*/ 4080291 w 4545947"/>
              <a:gd name="connsiteY1712" fmla="*/ 3710817 h 4525940"/>
              <a:gd name="connsiteX1713" fmla="*/ 4080385 w 4545947"/>
              <a:gd name="connsiteY1713" fmla="*/ 3730337 h 4525940"/>
              <a:gd name="connsiteX1714" fmla="*/ 4066131 w 4545947"/>
              <a:gd name="connsiteY1714" fmla="*/ 3728475 h 4525940"/>
              <a:gd name="connsiteX1715" fmla="*/ 4057262 w 4545947"/>
              <a:gd name="connsiteY1715" fmla="*/ 3702834 h 4525940"/>
              <a:gd name="connsiteX1716" fmla="*/ 4050961 w 4545947"/>
              <a:gd name="connsiteY1716" fmla="*/ 3689949 h 4525940"/>
              <a:gd name="connsiteX1717" fmla="*/ 4049965 w 4545947"/>
              <a:gd name="connsiteY1717" fmla="*/ 3683935 h 4525940"/>
              <a:gd name="connsiteX1718" fmla="*/ 4040220 w 4545947"/>
              <a:gd name="connsiteY1718" fmla="*/ 3663718 h 4525940"/>
              <a:gd name="connsiteX1719" fmla="*/ 4039152 w 4545947"/>
              <a:gd name="connsiteY1719" fmla="*/ 3641032 h 4525940"/>
              <a:gd name="connsiteX1720" fmla="*/ 4032349 w 4545947"/>
              <a:gd name="connsiteY1720" fmla="*/ 3604142 h 4525940"/>
              <a:gd name="connsiteX1721" fmla="*/ 4021554 w 4545947"/>
              <a:gd name="connsiteY1721" fmla="*/ 3580466 h 4525940"/>
              <a:gd name="connsiteX1722" fmla="*/ 4017114 w 4545947"/>
              <a:gd name="connsiteY1722" fmla="*/ 3577808 h 4525940"/>
              <a:gd name="connsiteX1723" fmla="*/ 4006744 w 4545947"/>
              <a:gd name="connsiteY1723" fmla="*/ 3605307 h 4525940"/>
              <a:gd name="connsiteX1724" fmla="*/ 3996422 w 4545947"/>
              <a:gd name="connsiteY1724" fmla="*/ 3630123 h 4525940"/>
              <a:gd name="connsiteX1725" fmla="*/ 3976929 w 4545947"/>
              <a:gd name="connsiteY1725" fmla="*/ 3557734 h 4525940"/>
              <a:gd name="connsiteX1726" fmla="*/ 3967010 w 4545947"/>
              <a:gd name="connsiteY1726" fmla="*/ 3524497 h 4525940"/>
              <a:gd name="connsiteX1727" fmla="*/ 3936518 w 4545947"/>
              <a:gd name="connsiteY1727" fmla="*/ 3522521 h 4525940"/>
              <a:gd name="connsiteX1728" fmla="*/ 3956830 w 4545947"/>
              <a:gd name="connsiteY1728" fmla="*/ 3588973 h 4525940"/>
              <a:gd name="connsiteX1729" fmla="*/ 3961181 w 4545947"/>
              <a:gd name="connsiteY1729" fmla="*/ 3603827 h 4525940"/>
              <a:gd name="connsiteX1730" fmla="*/ 3977941 w 4545947"/>
              <a:gd name="connsiteY1730" fmla="*/ 3658612 h 4525940"/>
              <a:gd name="connsiteX1731" fmla="*/ 3989531 w 4545947"/>
              <a:gd name="connsiteY1731" fmla="*/ 3709893 h 4525940"/>
              <a:gd name="connsiteX1732" fmla="*/ 3978673 w 4545947"/>
              <a:gd name="connsiteY1732" fmla="*/ 3722438 h 4525940"/>
              <a:gd name="connsiteX1733" fmla="*/ 3962900 w 4545947"/>
              <a:gd name="connsiteY1733" fmla="*/ 3690266 h 4525940"/>
              <a:gd name="connsiteX1734" fmla="*/ 3952435 w 4545947"/>
              <a:gd name="connsiteY1734" fmla="*/ 3684056 h 4525940"/>
              <a:gd name="connsiteX1735" fmla="*/ 3942083 w 4545947"/>
              <a:gd name="connsiteY1735" fmla="*/ 3674084 h 4525940"/>
              <a:gd name="connsiteX1736" fmla="*/ 3920131 w 4545947"/>
              <a:gd name="connsiteY1736" fmla="*/ 3685884 h 4525940"/>
              <a:gd name="connsiteX1737" fmla="*/ 3913664 w 4545947"/>
              <a:gd name="connsiteY1737" fmla="*/ 3719597 h 4525940"/>
              <a:gd name="connsiteX1738" fmla="*/ 3920091 w 4545947"/>
              <a:gd name="connsiteY1738" fmla="*/ 3744079 h 4525940"/>
              <a:gd name="connsiteX1739" fmla="*/ 3924301 w 4545947"/>
              <a:gd name="connsiteY1739" fmla="*/ 3764654 h 4525940"/>
              <a:gd name="connsiteX1740" fmla="*/ 3918458 w 4545947"/>
              <a:gd name="connsiteY1740" fmla="*/ 3778898 h 4525940"/>
              <a:gd name="connsiteX1741" fmla="*/ 3906709 w 4545947"/>
              <a:gd name="connsiteY1741" fmla="*/ 3750028 h 4525940"/>
              <a:gd name="connsiteX1742" fmla="*/ 3894186 w 4545947"/>
              <a:gd name="connsiteY1742" fmla="*/ 3723122 h 4525940"/>
              <a:gd name="connsiteX1743" fmla="*/ 3883222 w 4545947"/>
              <a:gd name="connsiteY1743" fmla="*/ 3739717 h 4525940"/>
              <a:gd name="connsiteX1744" fmla="*/ 3875601 w 4545947"/>
              <a:gd name="connsiteY1744" fmla="*/ 3757787 h 4525940"/>
              <a:gd name="connsiteX1745" fmla="*/ 3872041 w 4545947"/>
              <a:gd name="connsiteY1745" fmla="*/ 3776393 h 4525940"/>
              <a:gd name="connsiteX1746" fmla="*/ 3863739 w 4545947"/>
              <a:gd name="connsiteY1746" fmla="*/ 3783647 h 4525940"/>
              <a:gd name="connsiteX1747" fmla="*/ 3862885 w 4545947"/>
              <a:gd name="connsiteY1747" fmla="*/ 3785229 h 4525940"/>
              <a:gd name="connsiteX1748" fmla="*/ 3874122 w 4545947"/>
              <a:gd name="connsiteY1748" fmla="*/ 3823214 h 4525940"/>
              <a:gd name="connsiteX1749" fmla="*/ 3883234 w 4545947"/>
              <a:gd name="connsiteY1749" fmla="*/ 3899185 h 4525940"/>
              <a:gd name="connsiteX1750" fmla="*/ 3862599 w 4545947"/>
              <a:gd name="connsiteY1750" fmla="*/ 3845738 h 4525940"/>
              <a:gd name="connsiteX1751" fmla="*/ 3854301 w 4545947"/>
              <a:gd name="connsiteY1751" fmla="*/ 3812039 h 4525940"/>
              <a:gd name="connsiteX1752" fmla="*/ 3846160 w 4545947"/>
              <a:gd name="connsiteY1752" fmla="*/ 3796165 h 4525940"/>
              <a:gd name="connsiteX1753" fmla="*/ 3819335 w 4545947"/>
              <a:gd name="connsiteY1753" fmla="*/ 3805472 h 4525940"/>
              <a:gd name="connsiteX1754" fmla="*/ 3810462 w 4545947"/>
              <a:gd name="connsiteY1754" fmla="*/ 3833067 h 4525940"/>
              <a:gd name="connsiteX1755" fmla="*/ 3788709 w 4545947"/>
              <a:gd name="connsiteY1755" fmla="*/ 3831946 h 4525940"/>
              <a:gd name="connsiteX1756" fmla="*/ 3767992 w 4545947"/>
              <a:gd name="connsiteY1756" fmla="*/ 3797873 h 4525940"/>
              <a:gd name="connsiteX1757" fmla="*/ 3746015 w 4545947"/>
              <a:gd name="connsiteY1757" fmla="*/ 3752380 h 4525940"/>
              <a:gd name="connsiteX1758" fmla="*/ 3711733 w 4545947"/>
              <a:gd name="connsiteY1758" fmla="*/ 3702928 h 4525940"/>
              <a:gd name="connsiteX1759" fmla="*/ 3701350 w 4545947"/>
              <a:gd name="connsiteY1759" fmla="*/ 3706771 h 4525940"/>
              <a:gd name="connsiteX1760" fmla="*/ 3698806 w 4545947"/>
              <a:gd name="connsiteY1760" fmla="*/ 3728251 h 4525940"/>
              <a:gd name="connsiteX1761" fmla="*/ 3703179 w 4545947"/>
              <a:gd name="connsiteY1761" fmla="*/ 3747244 h 4525940"/>
              <a:gd name="connsiteX1762" fmla="*/ 3707552 w 4545947"/>
              <a:gd name="connsiteY1762" fmla="*/ 3766237 h 4525940"/>
              <a:gd name="connsiteX1763" fmla="*/ 3711925 w 4545947"/>
              <a:gd name="connsiteY1763" fmla="*/ 3776107 h 4525940"/>
              <a:gd name="connsiteX1764" fmla="*/ 3716310 w 4545947"/>
              <a:gd name="connsiteY1764" fmla="*/ 3782052 h 4525940"/>
              <a:gd name="connsiteX1765" fmla="*/ 3718822 w 4545947"/>
              <a:gd name="connsiteY1765" fmla="*/ 3792758 h 4525940"/>
              <a:gd name="connsiteX1766" fmla="*/ 3716622 w 4545947"/>
              <a:gd name="connsiteY1766" fmla="*/ 3815301 h 4525940"/>
              <a:gd name="connsiteX1767" fmla="*/ 3709009 w 4545947"/>
              <a:gd name="connsiteY1767" fmla="*/ 3823214 h 4525940"/>
              <a:gd name="connsiteX1768" fmla="*/ 3704652 w 4545947"/>
              <a:gd name="connsiteY1768" fmla="*/ 3827457 h 4525940"/>
              <a:gd name="connsiteX1769" fmla="*/ 3700954 w 4545947"/>
              <a:gd name="connsiteY1769" fmla="*/ 3846344 h 4525940"/>
              <a:gd name="connsiteX1770" fmla="*/ 3690971 w 4545947"/>
              <a:gd name="connsiteY1770" fmla="*/ 3884370 h 4525940"/>
              <a:gd name="connsiteX1771" fmla="*/ 3672702 w 4545947"/>
              <a:gd name="connsiteY1771" fmla="*/ 3896534 h 4525940"/>
              <a:gd name="connsiteX1772" fmla="*/ 3664440 w 4545947"/>
              <a:gd name="connsiteY1772" fmla="*/ 3880192 h 4525940"/>
              <a:gd name="connsiteX1773" fmla="*/ 3657424 w 4545947"/>
              <a:gd name="connsiteY1773" fmla="*/ 3839042 h 4525940"/>
              <a:gd name="connsiteX1774" fmla="*/ 3650356 w 4545947"/>
              <a:gd name="connsiteY1774" fmla="*/ 3797891 h 4525940"/>
              <a:gd name="connsiteX1775" fmla="*/ 3646331 w 4545947"/>
              <a:gd name="connsiteY1775" fmla="*/ 3780002 h 4525940"/>
              <a:gd name="connsiteX1776" fmla="*/ 3636210 w 4545947"/>
              <a:gd name="connsiteY1776" fmla="*/ 3748347 h 4525940"/>
              <a:gd name="connsiteX1777" fmla="*/ 3622279 w 4545947"/>
              <a:gd name="connsiteY1777" fmla="*/ 3740913 h 4525940"/>
              <a:gd name="connsiteX1778" fmla="*/ 3620351 w 4545947"/>
              <a:gd name="connsiteY1778" fmla="*/ 3747244 h 4525940"/>
              <a:gd name="connsiteX1779" fmla="*/ 3615720 w 4545947"/>
              <a:gd name="connsiteY1779" fmla="*/ 3739557 h 4525940"/>
              <a:gd name="connsiteX1780" fmla="*/ 3609235 w 4545947"/>
              <a:gd name="connsiteY1780" fmla="*/ 3741257 h 4525940"/>
              <a:gd name="connsiteX1781" fmla="*/ 3607022 w 4545947"/>
              <a:gd name="connsiteY1781" fmla="*/ 3883441 h 4525940"/>
              <a:gd name="connsiteX1782" fmla="*/ 3620970 w 4545947"/>
              <a:gd name="connsiteY1782" fmla="*/ 3926650 h 4525940"/>
              <a:gd name="connsiteX1783" fmla="*/ 3635418 w 4545947"/>
              <a:gd name="connsiteY1783" fmla="*/ 3966357 h 4525940"/>
              <a:gd name="connsiteX1784" fmla="*/ 3641958 w 4545947"/>
              <a:gd name="connsiteY1784" fmla="*/ 3982842 h 4525940"/>
              <a:gd name="connsiteX1785" fmla="*/ 3653242 w 4545947"/>
              <a:gd name="connsiteY1785" fmla="*/ 4009926 h 4525940"/>
              <a:gd name="connsiteX1786" fmla="*/ 3661604 w 4545947"/>
              <a:gd name="connsiteY1786" fmla="*/ 4040922 h 4525940"/>
              <a:gd name="connsiteX1787" fmla="*/ 3669309 w 4545947"/>
              <a:gd name="connsiteY1787" fmla="*/ 4087671 h 4525940"/>
              <a:gd name="connsiteX1788" fmla="*/ 3678511 w 4545947"/>
              <a:gd name="connsiteY1788" fmla="*/ 4112573 h 4525940"/>
              <a:gd name="connsiteX1789" fmla="*/ 3681769 w 4545947"/>
              <a:gd name="connsiteY1789" fmla="*/ 4123786 h 4525940"/>
              <a:gd name="connsiteX1790" fmla="*/ 3680561 w 4545947"/>
              <a:gd name="connsiteY1790" fmla="*/ 4130756 h 4525940"/>
              <a:gd name="connsiteX1791" fmla="*/ 3678018 w 4545947"/>
              <a:gd name="connsiteY1791" fmla="*/ 4172994 h 4525940"/>
              <a:gd name="connsiteX1792" fmla="*/ 3686423 w 4545947"/>
              <a:gd name="connsiteY1792" fmla="*/ 4203066 h 4525940"/>
              <a:gd name="connsiteX1793" fmla="*/ 3687445 w 4545947"/>
              <a:gd name="connsiteY1793" fmla="*/ 4242725 h 4525940"/>
              <a:gd name="connsiteX1794" fmla="*/ 3674851 w 4545947"/>
              <a:gd name="connsiteY1794" fmla="*/ 4234494 h 4525940"/>
              <a:gd name="connsiteX1795" fmla="*/ 3672639 w 4545947"/>
              <a:gd name="connsiteY1795" fmla="*/ 4225288 h 4525940"/>
              <a:gd name="connsiteX1796" fmla="*/ 3668195 w 4545947"/>
              <a:gd name="connsiteY1796" fmla="*/ 4209798 h 4525940"/>
              <a:gd name="connsiteX1797" fmla="*/ 3661635 w 4545947"/>
              <a:gd name="connsiteY1797" fmla="*/ 4190404 h 4525940"/>
              <a:gd name="connsiteX1798" fmla="*/ 3655077 w 4545947"/>
              <a:gd name="connsiteY1798" fmla="*/ 4164306 h 4525940"/>
              <a:gd name="connsiteX1799" fmla="*/ 3650704 w 4545947"/>
              <a:gd name="connsiteY1799" fmla="*/ 4146088 h 4525940"/>
              <a:gd name="connsiteX1800" fmla="*/ 3646331 w 4545947"/>
              <a:gd name="connsiteY1800" fmla="*/ 4127870 h 4525940"/>
              <a:gd name="connsiteX1801" fmla="*/ 3640215 w 4545947"/>
              <a:gd name="connsiteY1801" fmla="*/ 4102305 h 4525940"/>
              <a:gd name="connsiteX1802" fmla="*/ 3628573 w 4545947"/>
              <a:gd name="connsiteY1802" fmla="*/ 4030629 h 4525940"/>
              <a:gd name="connsiteX1803" fmla="*/ 3619343 w 4545947"/>
              <a:gd name="connsiteY1803" fmla="*/ 4010560 h 4525940"/>
              <a:gd name="connsiteX1804" fmla="*/ 3613087 w 4545947"/>
              <a:gd name="connsiteY1804" fmla="*/ 3995194 h 4525940"/>
              <a:gd name="connsiteX1805" fmla="*/ 3611643 w 4545947"/>
              <a:gd name="connsiteY1805" fmla="*/ 3986775 h 4525940"/>
              <a:gd name="connsiteX1806" fmla="*/ 3606039 w 4545947"/>
              <a:gd name="connsiteY1806" fmla="*/ 3968824 h 4525940"/>
              <a:gd name="connsiteX1807" fmla="*/ 3589225 w 4545947"/>
              <a:gd name="connsiteY1807" fmla="*/ 3937170 h 4525940"/>
              <a:gd name="connsiteX1808" fmla="*/ 3580737 w 4545947"/>
              <a:gd name="connsiteY1808" fmla="*/ 3924882 h 4525940"/>
              <a:gd name="connsiteX1809" fmla="*/ 3576929 w 4545947"/>
              <a:gd name="connsiteY1809" fmla="*/ 3909186 h 4525940"/>
              <a:gd name="connsiteX1810" fmla="*/ 3570603 w 4545947"/>
              <a:gd name="connsiteY1810" fmla="*/ 3888238 h 4525940"/>
              <a:gd name="connsiteX1811" fmla="*/ 3554944 w 4545947"/>
              <a:gd name="connsiteY1811" fmla="*/ 3858187 h 4525940"/>
              <a:gd name="connsiteX1812" fmla="*/ 3538478 w 4545947"/>
              <a:gd name="connsiteY1812" fmla="*/ 3805368 h 4525940"/>
              <a:gd name="connsiteX1813" fmla="*/ 3533727 w 4545947"/>
              <a:gd name="connsiteY1813" fmla="*/ 3767505 h 4525940"/>
              <a:gd name="connsiteX1814" fmla="*/ 3522632 w 4545947"/>
              <a:gd name="connsiteY1814" fmla="*/ 3721158 h 4525940"/>
              <a:gd name="connsiteX1815" fmla="*/ 3513197 w 4545947"/>
              <a:gd name="connsiteY1815" fmla="*/ 3684068 h 4525940"/>
              <a:gd name="connsiteX1816" fmla="*/ 3499894 w 4545947"/>
              <a:gd name="connsiteY1816" fmla="*/ 3658986 h 4525940"/>
              <a:gd name="connsiteX1817" fmla="*/ 3469237 w 4545947"/>
              <a:gd name="connsiteY1817" fmla="*/ 3635573 h 4525940"/>
              <a:gd name="connsiteX1818" fmla="*/ 3467041 w 4545947"/>
              <a:gd name="connsiteY1818" fmla="*/ 3687101 h 4525940"/>
              <a:gd name="connsiteX1819" fmla="*/ 3471414 w 4545947"/>
              <a:gd name="connsiteY1819" fmla="*/ 3706153 h 4525940"/>
              <a:gd name="connsiteX1820" fmla="*/ 3476971 w 4545947"/>
              <a:gd name="connsiteY1820" fmla="*/ 3726354 h 4525940"/>
              <a:gd name="connsiteX1821" fmla="*/ 3490888 w 4545947"/>
              <a:gd name="connsiteY1821" fmla="*/ 3773042 h 4525940"/>
              <a:gd name="connsiteX1822" fmla="*/ 3493020 w 4545947"/>
              <a:gd name="connsiteY1822" fmla="*/ 3778898 h 4525940"/>
              <a:gd name="connsiteX1823" fmla="*/ 3497651 w 4545947"/>
              <a:gd name="connsiteY1823" fmla="*/ 3793950 h 4525940"/>
              <a:gd name="connsiteX1824" fmla="*/ 3504545 w 4545947"/>
              <a:gd name="connsiteY1824" fmla="*/ 3817285 h 4525940"/>
              <a:gd name="connsiteX1825" fmla="*/ 3508755 w 4545947"/>
              <a:gd name="connsiteY1825" fmla="*/ 3848132 h 4525940"/>
              <a:gd name="connsiteX1826" fmla="*/ 3510540 w 4545947"/>
              <a:gd name="connsiteY1826" fmla="*/ 3861199 h 4525940"/>
              <a:gd name="connsiteX1827" fmla="*/ 3515661 w 4545947"/>
              <a:gd name="connsiteY1827" fmla="*/ 3869113 h 4525940"/>
              <a:gd name="connsiteX1828" fmla="*/ 3519516 w 4545947"/>
              <a:gd name="connsiteY1828" fmla="*/ 3873861 h 4525940"/>
              <a:gd name="connsiteX1829" fmla="*/ 3523889 w 4545947"/>
              <a:gd name="connsiteY1829" fmla="*/ 3883622 h 4525940"/>
              <a:gd name="connsiteX1830" fmla="*/ 3532417 w 4545947"/>
              <a:gd name="connsiteY1830" fmla="*/ 3906635 h 4525940"/>
              <a:gd name="connsiteX1831" fmla="*/ 3543578 w 4545947"/>
              <a:gd name="connsiteY1831" fmla="*/ 3939608 h 4525940"/>
              <a:gd name="connsiteX1832" fmla="*/ 3572787 w 4545947"/>
              <a:gd name="connsiteY1832" fmla="*/ 4051368 h 4525940"/>
              <a:gd name="connsiteX1833" fmla="*/ 3585110 w 4545947"/>
              <a:gd name="connsiteY1833" fmla="*/ 4083170 h 4525940"/>
              <a:gd name="connsiteX1834" fmla="*/ 3588390 w 4545947"/>
              <a:gd name="connsiteY1834" fmla="*/ 4095491 h 4525940"/>
              <a:gd name="connsiteX1835" fmla="*/ 3600027 w 4545947"/>
              <a:gd name="connsiteY1835" fmla="*/ 4134333 h 4525940"/>
              <a:gd name="connsiteX1836" fmla="*/ 3580737 w 4545947"/>
              <a:gd name="connsiteY1836" fmla="*/ 4111046 h 4525940"/>
              <a:gd name="connsiteX1837" fmla="*/ 3576851 w 4545947"/>
              <a:gd name="connsiteY1837" fmla="*/ 4095441 h 4525940"/>
              <a:gd name="connsiteX1838" fmla="*/ 3570176 w 4545947"/>
              <a:gd name="connsiteY1838" fmla="*/ 4073920 h 4525940"/>
              <a:gd name="connsiteX1839" fmla="*/ 3543030 w 4545947"/>
              <a:gd name="connsiteY1839" fmla="*/ 4041258 h 4525940"/>
              <a:gd name="connsiteX1840" fmla="*/ 3534118 w 4545947"/>
              <a:gd name="connsiteY1840" fmla="*/ 4026138 h 4525940"/>
              <a:gd name="connsiteX1841" fmla="*/ 3530338 w 4545947"/>
              <a:gd name="connsiteY1841" fmla="*/ 4006809 h 4525940"/>
              <a:gd name="connsiteX1842" fmla="*/ 3529155 w 4545947"/>
              <a:gd name="connsiteY1842" fmla="*/ 3978011 h 4525940"/>
              <a:gd name="connsiteX1843" fmla="*/ 3526968 w 4545947"/>
              <a:gd name="connsiteY1843" fmla="*/ 3955240 h 4525940"/>
              <a:gd name="connsiteX1844" fmla="*/ 3519516 w 4545947"/>
              <a:gd name="connsiteY1844" fmla="*/ 3936183 h 4525940"/>
              <a:gd name="connsiteX1845" fmla="*/ 3508583 w 4545947"/>
              <a:gd name="connsiteY1845" fmla="*/ 3910715 h 4525940"/>
              <a:gd name="connsiteX1846" fmla="*/ 3497651 w 4545947"/>
              <a:gd name="connsiteY1846" fmla="*/ 3890210 h 4525940"/>
              <a:gd name="connsiteX1847" fmla="*/ 3472162 w 4545947"/>
              <a:gd name="connsiteY1847" fmla="*/ 3861199 h 4525940"/>
              <a:gd name="connsiteX1848" fmla="*/ 3462668 w 4545947"/>
              <a:gd name="connsiteY1848" fmla="*/ 3848911 h 4525940"/>
              <a:gd name="connsiteX1849" fmla="*/ 3458295 w 4545947"/>
              <a:gd name="connsiteY1849" fmla="*/ 3832711 h 4525940"/>
              <a:gd name="connsiteX1850" fmla="*/ 3453922 w 4545947"/>
              <a:gd name="connsiteY1850" fmla="*/ 3814611 h 4525940"/>
              <a:gd name="connsiteX1851" fmla="*/ 3450078 w 4545947"/>
              <a:gd name="connsiteY1851" fmla="*/ 3794409 h 4525940"/>
              <a:gd name="connsiteX1852" fmla="*/ 3440992 w 4545947"/>
              <a:gd name="connsiteY1852" fmla="*/ 3764654 h 4525940"/>
              <a:gd name="connsiteX1853" fmla="*/ 3431719 w 4545947"/>
              <a:gd name="connsiteY1853" fmla="*/ 3740913 h 4525940"/>
              <a:gd name="connsiteX1854" fmla="*/ 3427684 w 4545947"/>
              <a:gd name="connsiteY1854" fmla="*/ 3725861 h 4525940"/>
              <a:gd name="connsiteX1855" fmla="*/ 3420306 w 4545947"/>
              <a:gd name="connsiteY1855" fmla="*/ 3702120 h 4525940"/>
              <a:gd name="connsiteX1856" fmla="*/ 3416164 w 4545947"/>
              <a:gd name="connsiteY1856" fmla="*/ 3705901 h 4525940"/>
              <a:gd name="connsiteX1857" fmla="*/ 3416533 w 4545947"/>
              <a:gd name="connsiteY1857" fmla="*/ 3714219 h 4525940"/>
              <a:gd name="connsiteX1858" fmla="*/ 3402685 w 4545947"/>
              <a:gd name="connsiteY1858" fmla="*/ 3716112 h 4525940"/>
              <a:gd name="connsiteX1859" fmla="*/ 3393935 w 4545947"/>
              <a:gd name="connsiteY1859" fmla="*/ 3713735 h 4525940"/>
              <a:gd name="connsiteX1860" fmla="*/ 3387971 w 4545947"/>
              <a:gd name="connsiteY1860" fmla="*/ 3689876 h 4525940"/>
              <a:gd name="connsiteX1861" fmla="*/ 3379613 w 4545947"/>
              <a:gd name="connsiteY1861" fmla="*/ 3645950 h 4525940"/>
              <a:gd name="connsiteX1862" fmla="*/ 3363957 w 4545947"/>
              <a:gd name="connsiteY1862" fmla="*/ 3602624 h 4525940"/>
              <a:gd name="connsiteX1863" fmla="*/ 3350698 w 4545947"/>
              <a:gd name="connsiteY1863" fmla="*/ 3633318 h 4525940"/>
              <a:gd name="connsiteX1864" fmla="*/ 3345028 w 4545947"/>
              <a:gd name="connsiteY1864" fmla="*/ 3650699 h 4525940"/>
              <a:gd name="connsiteX1865" fmla="*/ 3329305 w 4545947"/>
              <a:gd name="connsiteY1865" fmla="*/ 3652225 h 4525940"/>
              <a:gd name="connsiteX1866" fmla="*/ 3340893 w 4545947"/>
              <a:gd name="connsiteY1866" fmla="*/ 3677605 h 4525940"/>
              <a:gd name="connsiteX1867" fmla="*/ 3352077 w 4545947"/>
              <a:gd name="connsiteY1867" fmla="*/ 3690266 h 4525940"/>
              <a:gd name="connsiteX1868" fmla="*/ 3357681 w 4545947"/>
              <a:gd name="connsiteY1868" fmla="*/ 3702928 h 4525940"/>
              <a:gd name="connsiteX1869" fmla="*/ 3363620 w 4545947"/>
              <a:gd name="connsiteY1869" fmla="*/ 3721921 h 4525940"/>
              <a:gd name="connsiteX1870" fmla="*/ 3372913 w 4545947"/>
              <a:gd name="connsiteY1870" fmla="*/ 3740913 h 4525940"/>
              <a:gd name="connsiteX1871" fmla="*/ 3375688 w 4545947"/>
              <a:gd name="connsiteY1871" fmla="*/ 3768853 h 4525940"/>
              <a:gd name="connsiteX1872" fmla="*/ 3327107 w 4545947"/>
              <a:gd name="connsiteY1872" fmla="*/ 3771846 h 4525940"/>
              <a:gd name="connsiteX1873" fmla="*/ 3315329 w 4545947"/>
              <a:gd name="connsiteY1873" fmla="*/ 3744607 h 4525940"/>
              <a:gd name="connsiteX1874" fmla="*/ 3311207 w 4545947"/>
              <a:gd name="connsiteY1874" fmla="*/ 3724541 h 4525940"/>
              <a:gd name="connsiteX1875" fmla="*/ 3316649 w 4545947"/>
              <a:gd name="connsiteY1875" fmla="*/ 3711929 h 4525940"/>
              <a:gd name="connsiteX1876" fmla="*/ 3320770 w 4545947"/>
              <a:gd name="connsiteY1876" fmla="*/ 3707093 h 4525940"/>
              <a:gd name="connsiteX1877" fmla="*/ 3327107 w 4545947"/>
              <a:gd name="connsiteY1877" fmla="*/ 3700282 h 4525940"/>
              <a:gd name="connsiteX1878" fmla="*/ 3313988 w 4545947"/>
              <a:gd name="connsiteY1878" fmla="*/ 3686151 h 4525940"/>
              <a:gd name="connsiteX1879" fmla="*/ 3300870 w 4545947"/>
              <a:gd name="connsiteY1879" fmla="*/ 3674511 h 4525940"/>
              <a:gd name="connsiteX1880" fmla="*/ 3289059 w 4545947"/>
              <a:gd name="connsiteY1880" fmla="*/ 3649571 h 4525940"/>
              <a:gd name="connsiteX1881" fmla="*/ 3279392 w 4545947"/>
              <a:gd name="connsiteY1881" fmla="*/ 3614296 h 4525940"/>
              <a:gd name="connsiteX1882" fmla="*/ 3283232 w 4545947"/>
              <a:gd name="connsiteY1882" fmla="*/ 3606383 h 4525940"/>
              <a:gd name="connsiteX1883" fmla="*/ 3274377 w 4545947"/>
              <a:gd name="connsiteY1883" fmla="*/ 3613610 h 4525940"/>
              <a:gd name="connsiteX1884" fmla="*/ 3260548 w 4545947"/>
              <a:gd name="connsiteY1884" fmla="*/ 3606968 h 4525940"/>
              <a:gd name="connsiteX1885" fmla="*/ 3252822 w 4545947"/>
              <a:gd name="connsiteY1885" fmla="*/ 3578594 h 4525940"/>
              <a:gd name="connsiteX1886" fmla="*/ 3252417 w 4545947"/>
              <a:gd name="connsiteY1886" fmla="*/ 3574234 h 4525940"/>
              <a:gd name="connsiteX1887" fmla="*/ 3264232 w 4545947"/>
              <a:gd name="connsiteY1887" fmla="*/ 3578304 h 4525940"/>
              <a:gd name="connsiteX1888" fmla="*/ 3270698 w 4545947"/>
              <a:gd name="connsiteY1888" fmla="*/ 3586713 h 4525940"/>
              <a:gd name="connsiteX1889" fmla="*/ 3275175 w 4545947"/>
              <a:gd name="connsiteY1889" fmla="*/ 3573523 h 4525940"/>
              <a:gd name="connsiteX1890" fmla="*/ 3272678 w 4545947"/>
              <a:gd name="connsiteY1890" fmla="*/ 3539117 h 4525940"/>
              <a:gd name="connsiteX1891" fmla="*/ 3255231 w 4545947"/>
              <a:gd name="connsiteY1891" fmla="*/ 3538110 h 4525940"/>
              <a:gd name="connsiteX1892" fmla="*/ 3237667 w 4545947"/>
              <a:gd name="connsiteY1892" fmla="*/ 3538572 h 4525940"/>
              <a:gd name="connsiteX1893" fmla="*/ 3215276 w 4545947"/>
              <a:gd name="connsiteY1893" fmla="*/ 3575977 h 4525940"/>
              <a:gd name="connsiteX1894" fmla="*/ 3204100 w 4545947"/>
              <a:gd name="connsiteY1894" fmla="*/ 3614296 h 4525940"/>
              <a:gd name="connsiteX1895" fmla="*/ 3195919 w 4545947"/>
              <a:gd name="connsiteY1895" fmla="*/ 3602335 h 4525940"/>
              <a:gd name="connsiteX1896" fmla="*/ 3187447 w 4545947"/>
              <a:gd name="connsiteY1896" fmla="*/ 3575429 h 4525940"/>
              <a:gd name="connsiteX1897" fmla="*/ 3171048 w 4545947"/>
              <a:gd name="connsiteY1897" fmla="*/ 3567461 h 4525940"/>
              <a:gd name="connsiteX1898" fmla="*/ 3164938 w 4545947"/>
              <a:gd name="connsiteY1898" fmla="*/ 3609962 h 4525940"/>
              <a:gd name="connsiteX1899" fmla="*/ 3163122 w 4545947"/>
              <a:gd name="connsiteY1899" fmla="*/ 3633289 h 4525940"/>
              <a:gd name="connsiteX1900" fmla="*/ 3156563 w 4545947"/>
              <a:gd name="connsiteY1900" fmla="*/ 3626962 h 4525940"/>
              <a:gd name="connsiteX1901" fmla="*/ 3120606 w 4545947"/>
              <a:gd name="connsiteY1901" fmla="*/ 3630123 h 4525940"/>
              <a:gd name="connsiteX1902" fmla="*/ 3126056 w 4545947"/>
              <a:gd name="connsiteY1902" fmla="*/ 3709259 h 4525940"/>
              <a:gd name="connsiteX1903" fmla="*/ 3143221 w 4545947"/>
              <a:gd name="connsiteY1903" fmla="*/ 3820049 h 4525940"/>
              <a:gd name="connsiteX1904" fmla="*/ 3143117 w 4545947"/>
              <a:gd name="connsiteY1904" fmla="*/ 3881775 h 4525940"/>
              <a:gd name="connsiteX1905" fmla="*/ 3132608 w 4545947"/>
              <a:gd name="connsiteY1905" fmla="*/ 3930839 h 4525940"/>
              <a:gd name="connsiteX1906" fmla="*/ 3121580 w 4545947"/>
              <a:gd name="connsiteY1906" fmla="*/ 3908681 h 4525940"/>
              <a:gd name="connsiteX1907" fmla="*/ 3117693 w 4545947"/>
              <a:gd name="connsiteY1907" fmla="*/ 3886523 h 4525940"/>
              <a:gd name="connsiteX1908" fmla="*/ 3110936 w 4545947"/>
              <a:gd name="connsiteY1908" fmla="*/ 3864365 h 4525940"/>
              <a:gd name="connsiteX1909" fmla="*/ 3104446 w 4545947"/>
              <a:gd name="connsiteY1909" fmla="*/ 3842207 h 4525940"/>
              <a:gd name="connsiteX1910" fmla="*/ 3098639 w 4545947"/>
              <a:gd name="connsiteY1910" fmla="*/ 3809238 h 4525940"/>
              <a:gd name="connsiteX1911" fmla="*/ 3091524 w 4545947"/>
              <a:gd name="connsiteY1911" fmla="*/ 3773890 h 4525940"/>
              <a:gd name="connsiteX1912" fmla="*/ 3086596 w 4545947"/>
              <a:gd name="connsiteY1912" fmla="*/ 3737594 h 4525940"/>
              <a:gd name="connsiteX1913" fmla="*/ 3082151 w 4545947"/>
              <a:gd name="connsiteY1913" fmla="*/ 3699699 h 4525940"/>
              <a:gd name="connsiteX1914" fmla="*/ 3080224 w 4545947"/>
              <a:gd name="connsiteY1914" fmla="*/ 3689829 h 4525940"/>
              <a:gd name="connsiteX1915" fmla="*/ 3078108 w 4545947"/>
              <a:gd name="connsiteY1915" fmla="*/ 3683935 h 4525940"/>
              <a:gd name="connsiteX1916" fmla="*/ 3073478 w 4545947"/>
              <a:gd name="connsiteY1916" fmla="*/ 3652809 h 4525940"/>
              <a:gd name="connsiteX1917" fmla="*/ 3068189 w 4545947"/>
              <a:gd name="connsiteY1917" fmla="*/ 3619131 h 4525940"/>
              <a:gd name="connsiteX1918" fmla="*/ 3062193 w 4545947"/>
              <a:gd name="connsiteY1918" fmla="*/ 3601193 h 4525940"/>
              <a:gd name="connsiteX1919" fmla="*/ 3058266 w 4545947"/>
              <a:gd name="connsiteY1919" fmla="*/ 3574728 h 4525940"/>
              <a:gd name="connsiteX1920" fmla="*/ 3057514 w 4545947"/>
              <a:gd name="connsiteY1920" fmla="*/ 3554356 h 4525940"/>
              <a:gd name="connsiteX1921" fmla="*/ 3056138 w 4545947"/>
              <a:gd name="connsiteY1921" fmla="*/ 3541627 h 4525940"/>
              <a:gd name="connsiteX1922" fmla="*/ 3049247 w 4545947"/>
              <a:gd name="connsiteY1922" fmla="*/ 3496938 h 4525940"/>
              <a:gd name="connsiteX1923" fmla="*/ 3017705 w 4545947"/>
              <a:gd name="connsiteY1923" fmla="*/ 3437032 h 4525940"/>
              <a:gd name="connsiteX1924" fmla="*/ 3009991 w 4545947"/>
              <a:gd name="connsiteY1924" fmla="*/ 3476935 h 4525940"/>
              <a:gd name="connsiteX1925" fmla="*/ 3007942 w 4545947"/>
              <a:gd name="connsiteY1925" fmla="*/ 3500341 h 4525940"/>
              <a:gd name="connsiteX1926" fmla="*/ 2999138 w 4545947"/>
              <a:gd name="connsiteY1926" fmla="*/ 3511736 h 4525940"/>
              <a:gd name="connsiteX1927" fmla="*/ 2994221 w 4545947"/>
              <a:gd name="connsiteY1927" fmla="*/ 3530249 h 4525940"/>
              <a:gd name="connsiteX1928" fmla="*/ 2994221 w 4545947"/>
              <a:gd name="connsiteY1928" fmla="*/ 3557784 h 4525940"/>
              <a:gd name="connsiteX1929" fmla="*/ 2981646 w 4545947"/>
              <a:gd name="connsiteY1929" fmla="*/ 3592138 h 4525940"/>
              <a:gd name="connsiteX1930" fmla="*/ 2972514 w 4545947"/>
              <a:gd name="connsiteY1930" fmla="*/ 3569980 h 4525940"/>
              <a:gd name="connsiteX1931" fmla="*/ 2966340 w 4545947"/>
              <a:gd name="connsiteY1931" fmla="*/ 3531984 h 4525940"/>
              <a:gd name="connsiteX1932" fmla="*/ 2959351 w 4545947"/>
              <a:gd name="connsiteY1932" fmla="*/ 3490460 h 4525940"/>
              <a:gd name="connsiteX1933" fmla="*/ 2955409 w 4545947"/>
              <a:gd name="connsiteY1933" fmla="*/ 3447123 h 4525940"/>
              <a:gd name="connsiteX1934" fmla="*/ 2946728 w 4545947"/>
              <a:gd name="connsiteY1934" fmla="*/ 3392826 h 4525940"/>
              <a:gd name="connsiteX1935" fmla="*/ 2940541 w 4545947"/>
              <a:gd name="connsiteY1935" fmla="*/ 3363958 h 4525940"/>
              <a:gd name="connsiteX1936" fmla="*/ 2928518 w 4545947"/>
              <a:gd name="connsiteY1936" fmla="*/ 3330135 h 4525940"/>
              <a:gd name="connsiteX1937" fmla="*/ 2925305 w 4545947"/>
              <a:gd name="connsiteY1937" fmla="*/ 3329407 h 4525940"/>
              <a:gd name="connsiteX1938" fmla="*/ 2922663 w 4545947"/>
              <a:gd name="connsiteY1938" fmla="*/ 3308194 h 4525940"/>
              <a:gd name="connsiteX1939" fmla="*/ 2924908 w 4545947"/>
              <a:gd name="connsiteY1939" fmla="*/ 3291324 h 4525940"/>
              <a:gd name="connsiteX1940" fmla="*/ 2907500 w 4545947"/>
              <a:gd name="connsiteY1940" fmla="*/ 3253437 h 4525940"/>
              <a:gd name="connsiteX1941" fmla="*/ 2902377 w 4545947"/>
              <a:gd name="connsiteY1941" fmla="*/ 3292044 h 4525940"/>
              <a:gd name="connsiteX1942" fmla="*/ 2888666 w 4545947"/>
              <a:gd name="connsiteY1942" fmla="*/ 3307676 h 4525940"/>
              <a:gd name="connsiteX1943" fmla="*/ 2869372 w 4545947"/>
              <a:gd name="connsiteY1943" fmla="*/ 3353858 h 4525940"/>
              <a:gd name="connsiteX1944" fmla="*/ 2866824 w 4545947"/>
              <a:gd name="connsiteY1944" fmla="*/ 3380956 h 4525940"/>
              <a:gd name="connsiteX1945" fmla="*/ 2845843 w 4545947"/>
              <a:gd name="connsiteY1945" fmla="*/ 3411053 h 4525940"/>
              <a:gd name="connsiteX1946" fmla="*/ 2841712 w 4545947"/>
              <a:gd name="connsiteY1946" fmla="*/ 3443363 h 4525940"/>
              <a:gd name="connsiteX1947" fmla="*/ 2832967 w 4545947"/>
              <a:gd name="connsiteY1947" fmla="*/ 3434642 h 4525940"/>
              <a:gd name="connsiteX1948" fmla="*/ 2826073 w 4545947"/>
              <a:gd name="connsiteY1948" fmla="*/ 3417638 h 4525940"/>
              <a:gd name="connsiteX1949" fmla="*/ 2821980 w 4545947"/>
              <a:gd name="connsiteY1949" fmla="*/ 3387738 h 4525940"/>
              <a:gd name="connsiteX1950" fmla="*/ 2817264 w 4545947"/>
              <a:gd name="connsiteY1950" fmla="*/ 3354095 h 4525940"/>
              <a:gd name="connsiteX1951" fmla="*/ 2813279 w 4545947"/>
              <a:gd name="connsiteY1951" fmla="*/ 3342069 h 4525940"/>
              <a:gd name="connsiteX1952" fmla="*/ 2808098 w 4545947"/>
              <a:gd name="connsiteY1952" fmla="*/ 3330990 h 4525940"/>
              <a:gd name="connsiteX1953" fmla="*/ 2796413 w 4545947"/>
              <a:gd name="connsiteY1953" fmla="*/ 3302501 h 4525940"/>
              <a:gd name="connsiteX1954" fmla="*/ 2785874 w 4545947"/>
              <a:gd name="connsiteY1954" fmla="*/ 3285284 h 4525940"/>
              <a:gd name="connsiteX1955" fmla="*/ 2785958 w 4545947"/>
              <a:gd name="connsiteY1955" fmla="*/ 3291929 h 4525940"/>
              <a:gd name="connsiteX1956" fmla="*/ 2790331 w 4545947"/>
              <a:gd name="connsiteY1956" fmla="*/ 3322979 h 4525940"/>
              <a:gd name="connsiteX1957" fmla="*/ 2775681 w 4545947"/>
              <a:gd name="connsiteY1957" fmla="*/ 3305853 h 4525940"/>
              <a:gd name="connsiteX1958" fmla="*/ 2763282 w 4545947"/>
              <a:gd name="connsiteY1958" fmla="*/ 3305853 h 4525940"/>
              <a:gd name="connsiteX1959" fmla="*/ 2753779 w 4545947"/>
              <a:gd name="connsiteY1959" fmla="*/ 3354086 h 4525940"/>
              <a:gd name="connsiteX1960" fmla="*/ 2760892 w 4545947"/>
              <a:gd name="connsiteY1960" fmla="*/ 3403232 h 4525940"/>
              <a:gd name="connsiteX1961" fmla="*/ 2766023 w 4545947"/>
              <a:gd name="connsiteY1961" fmla="*/ 3450840 h 4525940"/>
              <a:gd name="connsiteX1962" fmla="*/ 2750015 w 4545947"/>
              <a:gd name="connsiteY1962" fmla="*/ 3478697 h 4525940"/>
              <a:gd name="connsiteX1963" fmla="*/ 2739057 w 4545947"/>
              <a:gd name="connsiteY1963" fmla="*/ 3462355 h 4525940"/>
              <a:gd name="connsiteX1964" fmla="*/ 2732389 w 4545947"/>
              <a:gd name="connsiteY1964" fmla="*/ 3453537 h 4525940"/>
              <a:gd name="connsiteX1965" fmla="*/ 2712353 w 4545947"/>
              <a:gd name="connsiteY1965" fmla="*/ 3437032 h 4525940"/>
              <a:gd name="connsiteX1966" fmla="*/ 2706152 w 4545947"/>
              <a:gd name="connsiteY1966" fmla="*/ 3457689 h 4525940"/>
              <a:gd name="connsiteX1967" fmla="*/ 2696312 w 4545947"/>
              <a:gd name="connsiteY1967" fmla="*/ 3484595 h 4525940"/>
              <a:gd name="connsiteX1968" fmla="*/ 2687868 w 4545947"/>
              <a:gd name="connsiteY1968" fmla="*/ 3509837 h 4525940"/>
              <a:gd name="connsiteX1969" fmla="*/ 2690056 w 4545947"/>
              <a:gd name="connsiteY1969" fmla="*/ 3557318 h 4525940"/>
              <a:gd name="connsiteX1970" fmla="*/ 2694620 w 4545947"/>
              <a:gd name="connsiteY1970" fmla="*/ 3594273 h 4525940"/>
              <a:gd name="connsiteX1971" fmla="*/ 2682100 w 4545947"/>
              <a:gd name="connsiteY1971" fmla="*/ 3615329 h 4525940"/>
              <a:gd name="connsiteX1972" fmla="*/ 2675171 w 4545947"/>
              <a:gd name="connsiteY1972" fmla="*/ 3654278 h 4525940"/>
              <a:gd name="connsiteX1973" fmla="*/ 2680432 w 4545947"/>
              <a:gd name="connsiteY1973" fmla="*/ 3686784 h 4525940"/>
              <a:gd name="connsiteX1974" fmla="*/ 2683731 w 4545947"/>
              <a:gd name="connsiteY1974" fmla="*/ 3693432 h 4525940"/>
              <a:gd name="connsiteX1975" fmla="*/ 2699137 w 4545947"/>
              <a:gd name="connsiteY1975" fmla="*/ 3672350 h 4525940"/>
              <a:gd name="connsiteX1976" fmla="*/ 2709257 w 4545947"/>
              <a:gd name="connsiteY1976" fmla="*/ 3688362 h 4525940"/>
              <a:gd name="connsiteX1977" fmla="*/ 2719638 w 4545947"/>
              <a:gd name="connsiteY1977" fmla="*/ 3721312 h 4525940"/>
              <a:gd name="connsiteX1978" fmla="*/ 2731766 w 4545947"/>
              <a:gd name="connsiteY1978" fmla="*/ 3743285 h 4525940"/>
              <a:gd name="connsiteX1979" fmla="*/ 2734466 w 4545947"/>
              <a:gd name="connsiteY1979" fmla="*/ 3761914 h 4525940"/>
              <a:gd name="connsiteX1980" fmla="*/ 2733513 w 4545947"/>
              <a:gd name="connsiteY1980" fmla="*/ 3779804 h 4525940"/>
              <a:gd name="connsiteX1981" fmla="*/ 2724300 w 4545947"/>
              <a:gd name="connsiteY1981" fmla="*/ 3766243 h 4525940"/>
              <a:gd name="connsiteX1982" fmla="*/ 2709200 w 4545947"/>
              <a:gd name="connsiteY1982" fmla="*/ 3728581 h 4525940"/>
              <a:gd name="connsiteX1983" fmla="*/ 2698904 w 4545947"/>
              <a:gd name="connsiteY1983" fmla="*/ 3710865 h 4525940"/>
              <a:gd name="connsiteX1984" fmla="*/ 2694804 w 4545947"/>
              <a:gd name="connsiteY1984" fmla="*/ 3727472 h 4525940"/>
              <a:gd name="connsiteX1985" fmla="*/ 2703659 w 4545947"/>
              <a:gd name="connsiteY1985" fmla="*/ 3818561 h 4525940"/>
              <a:gd name="connsiteX1986" fmla="*/ 2704869 w 4545947"/>
              <a:gd name="connsiteY1986" fmla="*/ 3842295 h 4525940"/>
              <a:gd name="connsiteX1987" fmla="*/ 2706562 w 4545947"/>
              <a:gd name="connsiteY1987" fmla="*/ 3858401 h 4525940"/>
              <a:gd name="connsiteX1988" fmla="*/ 2703965 w 4545947"/>
              <a:gd name="connsiteY1988" fmla="*/ 3892854 h 4525940"/>
              <a:gd name="connsiteX1989" fmla="*/ 2697406 w 4545947"/>
              <a:gd name="connsiteY1989" fmla="*/ 3884624 h 4525940"/>
              <a:gd name="connsiteX1990" fmla="*/ 2692559 w 4545947"/>
              <a:gd name="connsiteY1990" fmla="*/ 3869377 h 4525940"/>
              <a:gd name="connsiteX1991" fmla="*/ 2685914 w 4545947"/>
              <a:gd name="connsiteY1991" fmla="*/ 3829043 h 4525940"/>
              <a:gd name="connsiteX1992" fmla="*/ 2680432 w 4545947"/>
              <a:gd name="connsiteY1992" fmla="*/ 3788895 h 4525940"/>
              <a:gd name="connsiteX1993" fmla="*/ 2673617 w 4545947"/>
              <a:gd name="connsiteY1993" fmla="*/ 3763071 h 4525940"/>
              <a:gd name="connsiteX1994" fmla="*/ 2664856 w 4545947"/>
              <a:gd name="connsiteY1994" fmla="*/ 3734582 h 4525940"/>
              <a:gd name="connsiteX1995" fmla="*/ 2656320 w 4545947"/>
              <a:gd name="connsiteY1995" fmla="*/ 3707405 h 4525940"/>
              <a:gd name="connsiteX1996" fmla="*/ 2633990 w 4545947"/>
              <a:gd name="connsiteY1996" fmla="*/ 3694220 h 4525940"/>
              <a:gd name="connsiteX1997" fmla="*/ 2634199 w 4545947"/>
              <a:gd name="connsiteY1997" fmla="*/ 3713122 h 4525940"/>
              <a:gd name="connsiteX1998" fmla="*/ 2640557 w 4545947"/>
              <a:gd name="connsiteY1998" fmla="*/ 3737638 h 4525940"/>
              <a:gd name="connsiteX1999" fmla="*/ 2633998 w 4545947"/>
              <a:gd name="connsiteY1999" fmla="*/ 3747244 h 4525940"/>
              <a:gd name="connsiteX2000" fmla="*/ 2627438 w 4545947"/>
              <a:gd name="connsiteY2000" fmla="*/ 3730840 h 4525940"/>
              <a:gd name="connsiteX2001" fmla="*/ 2621342 w 4545947"/>
              <a:gd name="connsiteY2001" fmla="*/ 3725705 h 4525940"/>
              <a:gd name="connsiteX2002" fmla="*/ 2612167 w 4545947"/>
              <a:gd name="connsiteY2002" fmla="*/ 3690686 h 4525940"/>
              <a:gd name="connsiteX2003" fmla="*/ 2605145 w 4545947"/>
              <a:gd name="connsiteY2003" fmla="*/ 3652281 h 4525940"/>
              <a:gd name="connsiteX2004" fmla="*/ 2601104 w 4545947"/>
              <a:gd name="connsiteY2004" fmla="*/ 3634871 h 4525940"/>
              <a:gd name="connsiteX2005" fmla="*/ 2577610 w 4545947"/>
              <a:gd name="connsiteY2005" fmla="*/ 3591006 h 4525940"/>
              <a:gd name="connsiteX2006" fmla="*/ 2572247 w 4545947"/>
              <a:gd name="connsiteY2006" fmla="*/ 3626110 h 4525940"/>
              <a:gd name="connsiteX2007" fmla="*/ 2573455 w 4545947"/>
              <a:gd name="connsiteY2007" fmla="*/ 3664943 h 4525940"/>
              <a:gd name="connsiteX2008" fmla="*/ 2553099 w 4545947"/>
              <a:gd name="connsiteY2008" fmla="*/ 3631003 h 4525940"/>
              <a:gd name="connsiteX2009" fmla="*/ 2543260 w 4545947"/>
              <a:gd name="connsiteY2009" fmla="*/ 3614862 h 4525940"/>
              <a:gd name="connsiteX2010" fmla="*/ 2530623 w 4545947"/>
              <a:gd name="connsiteY2010" fmla="*/ 3640554 h 4525940"/>
              <a:gd name="connsiteX2011" fmla="*/ 2526305 w 4545947"/>
              <a:gd name="connsiteY2011" fmla="*/ 3708293 h 4525940"/>
              <a:gd name="connsiteX2012" fmla="*/ 2519771 w 4545947"/>
              <a:gd name="connsiteY2012" fmla="*/ 3750816 h 4525940"/>
              <a:gd name="connsiteX2013" fmla="*/ 2522540 w 4545947"/>
              <a:gd name="connsiteY2013" fmla="*/ 3784928 h 4525940"/>
              <a:gd name="connsiteX2014" fmla="*/ 2509726 w 4545947"/>
              <a:gd name="connsiteY2014" fmla="*/ 3781217 h 4525940"/>
              <a:gd name="connsiteX2015" fmla="*/ 2486852 w 4545947"/>
              <a:gd name="connsiteY2015" fmla="*/ 3820858 h 4525940"/>
              <a:gd name="connsiteX2016" fmla="*/ 2481921 w 4545947"/>
              <a:gd name="connsiteY2016" fmla="*/ 3848538 h 4525940"/>
              <a:gd name="connsiteX2017" fmla="*/ 2462933 w 4545947"/>
              <a:gd name="connsiteY2017" fmla="*/ 3811532 h 4525940"/>
              <a:gd name="connsiteX2018" fmla="*/ 2456776 w 4545947"/>
              <a:gd name="connsiteY2018" fmla="*/ 3791560 h 4525940"/>
              <a:gd name="connsiteX2019" fmla="*/ 2448685 w 4545947"/>
              <a:gd name="connsiteY2019" fmla="*/ 3772074 h 4525940"/>
              <a:gd name="connsiteX2020" fmla="*/ 2427873 w 4545947"/>
              <a:gd name="connsiteY2020" fmla="*/ 3768017 h 4525940"/>
              <a:gd name="connsiteX2021" fmla="*/ 2429236 w 4545947"/>
              <a:gd name="connsiteY2021" fmla="*/ 3769526 h 4525940"/>
              <a:gd name="connsiteX2022" fmla="*/ 2443776 w 4545947"/>
              <a:gd name="connsiteY2022" fmla="*/ 3766237 h 4525940"/>
              <a:gd name="connsiteX2023" fmla="*/ 2440496 w 4545947"/>
              <a:gd name="connsiteY2023" fmla="*/ 3772608 h 4525940"/>
              <a:gd name="connsiteX2024" fmla="*/ 2429564 w 4545947"/>
              <a:gd name="connsiteY2024" fmla="*/ 3792113 h 4525940"/>
              <a:gd name="connsiteX2025" fmla="*/ 2430302 w 4545947"/>
              <a:gd name="connsiteY2025" fmla="*/ 3873416 h 4525940"/>
              <a:gd name="connsiteX2026" fmla="*/ 2444369 w 4545947"/>
              <a:gd name="connsiteY2026" fmla="*/ 3924805 h 4525940"/>
              <a:gd name="connsiteX2027" fmla="*/ 2453931 w 4545947"/>
              <a:gd name="connsiteY2027" fmla="*/ 3969610 h 4525940"/>
              <a:gd name="connsiteX2028" fmla="*/ 2450930 w 4545947"/>
              <a:gd name="connsiteY2028" fmla="*/ 3988781 h 4525940"/>
              <a:gd name="connsiteX2029" fmla="*/ 2449419 w 4545947"/>
              <a:gd name="connsiteY2029" fmla="*/ 4093060 h 4525940"/>
              <a:gd name="connsiteX2030" fmla="*/ 2447957 w 4545947"/>
              <a:gd name="connsiteY2030" fmla="*/ 4143094 h 4525940"/>
              <a:gd name="connsiteX2031" fmla="*/ 2430657 w 4545947"/>
              <a:gd name="connsiteY2031" fmla="*/ 4117769 h 4525940"/>
              <a:gd name="connsiteX2032" fmla="*/ 2414924 w 4545947"/>
              <a:gd name="connsiteY2032" fmla="*/ 4063787 h 4525940"/>
              <a:gd name="connsiteX2033" fmla="*/ 2408246 w 4545947"/>
              <a:gd name="connsiteY2033" fmla="*/ 4057456 h 4525940"/>
              <a:gd name="connsiteX2034" fmla="*/ 2406606 w 4545947"/>
              <a:gd name="connsiteY2034" fmla="*/ 4044794 h 4525940"/>
              <a:gd name="connsiteX2035" fmla="*/ 2404966 w 4545947"/>
              <a:gd name="connsiteY2035" fmla="*/ 3991434 h 4525940"/>
              <a:gd name="connsiteX2036" fmla="*/ 2396933 w 4545947"/>
              <a:gd name="connsiteY2036" fmla="*/ 3933567 h 4525940"/>
              <a:gd name="connsiteX2037" fmla="*/ 2388791 w 4545947"/>
              <a:gd name="connsiteY2037" fmla="*/ 3915705 h 4525940"/>
              <a:gd name="connsiteX2038" fmla="*/ 2384965 w 4545947"/>
              <a:gd name="connsiteY2038" fmla="*/ 3854869 h 4525940"/>
              <a:gd name="connsiteX2039" fmla="*/ 2358125 w 4545947"/>
              <a:gd name="connsiteY2039" fmla="*/ 3777893 h 4525940"/>
              <a:gd name="connsiteX2040" fmla="*/ 2348290 w 4545947"/>
              <a:gd name="connsiteY2040" fmla="*/ 3762998 h 4525940"/>
              <a:gd name="connsiteX2041" fmla="*/ 2331066 w 4545947"/>
              <a:gd name="connsiteY2041" fmla="*/ 3743626 h 4525940"/>
              <a:gd name="connsiteX2042" fmla="*/ 2322362 w 4545947"/>
              <a:gd name="connsiteY2042" fmla="*/ 3790153 h 4525940"/>
              <a:gd name="connsiteX2043" fmla="*/ 2325585 w 4545947"/>
              <a:gd name="connsiteY2043" fmla="*/ 3839042 h 4525940"/>
              <a:gd name="connsiteX2044" fmla="*/ 2331015 w 4545947"/>
              <a:gd name="connsiteY2044" fmla="*/ 3907844 h 4525940"/>
              <a:gd name="connsiteX2045" fmla="*/ 2310583 w 4545947"/>
              <a:gd name="connsiteY2045" fmla="*/ 3877027 h 4525940"/>
              <a:gd name="connsiteX2046" fmla="*/ 2308008 w 4545947"/>
              <a:gd name="connsiteY2046" fmla="*/ 3820722 h 4525940"/>
              <a:gd name="connsiteX2047" fmla="*/ 2289689 w 4545947"/>
              <a:gd name="connsiteY2047" fmla="*/ 3772664 h 4525940"/>
              <a:gd name="connsiteX2048" fmla="*/ 2271750 w 4545947"/>
              <a:gd name="connsiteY2048" fmla="*/ 3824865 h 4525940"/>
              <a:gd name="connsiteX2049" fmla="*/ 2269535 w 4545947"/>
              <a:gd name="connsiteY2049" fmla="*/ 3826984 h 4525940"/>
              <a:gd name="connsiteX2050" fmla="*/ 2264486 w 4545947"/>
              <a:gd name="connsiteY2050" fmla="*/ 3832337 h 4525940"/>
              <a:gd name="connsiteX2051" fmla="*/ 2259765 w 4545947"/>
              <a:gd name="connsiteY2051" fmla="*/ 3842207 h 4525940"/>
              <a:gd name="connsiteX2052" fmla="*/ 2257927 w 4545947"/>
              <a:gd name="connsiteY2052" fmla="*/ 3823214 h 4525940"/>
              <a:gd name="connsiteX2053" fmla="*/ 2255775 w 4545947"/>
              <a:gd name="connsiteY2053" fmla="*/ 3804222 h 4525940"/>
              <a:gd name="connsiteX2054" fmla="*/ 2243620 w 4545947"/>
              <a:gd name="connsiteY2054" fmla="*/ 3793911 h 4525940"/>
              <a:gd name="connsiteX2055" fmla="*/ 2246518 w 4545947"/>
              <a:gd name="connsiteY2055" fmla="*/ 3771854 h 4525940"/>
              <a:gd name="connsiteX2056" fmla="*/ 2253959 w 4545947"/>
              <a:gd name="connsiteY2056" fmla="*/ 3733428 h 4525940"/>
              <a:gd name="connsiteX2057" fmla="*/ 2247002 w 4545947"/>
              <a:gd name="connsiteY2057" fmla="*/ 3700406 h 4525940"/>
              <a:gd name="connsiteX2058" fmla="*/ 2242621 w 4545947"/>
              <a:gd name="connsiteY2058" fmla="*/ 3683863 h 4525940"/>
              <a:gd name="connsiteX2059" fmla="*/ 2233875 w 4545947"/>
              <a:gd name="connsiteY2059" fmla="*/ 3660071 h 4525940"/>
              <a:gd name="connsiteX2060" fmla="*/ 2225130 w 4545947"/>
              <a:gd name="connsiteY2060" fmla="*/ 3633553 h 4525940"/>
              <a:gd name="connsiteX2061" fmla="*/ 2221850 w 4545947"/>
              <a:gd name="connsiteY2061" fmla="*/ 3620071 h 4525940"/>
              <a:gd name="connsiteX2062" fmla="*/ 2203265 w 4545947"/>
              <a:gd name="connsiteY2062" fmla="*/ 3618488 h 4525940"/>
              <a:gd name="connsiteX2063" fmla="*/ 2189200 w 4545947"/>
              <a:gd name="connsiteY2063" fmla="*/ 3640708 h 4525940"/>
              <a:gd name="connsiteX2064" fmla="*/ 2181231 w 4545947"/>
              <a:gd name="connsiteY2064" fmla="*/ 3668186 h 4525940"/>
              <a:gd name="connsiteX2065" fmla="*/ 2174574 w 4545947"/>
              <a:gd name="connsiteY2065" fmla="*/ 3682047 h 4525940"/>
              <a:gd name="connsiteX2066" fmla="*/ 2169669 w 4545947"/>
              <a:gd name="connsiteY2066" fmla="*/ 3687533 h 4525940"/>
              <a:gd name="connsiteX2067" fmla="*/ 2170689 w 4545947"/>
              <a:gd name="connsiteY2067" fmla="*/ 3696951 h 4525940"/>
              <a:gd name="connsiteX2068" fmla="*/ 2195588 w 4545947"/>
              <a:gd name="connsiteY2068" fmla="*/ 3707322 h 4525940"/>
              <a:gd name="connsiteX2069" fmla="*/ 2212011 w 4545947"/>
              <a:gd name="connsiteY2069" fmla="*/ 3724422 h 4525940"/>
              <a:gd name="connsiteX2070" fmla="*/ 2216999 w 4545947"/>
              <a:gd name="connsiteY2070" fmla="*/ 3751934 h 4525940"/>
              <a:gd name="connsiteX2071" fmla="*/ 2218775 w 4545947"/>
              <a:gd name="connsiteY2071" fmla="*/ 3835779 h 4525940"/>
              <a:gd name="connsiteX2072" fmla="*/ 2201276 w 4545947"/>
              <a:gd name="connsiteY2072" fmla="*/ 3794726 h 4525940"/>
              <a:gd name="connsiteX2073" fmla="*/ 2176875 w 4545947"/>
              <a:gd name="connsiteY2073" fmla="*/ 3755596 h 4525940"/>
              <a:gd name="connsiteX2074" fmla="*/ 2138525 w 4545947"/>
              <a:gd name="connsiteY2074" fmla="*/ 3709464 h 4525940"/>
              <a:gd name="connsiteX2075" fmla="*/ 2105352 w 4545947"/>
              <a:gd name="connsiteY2075" fmla="*/ 3672844 h 4525940"/>
              <a:gd name="connsiteX2076" fmla="*/ 2107864 w 4545947"/>
              <a:gd name="connsiteY2076" fmla="*/ 3702928 h 4525940"/>
              <a:gd name="connsiteX2077" fmla="*/ 2110750 w 4545947"/>
              <a:gd name="connsiteY2077" fmla="*/ 3725675 h 4525940"/>
              <a:gd name="connsiteX2078" fmla="*/ 2116974 w 4545947"/>
              <a:gd name="connsiteY2078" fmla="*/ 3756445 h 4525940"/>
              <a:gd name="connsiteX2079" fmla="*/ 2124552 w 4545947"/>
              <a:gd name="connsiteY2079" fmla="*/ 3778014 h 4525940"/>
              <a:gd name="connsiteX2080" fmla="*/ 2111517 w 4545947"/>
              <a:gd name="connsiteY2080" fmla="*/ 3791560 h 4525940"/>
              <a:gd name="connsiteX2081" fmla="*/ 2095798 w 4545947"/>
              <a:gd name="connsiteY2081" fmla="*/ 3807039 h 4525940"/>
              <a:gd name="connsiteX2082" fmla="*/ 2085876 w 4545947"/>
              <a:gd name="connsiteY2082" fmla="*/ 3825297 h 4525940"/>
              <a:gd name="connsiteX2083" fmla="*/ 2088181 w 4545947"/>
              <a:gd name="connsiteY2083" fmla="*/ 3828811 h 4525940"/>
              <a:gd name="connsiteX2084" fmla="*/ 2100377 w 4545947"/>
              <a:gd name="connsiteY2084" fmla="*/ 3841641 h 4525940"/>
              <a:gd name="connsiteX2085" fmla="*/ 2114029 w 4545947"/>
              <a:gd name="connsiteY2085" fmla="*/ 3864171 h 4525940"/>
              <a:gd name="connsiteX2086" fmla="*/ 2123698 w 4545947"/>
              <a:gd name="connsiteY2086" fmla="*/ 3901140 h 4525940"/>
              <a:gd name="connsiteX2087" fmla="*/ 2107910 w 4545947"/>
              <a:gd name="connsiteY2087" fmla="*/ 3911846 h 4525940"/>
              <a:gd name="connsiteX2088" fmla="*/ 2080582 w 4545947"/>
              <a:gd name="connsiteY2088" fmla="*/ 3849939 h 4525940"/>
              <a:gd name="connsiteX2089" fmla="*/ 2054585 w 4545947"/>
              <a:gd name="connsiteY2089" fmla="*/ 3858695 h 4525940"/>
              <a:gd name="connsiteX2090" fmla="*/ 2039326 w 4545947"/>
              <a:gd name="connsiteY2090" fmla="*/ 3863960 h 4525940"/>
              <a:gd name="connsiteX2091" fmla="*/ 2021367 w 4545947"/>
              <a:gd name="connsiteY2091" fmla="*/ 3870003 h 4525940"/>
              <a:gd name="connsiteX2092" fmla="*/ 2006483 w 4545947"/>
              <a:gd name="connsiteY2092" fmla="*/ 3867904 h 4525940"/>
              <a:gd name="connsiteX2093" fmla="*/ 2002040 w 4545947"/>
              <a:gd name="connsiteY2093" fmla="*/ 3851640 h 4525940"/>
              <a:gd name="connsiteX2094" fmla="*/ 2000327 w 4545947"/>
              <a:gd name="connsiteY2094" fmla="*/ 3841264 h 4525940"/>
              <a:gd name="connsiteX2095" fmla="*/ 1993839 w 4545947"/>
              <a:gd name="connsiteY2095" fmla="*/ 3825515 h 4525940"/>
              <a:gd name="connsiteX2096" fmla="*/ 1984619 w 4545947"/>
              <a:gd name="connsiteY2096" fmla="*/ 3795142 h 4525940"/>
              <a:gd name="connsiteX2097" fmla="*/ 1964941 w 4545947"/>
              <a:gd name="connsiteY2097" fmla="*/ 3766237 h 4525940"/>
              <a:gd name="connsiteX2098" fmla="*/ 1958381 w 4545947"/>
              <a:gd name="connsiteY2098" fmla="*/ 3782839 h 4525940"/>
              <a:gd name="connsiteX2099" fmla="*/ 1951822 w 4545947"/>
              <a:gd name="connsiteY2099" fmla="*/ 3791560 h 4525940"/>
              <a:gd name="connsiteX2100" fmla="*/ 1945262 w 4545947"/>
              <a:gd name="connsiteY2100" fmla="*/ 3785229 h 4525940"/>
              <a:gd name="connsiteX2101" fmla="*/ 1932144 w 4545947"/>
              <a:gd name="connsiteY2101" fmla="*/ 3778898 h 4525940"/>
              <a:gd name="connsiteX2102" fmla="*/ 1919025 w 4545947"/>
              <a:gd name="connsiteY2102" fmla="*/ 3763599 h 4525940"/>
              <a:gd name="connsiteX2103" fmla="*/ 1923488 w 4545947"/>
              <a:gd name="connsiteY2103" fmla="*/ 3746145 h 4525940"/>
              <a:gd name="connsiteX2104" fmla="*/ 1908872 w 4545947"/>
              <a:gd name="connsiteY2104" fmla="*/ 3705513 h 4525940"/>
              <a:gd name="connsiteX2105" fmla="*/ 1884041 w 4545947"/>
              <a:gd name="connsiteY2105" fmla="*/ 3735980 h 4525940"/>
              <a:gd name="connsiteX2106" fmla="*/ 1888568 w 4545947"/>
              <a:gd name="connsiteY2106" fmla="*/ 3760322 h 4525940"/>
              <a:gd name="connsiteX2107" fmla="*/ 1875988 w 4545947"/>
              <a:gd name="connsiteY2107" fmla="*/ 3764707 h 4525940"/>
              <a:gd name="connsiteX2108" fmla="*/ 1866434 w 4545947"/>
              <a:gd name="connsiteY2108" fmla="*/ 3766290 h 4525940"/>
              <a:gd name="connsiteX2109" fmla="*/ 1866075 w 4545947"/>
              <a:gd name="connsiteY2109" fmla="*/ 3797891 h 4525940"/>
              <a:gd name="connsiteX2110" fmla="*/ 1872718 w 4545947"/>
              <a:gd name="connsiteY2110" fmla="*/ 3813718 h 4525940"/>
              <a:gd name="connsiteX2111" fmla="*/ 1879752 w 4545947"/>
              <a:gd name="connsiteY2111" fmla="*/ 3829545 h 4525940"/>
              <a:gd name="connsiteX2112" fmla="*/ 1884041 w 4545947"/>
              <a:gd name="connsiteY2112" fmla="*/ 3844998 h 4525940"/>
              <a:gd name="connsiteX2113" fmla="*/ 1888645 w 4545947"/>
              <a:gd name="connsiteY2113" fmla="*/ 3864572 h 4525940"/>
              <a:gd name="connsiteX2114" fmla="*/ 1891630 w 4545947"/>
              <a:gd name="connsiteY2114" fmla="*/ 3875720 h 4525940"/>
              <a:gd name="connsiteX2115" fmla="*/ 1913437 w 4545947"/>
              <a:gd name="connsiteY2115" fmla="*/ 3905515 h 4525940"/>
              <a:gd name="connsiteX2116" fmla="*/ 1923398 w 4545947"/>
              <a:gd name="connsiteY2116" fmla="*/ 3915012 h 4525940"/>
              <a:gd name="connsiteX2117" fmla="*/ 1927771 w 4545947"/>
              <a:gd name="connsiteY2117" fmla="*/ 3924508 h 4525940"/>
              <a:gd name="connsiteX2118" fmla="*/ 1932144 w 4545947"/>
              <a:gd name="connsiteY2118" fmla="*/ 3936947 h 4525940"/>
              <a:gd name="connsiteX2119" fmla="*/ 1940889 w 4545947"/>
              <a:gd name="connsiteY2119" fmla="*/ 3956162 h 4525940"/>
              <a:gd name="connsiteX2120" fmla="*/ 1935640 w 4545947"/>
              <a:gd name="connsiteY2120" fmla="*/ 3972686 h 4525940"/>
              <a:gd name="connsiteX2121" fmla="*/ 1919242 w 4545947"/>
              <a:gd name="connsiteY2121" fmla="*/ 3963834 h 4525940"/>
              <a:gd name="connsiteX2122" fmla="*/ 1904617 w 4545947"/>
              <a:gd name="connsiteY2122" fmla="*/ 3947772 h 4525940"/>
              <a:gd name="connsiteX2123" fmla="*/ 1888202 w 4545947"/>
              <a:gd name="connsiteY2123" fmla="*/ 3920535 h 4525940"/>
              <a:gd name="connsiteX2124" fmla="*/ 1866862 w 4545947"/>
              <a:gd name="connsiteY2124" fmla="*/ 3886523 h 4525940"/>
              <a:gd name="connsiteX2125" fmla="*/ 1862177 w 4545947"/>
              <a:gd name="connsiteY2125" fmla="*/ 3874314 h 4525940"/>
              <a:gd name="connsiteX2126" fmla="*/ 1856466 w 4545947"/>
              <a:gd name="connsiteY2126" fmla="*/ 3853739 h 4525940"/>
              <a:gd name="connsiteX2127" fmla="*/ 1847857 w 4545947"/>
              <a:gd name="connsiteY2127" fmla="*/ 3834293 h 4525940"/>
              <a:gd name="connsiteX2128" fmla="*/ 1824179 w 4545947"/>
              <a:gd name="connsiteY2128" fmla="*/ 3833550 h 4525940"/>
              <a:gd name="connsiteX2129" fmla="*/ 1826806 w 4545947"/>
              <a:gd name="connsiteY2129" fmla="*/ 3856324 h 4525940"/>
              <a:gd name="connsiteX2130" fmla="*/ 1829445 w 4545947"/>
              <a:gd name="connsiteY2130" fmla="*/ 3872712 h 4525940"/>
              <a:gd name="connsiteX2131" fmla="*/ 1823072 w 4545947"/>
              <a:gd name="connsiteY2131" fmla="*/ 3868119 h 4525940"/>
              <a:gd name="connsiteX2132" fmla="*/ 1809702 w 4545947"/>
              <a:gd name="connsiteY2132" fmla="*/ 3881158 h 4525940"/>
              <a:gd name="connsiteX2133" fmla="*/ 1818447 w 4545947"/>
              <a:gd name="connsiteY2133" fmla="*/ 3897350 h 4525940"/>
              <a:gd name="connsiteX2134" fmla="*/ 1827193 w 4545947"/>
              <a:gd name="connsiteY2134" fmla="*/ 3916052 h 4525940"/>
              <a:gd name="connsiteX2135" fmla="*/ 1856256 w 4545947"/>
              <a:gd name="connsiteY2135" fmla="*/ 3962493 h 4525940"/>
              <a:gd name="connsiteX2136" fmla="*/ 1862177 w 4545947"/>
              <a:gd name="connsiteY2136" fmla="*/ 3975155 h 4525940"/>
              <a:gd name="connsiteX2137" fmla="*/ 1851780 w 4545947"/>
              <a:gd name="connsiteY2137" fmla="*/ 3987817 h 4525940"/>
              <a:gd name="connsiteX2138" fmla="*/ 1835939 w 4545947"/>
              <a:gd name="connsiteY2138" fmla="*/ 3997313 h 4525940"/>
              <a:gd name="connsiteX2139" fmla="*/ 1826658 w 4545947"/>
              <a:gd name="connsiteY2139" fmla="*/ 4006809 h 4525940"/>
              <a:gd name="connsiteX2140" fmla="*/ 1822820 w 4545947"/>
              <a:gd name="connsiteY2140" fmla="*/ 3997313 h 4525940"/>
              <a:gd name="connsiteX2141" fmla="*/ 1818447 w 4545947"/>
              <a:gd name="connsiteY2141" fmla="*/ 3987817 h 4525940"/>
              <a:gd name="connsiteX2142" fmla="*/ 1814075 w 4545947"/>
              <a:gd name="connsiteY2142" fmla="*/ 3977485 h 4525940"/>
              <a:gd name="connsiteX2143" fmla="*/ 1786969 w 4545947"/>
              <a:gd name="connsiteY2143" fmla="*/ 3911104 h 4525940"/>
              <a:gd name="connsiteX2144" fmla="*/ 1779091 w 4545947"/>
              <a:gd name="connsiteY2144" fmla="*/ 3887418 h 4525940"/>
              <a:gd name="connsiteX2145" fmla="*/ 1741945 w 4545947"/>
              <a:gd name="connsiteY2145" fmla="*/ 3805804 h 4525940"/>
              <a:gd name="connsiteX2146" fmla="*/ 1725644 w 4545947"/>
              <a:gd name="connsiteY2146" fmla="*/ 3791560 h 4525940"/>
              <a:gd name="connsiteX2147" fmla="*/ 1717870 w 4545947"/>
              <a:gd name="connsiteY2147" fmla="*/ 3781609 h 4525940"/>
              <a:gd name="connsiteX2148" fmla="*/ 1690111 w 4545947"/>
              <a:gd name="connsiteY2148" fmla="*/ 3710809 h 4525940"/>
              <a:gd name="connsiteX2149" fmla="*/ 1680232 w 4545947"/>
              <a:gd name="connsiteY2149" fmla="*/ 3693432 h 4525940"/>
              <a:gd name="connsiteX2150" fmla="*/ 1667809 w 4545947"/>
              <a:gd name="connsiteY2150" fmla="*/ 3678612 h 4525940"/>
              <a:gd name="connsiteX2151" fmla="*/ 1643530 w 4545947"/>
              <a:gd name="connsiteY2151" fmla="*/ 3646410 h 4525940"/>
              <a:gd name="connsiteX2152" fmla="*/ 1632598 w 4545947"/>
              <a:gd name="connsiteY2152" fmla="*/ 3628089 h 4525940"/>
              <a:gd name="connsiteX2153" fmla="*/ 1621666 w 4545947"/>
              <a:gd name="connsiteY2153" fmla="*/ 3599604 h 4525940"/>
              <a:gd name="connsiteX2154" fmla="*/ 1607892 w 4545947"/>
              <a:gd name="connsiteY2154" fmla="*/ 3573621 h 4525940"/>
              <a:gd name="connsiteX2155" fmla="*/ 1582310 w 4545947"/>
              <a:gd name="connsiteY2155" fmla="*/ 3590188 h 4525940"/>
              <a:gd name="connsiteX2156" fmla="*/ 1556968 w 4545947"/>
              <a:gd name="connsiteY2156" fmla="*/ 3581059 h 4525940"/>
              <a:gd name="connsiteX2157" fmla="*/ 1548180 w 4545947"/>
              <a:gd name="connsiteY2157" fmla="*/ 3562841 h 4525940"/>
              <a:gd name="connsiteX2158" fmla="*/ 1525461 w 4545947"/>
              <a:gd name="connsiteY2158" fmla="*/ 3564887 h 4525940"/>
              <a:gd name="connsiteX2159" fmla="*/ 1521880 w 4545947"/>
              <a:gd name="connsiteY2159" fmla="*/ 3567523 h 4525940"/>
              <a:gd name="connsiteX2160" fmla="*/ 1528124 w 4545947"/>
              <a:gd name="connsiteY2160" fmla="*/ 3608537 h 4525940"/>
              <a:gd name="connsiteX2161" fmla="*/ 1534207 w 4545947"/>
              <a:gd name="connsiteY2161" fmla="*/ 3628104 h 4525940"/>
              <a:gd name="connsiteX2162" fmla="*/ 1548057 w 4545947"/>
              <a:gd name="connsiteY2162" fmla="*/ 3665312 h 4525940"/>
              <a:gd name="connsiteX2163" fmla="*/ 1562692 w 4545947"/>
              <a:gd name="connsiteY2163" fmla="*/ 3701343 h 4525940"/>
              <a:gd name="connsiteX2164" fmla="*/ 1578407 w 4545947"/>
              <a:gd name="connsiteY2164" fmla="*/ 3761403 h 4525940"/>
              <a:gd name="connsiteX2165" fmla="*/ 1582310 w 4545947"/>
              <a:gd name="connsiteY2165" fmla="*/ 3785236 h 4525940"/>
              <a:gd name="connsiteX2166" fmla="*/ 1595866 w 4545947"/>
              <a:gd name="connsiteY2166" fmla="*/ 3810012 h 4525940"/>
              <a:gd name="connsiteX2167" fmla="*/ 1609422 w 4545947"/>
              <a:gd name="connsiteY2167" fmla="*/ 3821947 h 4525940"/>
              <a:gd name="connsiteX2168" fmla="*/ 1599783 w 4545947"/>
              <a:gd name="connsiteY2168" fmla="*/ 3835903 h 4525940"/>
              <a:gd name="connsiteX2169" fmla="*/ 1592769 w 4545947"/>
              <a:gd name="connsiteY2169" fmla="*/ 3868858 h 4525940"/>
              <a:gd name="connsiteX2170" fmla="*/ 1589357 w 4545947"/>
              <a:gd name="connsiteY2170" fmla="*/ 3884504 h 4525940"/>
              <a:gd name="connsiteX2171" fmla="*/ 1588146 w 4545947"/>
              <a:gd name="connsiteY2171" fmla="*/ 3899664 h 4525940"/>
              <a:gd name="connsiteX2172" fmla="*/ 1602110 w 4545947"/>
              <a:gd name="connsiteY2172" fmla="*/ 3918177 h 4525940"/>
              <a:gd name="connsiteX2173" fmla="*/ 1628191 w 4545947"/>
              <a:gd name="connsiteY2173" fmla="*/ 3950044 h 4525940"/>
              <a:gd name="connsiteX2174" fmla="*/ 1632855 w 4545947"/>
              <a:gd name="connsiteY2174" fmla="*/ 3989399 h 4525940"/>
              <a:gd name="connsiteX2175" fmla="*/ 1631957 w 4545947"/>
              <a:gd name="connsiteY2175" fmla="*/ 4013140 h 4525940"/>
              <a:gd name="connsiteX2176" fmla="*/ 1608547 w 4545947"/>
              <a:gd name="connsiteY2176" fmla="*/ 3977962 h 4525940"/>
              <a:gd name="connsiteX2177" fmla="*/ 1603916 w 4545947"/>
              <a:gd name="connsiteY2177" fmla="*/ 3962493 h 4525940"/>
              <a:gd name="connsiteX2178" fmla="*/ 1602413 w 4545947"/>
              <a:gd name="connsiteY2178" fmla="*/ 3955165 h 4525940"/>
              <a:gd name="connsiteX2179" fmla="*/ 1596313 w 4545947"/>
              <a:gd name="connsiteY2179" fmla="*/ 3951331 h 4525940"/>
              <a:gd name="connsiteX2180" fmla="*/ 1579635 w 4545947"/>
              <a:gd name="connsiteY2180" fmla="*/ 3938084 h 4525940"/>
              <a:gd name="connsiteX2181" fmla="*/ 1566316 w 4545947"/>
              <a:gd name="connsiteY2181" fmla="*/ 3916280 h 4525940"/>
              <a:gd name="connsiteX2182" fmla="*/ 1560307 w 4545947"/>
              <a:gd name="connsiteY2182" fmla="*/ 3894122 h 4525940"/>
              <a:gd name="connsiteX2183" fmla="*/ 1530293 w 4545947"/>
              <a:gd name="connsiteY2183" fmla="*/ 3846530 h 4525940"/>
              <a:gd name="connsiteX2184" fmla="*/ 1532819 w 4545947"/>
              <a:gd name="connsiteY2184" fmla="*/ 3820661 h 4525940"/>
              <a:gd name="connsiteX2185" fmla="*/ 1536987 w 4545947"/>
              <a:gd name="connsiteY2185" fmla="*/ 3782979 h 4525940"/>
              <a:gd name="connsiteX2186" fmla="*/ 1516242 w 4545947"/>
              <a:gd name="connsiteY2186" fmla="*/ 3759906 h 4525940"/>
              <a:gd name="connsiteX2187" fmla="*/ 1505885 w 4545947"/>
              <a:gd name="connsiteY2187" fmla="*/ 3732637 h 4525940"/>
              <a:gd name="connsiteX2188" fmla="*/ 1486312 w 4545947"/>
              <a:gd name="connsiteY2188" fmla="*/ 3693337 h 4525940"/>
              <a:gd name="connsiteX2189" fmla="*/ 1447478 w 4545947"/>
              <a:gd name="connsiteY2189" fmla="*/ 3663589 h 4525940"/>
              <a:gd name="connsiteX2190" fmla="*/ 1439825 w 4545947"/>
              <a:gd name="connsiteY2190" fmla="*/ 3658612 h 4525940"/>
              <a:gd name="connsiteX2191" fmla="*/ 1444562 w 4545947"/>
              <a:gd name="connsiteY2191" fmla="*/ 3639619 h 4525940"/>
              <a:gd name="connsiteX2192" fmla="*/ 1455495 w 4545947"/>
              <a:gd name="connsiteY2192" fmla="*/ 3623575 h 4525940"/>
              <a:gd name="connsiteX2193" fmla="*/ 1460961 w 4545947"/>
              <a:gd name="connsiteY2193" fmla="*/ 3617522 h 4525940"/>
              <a:gd name="connsiteX2194" fmla="*/ 1452837 w 4545947"/>
              <a:gd name="connsiteY2194" fmla="*/ 3603651 h 4525940"/>
              <a:gd name="connsiteX2195" fmla="*/ 1436789 w 4545947"/>
              <a:gd name="connsiteY2195" fmla="*/ 3558195 h 4525940"/>
              <a:gd name="connsiteX2196" fmla="*/ 1396928 w 4545947"/>
              <a:gd name="connsiteY2196" fmla="*/ 3504024 h 4525940"/>
              <a:gd name="connsiteX2197" fmla="*/ 1403198 w 4545947"/>
              <a:gd name="connsiteY2197" fmla="*/ 3544914 h 4525940"/>
              <a:gd name="connsiteX2198" fmla="*/ 1413240 w 4545947"/>
              <a:gd name="connsiteY2198" fmla="*/ 3599452 h 4525940"/>
              <a:gd name="connsiteX2199" fmla="*/ 1421808 w 4545947"/>
              <a:gd name="connsiteY2199" fmla="*/ 3648957 h 4525940"/>
              <a:gd name="connsiteX2200" fmla="*/ 1425263 w 4545947"/>
              <a:gd name="connsiteY2200" fmla="*/ 3671274 h 4525940"/>
              <a:gd name="connsiteX2201" fmla="*/ 1424464 w 4545947"/>
              <a:gd name="connsiteY2201" fmla="*/ 3688684 h 4525940"/>
              <a:gd name="connsiteX2202" fmla="*/ 1437204 w 4545947"/>
              <a:gd name="connsiteY2202" fmla="*/ 3708117 h 4525940"/>
              <a:gd name="connsiteX2203" fmla="*/ 1446749 w 4545947"/>
              <a:gd name="connsiteY2203" fmla="*/ 3731484 h 4525940"/>
              <a:gd name="connsiteX2204" fmla="*/ 1451637 w 4545947"/>
              <a:gd name="connsiteY2204" fmla="*/ 3757202 h 4525940"/>
              <a:gd name="connsiteX2205" fmla="*/ 1453905 w 4545947"/>
              <a:gd name="connsiteY2205" fmla="*/ 3789250 h 4525940"/>
              <a:gd name="connsiteX2206" fmla="*/ 1459949 w 4545947"/>
              <a:gd name="connsiteY2206" fmla="*/ 3824758 h 4525940"/>
              <a:gd name="connsiteX2207" fmla="*/ 1468613 w 4545947"/>
              <a:gd name="connsiteY2207" fmla="*/ 3839789 h 4525940"/>
              <a:gd name="connsiteX2208" fmla="*/ 1475477 w 4545947"/>
              <a:gd name="connsiteY2208" fmla="*/ 3855234 h 4525940"/>
              <a:gd name="connsiteX2209" fmla="*/ 1480511 w 4545947"/>
              <a:gd name="connsiteY2209" fmla="*/ 3873606 h 4525940"/>
              <a:gd name="connsiteX2210" fmla="*/ 1494666 w 4545947"/>
              <a:gd name="connsiteY2210" fmla="*/ 3899185 h 4525940"/>
              <a:gd name="connsiteX2211" fmla="*/ 1499224 w 4545947"/>
              <a:gd name="connsiteY2211" fmla="*/ 3921197 h 4525940"/>
              <a:gd name="connsiteX2212" fmla="*/ 1509610 w 4545947"/>
              <a:gd name="connsiteY2212" fmla="*/ 3953061 h 4525940"/>
              <a:gd name="connsiteX2213" fmla="*/ 1516169 w 4545947"/>
              <a:gd name="connsiteY2213" fmla="*/ 3997802 h 4525940"/>
              <a:gd name="connsiteX2214" fmla="*/ 1512343 w 4545947"/>
              <a:gd name="connsiteY2214" fmla="*/ 3994521 h 4525940"/>
              <a:gd name="connsiteX2215" fmla="*/ 1506257 w 4545947"/>
              <a:gd name="connsiteY2215" fmla="*/ 3987817 h 4525940"/>
              <a:gd name="connsiteX2216" fmla="*/ 1497656 w 4545947"/>
              <a:gd name="connsiteY2216" fmla="*/ 3973300 h 4525940"/>
              <a:gd name="connsiteX2217" fmla="*/ 1478220 w 4545947"/>
              <a:gd name="connsiteY2217" fmla="*/ 3947976 h 4525940"/>
              <a:gd name="connsiteX2218" fmla="*/ 1448741 w 4545947"/>
              <a:gd name="connsiteY2218" fmla="*/ 3950719 h 4525940"/>
              <a:gd name="connsiteX2219" fmla="*/ 1461808 w 4545947"/>
              <a:gd name="connsiteY2219" fmla="*/ 3985538 h 4525940"/>
              <a:gd name="connsiteX2220" fmla="*/ 1481440 w 4545947"/>
              <a:gd name="connsiteY2220" fmla="*/ 4006809 h 4525940"/>
              <a:gd name="connsiteX2221" fmla="*/ 1496501 w 4545947"/>
              <a:gd name="connsiteY2221" fmla="*/ 4041629 h 4525940"/>
              <a:gd name="connsiteX2222" fmla="*/ 1493287 w 4545947"/>
              <a:gd name="connsiteY2222" fmla="*/ 4049433 h 4525940"/>
              <a:gd name="connsiteX2223" fmla="*/ 1472986 w 4545947"/>
              <a:gd name="connsiteY2223" fmla="*/ 4080292 h 4525940"/>
              <a:gd name="connsiteX2224" fmla="*/ 1442104 w 4545947"/>
              <a:gd name="connsiteY2224" fmla="*/ 4115143 h 4525940"/>
              <a:gd name="connsiteX2225" fmla="*/ 1418702 w 4545947"/>
              <a:gd name="connsiteY2225" fmla="*/ 4130309 h 4525940"/>
              <a:gd name="connsiteX2226" fmla="*/ 1406504 w 4545947"/>
              <a:gd name="connsiteY2226" fmla="*/ 4146676 h 4525940"/>
              <a:gd name="connsiteX2227" fmla="*/ 1417881 w 4545947"/>
              <a:gd name="connsiteY2227" fmla="*/ 4160828 h 4525940"/>
              <a:gd name="connsiteX2228" fmla="*/ 1429257 w 4545947"/>
              <a:gd name="connsiteY2228" fmla="*/ 4181169 h 4525940"/>
              <a:gd name="connsiteX2229" fmla="*/ 1438003 w 4545947"/>
              <a:gd name="connsiteY2229" fmla="*/ 4195266 h 4525940"/>
              <a:gd name="connsiteX2230" fmla="*/ 1441283 w 4545947"/>
              <a:gd name="connsiteY2230" fmla="*/ 4221961 h 4525940"/>
              <a:gd name="connsiteX2231" fmla="*/ 1422992 w 4545947"/>
              <a:gd name="connsiteY2231" fmla="*/ 4198318 h 4525940"/>
              <a:gd name="connsiteX2232" fmla="*/ 1411471 w 4545947"/>
              <a:gd name="connsiteY2232" fmla="*/ 4184073 h 4525940"/>
              <a:gd name="connsiteX2233" fmla="*/ 1403020 w 4545947"/>
              <a:gd name="connsiteY2233" fmla="*/ 4172819 h 4525940"/>
              <a:gd name="connsiteX2234" fmla="*/ 1380062 w 4545947"/>
              <a:gd name="connsiteY2234" fmla="*/ 4138288 h 4525940"/>
              <a:gd name="connsiteX2235" fmla="*/ 1376782 w 4545947"/>
              <a:gd name="connsiteY2235" fmla="*/ 4130261 h 4525940"/>
              <a:gd name="connsiteX2236" fmla="*/ 1368775 w 4545947"/>
              <a:gd name="connsiteY2236" fmla="*/ 4120765 h 4525940"/>
              <a:gd name="connsiteX2237" fmla="*/ 1354046 w 4545947"/>
              <a:gd name="connsiteY2237" fmla="*/ 4071017 h 4525940"/>
              <a:gd name="connsiteX2238" fmla="*/ 1352620 w 4545947"/>
              <a:gd name="connsiteY2238" fmla="*/ 4044661 h 4525940"/>
              <a:gd name="connsiteX2239" fmla="*/ 1329483 w 4545947"/>
              <a:gd name="connsiteY2239" fmla="*/ 4059093 h 4525940"/>
              <a:gd name="connsiteX2240" fmla="*/ 1315264 w 4545947"/>
              <a:gd name="connsiteY2240" fmla="*/ 4077582 h 4525940"/>
              <a:gd name="connsiteX2241" fmla="*/ 1322597 w 4545947"/>
              <a:gd name="connsiteY2241" fmla="*/ 4121336 h 4525940"/>
              <a:gd name="connsiteX2242" fmla="*/ 1328680 w 4545947"/>
              <a:gd name="connsiteY2242" fmla="*/ 4139757 h 4525940"/>
              <a:gd name="connsiteX2243" fmla="*/ 1335239 w 4545947"/>
              <a:gd name="connsiteY2243" fmla="*/ 4158750 h 4525940"/>
              <a:gd name="connsiteX2244" fmla="*/ 1341799 w 4545947"/>
              <a:gd name="connsiteY2244" fmla="*/ 4181683 h 4525940"/>
              <a:gd name="connsiteX2245" fmla="*/ 1346172 w 4545947"/>
              <a:gd name="connsiteY2245" fmla="*/ 4196735 h 4525940"/>
              <a:gd name="connsiteX2246" fmla="*/ 1350544 w 4545947"/>
              <a:gd name="connsiteY2246" fmla="*/ 4206232 h 4525940"/>
              <a:gd name="connsiteX2247" fmla="*/ 1354316 w 4545947"/>
              <a:gd name="connsiteY2247" fmla="*/ 4215728 h 4525940"/>
              <a:gd name="connsiteX2248" fmla="*/ 1359560 w 4545947"/>
              <a:gd name="connsiteY2248" fmla="*/ 4293840 h 4525940"/>
              <a:gd name="connsiteX2249" fmla="*/ 1352111 w 4545947"/>
              <a:gd name="connsiteY2249" fmla="*/ 4288008 h 4525940"/>
              <a:gd name="connsiteX2250" fmla="*/ 1343221 w 4545947"/>
              <a:gd name="connsiteY2250" fmla="*/ 4270808 h 4525940"/>
              <a:gd name="connsiteX2251" fmla="*/ 1337426 w 4545947"/>
              <a:gd name="connsiteY2251" fmla="*/ 4253772 h 4525940"/>
              <a:gd name="connsiteX2252" fmla="*/ 1333053 w 4545947"/>
              <a:gd name="connsiteY2252" fmla="*/ 4237886 h 4525940"/>
              <a:gd name="connsiteX2253" fmla="*/ 1328680 w 4545947"/>
              <a:gd name="connsiteY2253" fmla="*/ 4222568 h 4525940"/>
              <a:gd name="connsiteX2254" fmla="*/ 1317496 w 4545947"/>
              <a:gd name="connsiteY2254" fmla="*/ 4187305 h 4525940"/>
              <a:gd name="connsiteX2255" fmla="*/ 1308613 w 4545947"/>
              <a:gd name="connsiteY2255" fmla="*/ 4154767 h 4525940"/>
              <a:gd name="connsiteX2256" fmla="*/ 1306994 w 4545947"/>
              <a:gd name="connsiteY2256" fmla="*/ 4146088 h 4525940"/>
              <a:gd name="connsiteX2257" fmla="*/ 1295358 w 4545947"/>
              <a:gd name="connsiteY2257" fmla="*/ 4120765 h 4525940"/>
              <a:gd name="connsiteX2258" fmla="*/ 1284109 w 4545947"/>
              <a:gd name="connsiteY2258" fmla="*/ 4095441 h 4525940"/>
              <a:gd name="connsiteX2259" fmla="*/ 1280578 w 4545947"/>
              <a:gd name="connsiteY2259" fmla="*/ 4086720 h 4525940"/>
              <a:gd name="connsiteX2260" fmla="*/ 1274018 w 4545947"/>
              <a:gd name="connsiteY2260" fmla="*/ 4070118 h 4525940"/>
              <a:gd name="connsiteX2261" fmla="*/ 1267383 w 4545947"/>
              <a:gd name="connsiteY2261" fmla="*/ 4045602 h 4525940"/>
              <a:gd name="connsiteX2262" fmla="*/ 1240129 w 4545947"/>
              <a:gd name="connsiteY2262" fmla="*/ 3998638 h 4525940"/>
              <a:gd name="connsiteX2263" fmla="*/ 1232476 w 4545947"/>
              <a:gd name="connsiteY2263" fmla="*/ 3982137 h 4525940"/>
              <a:gd name="connsiteX2264" fmla="*/ 1201553 w 4545947"/>
              <a:gd name="connsiteY2264" fmla="*/ 3949831 h 4525940"/>
              <a:gd name="connsiteX2265" fmla="*/ 1191004 w 4545947"/>
              <a:gd name="connsiteY2265" fmla="*/ 3924394 h 4525940"/>
              <a:gd name="connsiteX2266" fmla="*/ 1194112 w 4545947"/>
              <a:gd name="connsiteY2266" fmla="*/ 3889076 h 4525940"/>
              <a:gd name="connsiteX2267" fmla="*/ 1178736 w 4545947"/>
              <a:gd name="connsiteY2267" fmla="*/ 3862362 h 4525940"/>
              <a:gd name="connsiteX2268" fmla="*/ 1166882 w 4545947"/>
              <a:gd name="connsiteY2268" fmla="*/ 3882485 h 4525940"/>
              <a:gd name="connsiteX2269" fmla="*/ 1173441 w 4545947"/>
              <a:gd name="connsiteY2269" fmla="*/ 3914107 h 4525940"/>
              <a:gd name="connsiteX2270" fmla="*/ 1170962 w 4545947"/>
              <a:gd name="connsiteY2270" fmla="*/ 3943924 h 4525940"/>
              <a:gd name="connsiteX2271" fmla="*/ 1167124 w 4545947"/>
              <a:gd name="connsiteY2271" fmla="*/ 3966082 h 4525940"/>
              <a:gd name="connsiteX2272" fmla="*/ 1180319 w 4545947"/>
              <a:gd name="connsiteY2272" fmla="*/ 3975155 h 4525940"/>
              <a:gd name="connsiteX2273" fmla="*/ 1191809 w 4545947"/>
              <a:gd name="connsiteY2273" fmla="*/ 3983079 h 4525940"/>
              <a:gd name="connsiteX2274" fmla="*/ 1206636 w 4545947"/>
              <a:gd name="connsiteY2274" fmla="*/ 3999437 h 4525940"/>
              <a:gd name="connsiteX2275" fmla="*/ 1218569 w 4545947"/>
              <a:gd name="connsiteY2275" fmla="*/ 4031037 h 4525940"/>
              <a:gd name="connsiteX2276" fmla="*/ 1223715 w 4545947"/>
              <a:gd name="connsiteY2276" fmla="*/ 4056394 h 4525940"/>
              <a:gd name="connsiteX2277" fmla="*/ 1234740 w 4545947"/>
              <a:gd name="connsiteY2277" fmla="*/ 4067970 h 4525940"/>
              <a:gd name="connsiteX2278" fmla="*/ 1243044 w 4545947"/>
              <a:gd name="connsiteY2278" fmla="*/ 4125505 h 4525940"/>
              <a:gd name="connsiteX2279" fmla="*/ 1235153 w 4545947"/>
              <a:gd name="connsiteY2279" fmla="*/ 4136583 h 4525940"/>
              <a:gd name="connsiteX2280" fmla="*/ 1223274 w 4545947"/>
              <a:gd name="connsiteY2280" fmla="*/ 4164622 h 4525940"/>
              <a:gd name="connsiteX2281" fmla="*/ 1214344 w 4545947"/>
              <a:gd name="connsiteY2281" fmla="*/ 4186944 h 4525940"/>
              <a:gd name="connsiteX2282" fmla="*/ 1207713 w 4545947"/>
              <a:gd name="connsiteY2282" fmla="*/ 4193168 h 4525940"/>
              <a:gd name="connsiteX2283" fmla="*/ 1206188 w 4545947"/>
              <a:gd name="connsiteY2283" fmla="*/ 4199856 h 4525940"/>
              <a:gd name="connsiteX2284" fmla="*/ 1201865 w 4545947"/>
              <a:gd name="connsiteY2284" fmla="*/ 4206484 h 4525940"/>
              <a:gd name="connsiteX2285" fmla="*/ 1235316 w 4545947"/>
              <a:gd name="connsiteY2285" fmla="*/ 4253713 h 4525940"/>
              <a:gd name="connsiteX2286" fmla="*/ 1240895 w 4545947"/>
              <a:gd name="connsiteY2286" fmla="*/ 4261626 h 4525940"/>
              <a:gd name="connsiteX2287" fmla="*/ 1252153 w 4545947"/>
              <a:gd name="connsiteY2287" fmla="*/ 4285367 h 4525940"/>
              <a:gd name="connsiteX2288" fmla="*/ 1263086 w 4545947"/>
              <a:gd name="connsiteY2288" fmla="*/ 4295120 h 4525940"/>
              <a:gd name="connsiteX2289" fmla="*/ 1244501 w 4545947"/>
              <a:gd name="connsiteY2289" fmla="*/ 4303451 h 4525940"/>
              <a:gd name="connsiteX2290" fmla="*/ 1210611 w 4545947"/>
              <a:gd name="connsiteY2290" fmla="*/ 4280227 h 4525940"/>
              <a:gd name="connsiteX2291" fmla="*/ 1204011 w 4545947"/>
              <a:gd name="connsiteY2291" fmla="*/ 4262246 h 4525940"/>
              <a:gd name="connsiteX2292" fmla="*/ 1199513 w 4545947"/>
              <a:gd name="connsiteY2292" fmla="*/ 4247770 h 4525940"/>
              <a:gd name="connsiteX2293" fmla="*/ 1182452 w 4545947"/>
              <a:gd name="connsiteY2293" fmla="*/ 4212632 h 4525940"/>
              <a:gd name="connsiteX2294" fmla="*/ 1150918 w 4545947"/>
              <a:gd name="connsiteY2294" fmla="*/ 4186912 h 4525940"/>
              <a:gd name="connsiteX2295" fmla="*/ 1135289 w 4545947"/>
              <a:gd name="connsiteY2295" fmla="*/ 4198820 h 4525940"/>
              <a:gd name="connsiteX2296" fmla="*/ 1140378 w 4545947"/>
              <a:gd name="connsiteY2296" fmla="*/ 4248933 h 4525940"/>
              <a:gd name="connsiteX2297" fmla="*/ 1150457 w 4545947"/>
              <a:gd name="connsiteY2297" fmla="*/ 4274815 h 4525940"/>
              <a:gd name="connsiteX2298" fmla="*/ 1159469 w 4545947"/>
              <a:gd name="connsiteY2298" fmla="*/ 4304632 h 4525940"/>
              <a:gd name="connsiteX2299" fmla="*/ 1166882 w 4545947"/>
              <a:gd name="connsiteY2299" fmla="*/ 4326027 h 4525940"/>
              <a:gd name="connsiteX2300" fmla="*/ 1180000 w 4545947"/>
              <a:gd name="connsiteY2300" fmla="*/ 4350870 h 4525940"/>
              <a:gd name="connsiteX2301" fmla="*/ 1193119 w 4545947"/>
              <a:gd name="connsiteY2301" fmla="*/ 4371661 h 4525940"/>
              <a:gd name="connsiteX2302" fmla="*/ 1204529 w 4545947"/>
              <a:gd name="connsiteY2302" fmla="*/ 4393713 h 4525940"/>
              <a:gd name="connsiteX2303" fmla="*/ 1203609 w 4545947"/>
              <a:gd name="connsiteY2303" fmla="*/ 4422111 h 4525940"/>
              <a:gd name="connsiteX2304" fmla="*/ 1197492 w 4545947"/>
              <a:gd name="connsiteY2304" fmla="*/ 4424845 h 4525940"/>
              <a:gd name="connsiteX2305" fmla="*/ 1178586 w 4545947"/>
              <a:gd name="connsiteY2305" fmla="*/ 4426228 h 4525940"/>
              <a:gd name="connsiteX2306" fmla="*/ 1173608 w 4545947"/>
              <a:gd name="connsiteY2306" fmla="*/ 4400905 h 4525940"/>
              <a:gd name="connsiteX2307" fmla="*/ 1167529 w 4545947"/>
              <a:gd name="connsiteY2307" fmla="*/ 4380330 h 4525940"/>
              <a:gd name="connsiteX2308" fmla="*/ 1156323 w 4545947"/>
              <a:gd name="connsiteY2308" fmla="*/ 4358354 h 4525940"/>
              <a:gd name="connsiteX2309" fmla="*/ 1144396 w 4545947"/>
              <a:gd name="connsiteY2309" fmla="*/ 4339735 h 4525940"/>
              <a:gd name="connsiteX2310" fmla="*/ 1140644 w 4545947"/>
              <a:gd name="connsiteY2310" fmla="*/ 4336772 h 4525940"/>
              <a:gd name="connsiteX2311" fmla="*/ 1122060 w 4545947"/>
              <a:gd name="connsiteY2311" fmla="*/ 4331650 h 4525940"/>
              <a:gd name="connsiteX2312" fmla="*/ 1103474 w 4545947"/>
              <a:gd name="connsiteY2312" fmla="*/ 4323352 h 4525940"/>
              <a:gd name="connsiteX2313" fmla="*/ 1115054 w 4545947"/>
              <a:gd name="connsiteY2313" fmla="*/ 4311915 h 4525940"/>
              <a:gd name="connsiteX2314" fmla="*/ 1124887 w 4545947"/>
              <a:gd name="connsiteY2314" fmla="*/ 4278494 h 4525940"/>
              <a:gd name="connsiteX2315" fmla="*/ 1118779 w 4545947"/>
              <a:gd name="connsiteY2315" fmla="*/ 4262434 h 4525940"/>
              <a:gd name="connsiteX2316" fmla="*/ 1114407 w 4545947"/>
              <a:gd name="connsiteY2316" fmla="*/ 4253713 h 4525940"/>
              <a:gd name="connsiteX2317" fmla="*/ 1110034 w 4545947"/>
              <a:gd name="connsiteY2317" fmla="*/ 4244894 h 4525940"/>
              <a:gd name="connsiteX2318" fmla="*/ 1103247 w 4545947"/>
              <a:gd name="connsiteY2318" fmla="*/ 4232305 h 4525940"/>
              <a:gd name="connsiteX2319" fmla="*/ 1099558 w 4545947"/>
              <a:gd name="connsiteY2319" fmla="*/ 4235790 h 4525940"/>
              <a:gd name="connsiteX2320" fmla="*/ 1092793 w 4545947"/>
              <a:gd name="connsiteY2320" fmla="*/ 4239312 h 4525940"/>
              <a:gd name="connsiteX2321" fmla="*/ 1085867 w 4545947"/>
              <a:gd name="connsiteY2321" fmla="*/ 4249394 h 4525940"/>
              <a:gd name="connsiteX2322" fmla="*/ 1085559 w 4545947"/>
              <a:gd name="connsiteY2322" fmla="*/ 4296446 h 4525940"/>
              <a:gd name="connsiteX2323" fmla="*/ 1079427 w 4545947"/>
              <a:gd name="connsiteY2323" fmla="*/ 4317021 h 4525940"/>
              <a:gd name="connsiteX2324" fmla="*/ 1026948 w 4545947"/>
              <a:gd name="connsiteY2324" fmla="*/ 4257083 h 4525940"/>
              <a:gd name="connsiteX2325" fmla="*/ 1019295 w 4545947"/>
              <a:gd name="connsiteY2325" fmla="*/ 4242429 h 4525940"/>
              <a:gd name="connsiteX2326" fmla="*/ 1011029 w 4545947"/>
              <a:gd name="connsiteY2326" fmla="*/ 4231555 h 4525940"/>
              <a:gd name="connsiteX2327" fmla="*/ 1007402 w 4545947"/>
              <a:gd name="connsiteY2327" fmla="*/ 4204648 h 4525940"/>
              <a:gd name="connsiteX2328" fmla="*/ 1008641 w 4545947"/>
              <a:gd name="connsiteY2328" fmla="*/ 4184073 h 4525940"/>
              <a:gd name="connsiteX2329" fmla="*/ 1008391 w 4545947"/>
              <a:gd name="connsiteY2329" fmla="*/ 4147050 h 4525940"/>
              <a:gd name="connsiteX2330" fmla="*/ 987053 w 4545947"/>
              <a:gd name="connsiteY2330" fmla="*/ 4132187 h 4525940"/>
              <a:gd name="connsiteX2331" fmla="*/ 976052 w 4545947"/>
              <a:gd name="connsiteY2331" fmla="*/ 4108153 h 4525940"/>
              <a:gd name="connsiteX2332" fmla="*/ 971471 w 4545947"/>
              <a:gd name="connsiteY2332" fmla="*/ 4077676 h 4525940"/>
              <a:gd name="connsiteX2333" fmla="*/ 963413 w 4545947"/>
              <a:gd name="connsiteY2333" fmla="*/ 4055810 h 4525940"/>
              <a:gd name="connsiteX2334" fmla="*/ 957575 w 4545947"/>
              <a:gd name="connsiteY2334" fmla="*/ 4038463 h 4525940"/>
              <a:gd name="connsiteX2335" fmla="*/ 948803 w 4545947"/>
              <a:gd name="connsiteY2335" fmla="*/ 4019035 h 4525940"/>
              <a:gd name="connsiteX2336" fmla="*/ 932430 w 4545947"/>
              <a:gd name="connsiteY2336" fmla="*/ 3984503 h 4525940"/>
              <a:gd name="connsiteX2337" fmla="*/ 922065 w 4545947"/>
              <a:gd name="connsiteY2337" fmla="*/ 3961198 h 4525940"/>
              <a:gd name="connsiteX2338" fmla="*/ 926371 w 4545947"/>
              <a:gd name="connsiteY2338" fmla="*/ 3962493 h 4525940"/>
              <a:gd name="connsiteX2339" fmla="*/ 930677 w 4545947"/>
              <a:gd name="connsiteY2339" fmla="*/ 3964851 h 4525940"/>
              <a:gd name="connsiteX2340" fmla="*/ 924185 w 4545947"/>
              <a:gd name="connsiteY2340" fmla="*/ 3949831 h 4525940"/>
              <a:gd name="connsiteX2341" fmla="*/ 917625 w 4545947"/>
              <a:gd name="connsiteY2341" fmla="*/ 3931045 h 4525940"/>
              <a:gd name="connsiteX2342" fmla="*/ 908879 w 4545947"/>
              <a:gd name="connsiteY2342" fmla="*/ 3908681 h 4525940"/>
              <a:gd name="connsiteX2343" fmla="*/ 900133 w 4545947"/>
              <a:gd name="connsiteY2343" fmla="*/ 3875582 h 4525940"/>
              <a:gd name="connsiteX2344" fmla="*/ 882642 w 4545947"/>
              <a:gd name="connsiteY2344" fmla="*/ 3831209 h 4525940"/>
              <a:gd name="connsiteX2345" fmla="*/ 865150 w 4545947"/>
              <a:gd name="connsiteY2345" fmla="*/ 3784868 h 4525940"/>
              <a:gd name="connsiteX2346" fmla="*/ 858591 w 4545947"/>
              <a:gd name="connsiteY2346" fmla="*/ 3757617 h 4525940"/>
              <a:gd name="connsiteX2347" fmla="*/ 852031 w 4545947"/>
              <a:gd name="connsiteY2347" fmla="*/ 3717196 h 4525940"/>
              <a:gd name="connsiteX2348" fmla="*/ 843285 w 4545947"/>
              <a:gd name="connsiteY2348" fmla="*/ 3669577 h 4525940"/>
              <a:gd name="connsiteX2349" fmla="*/ 834539 w 4545947"/>
              <a:gd name="connsiteY2349" fmla="*/ 3648804 h 4525940"/>
              <a:gd name="connsiteX2350" fmla="*/ 830798 w 4545947"/>
              <a:gd name="connsiteY2350" fmla="*/ 3642220 h 4525940"/>
              <a:gd name="connsiteX2351" fmla="*/ 829106 w 4545947"/>
              <a:gd name="connsiteY2351" fmla="*/ 3630048 h 4525940"/>
              <a:gd name="connsiteX2352" fmla="*/ 803657 w 4545947"/>
              <a:gd name="connsiteY2352" fmla="*/ 3596041 h 4525940"/>
              <a:gd name="connsiteX2353" fmla="*/ 777265 w 4545947"/>
              <a:gd name="connsiteY2353" fmla="*/ 3578868 h 4525940"/>
              <a:gd name="connsiteX2354" fmla="*/ 755827 w 4545947"/>
              <a:gd name="connsiteY2354" fmla="*/ 3540146 h 4525940"/>
              <a:gd name="connsiteX2355" fmla="*/ 751454 w 4545947"/>
              <a:gd name="connsiteY2355" fmla="*/ 3531995 h 4525940"/>
              <a:gd name="connsiteX2356" fmla="*/ 747081 w 4545947"/>
              <a:gd name="connsiteY2356" fmla="*/ 3516168 h 4525940"/>
              <a:gd name="connsiteX2357" fmla="*/ 762326 w 4545947"/>
              <a:gd name="connsiteY2357" fmla="*/ 3510362 h 4525940"/>
              <a:gd name="connsiteX2358" fmla="*/ 789966 w 4545947"/>
              <a:gd name="connsiteY2358" fmla="*/ 3491886 h 4525940"/>
              <a:gd name="connsiteX2359" fmla="*/ 774412 w 4545947"/>
              <a:gd name="connsiteY2359" fmla="*/ 3465794 h 4525940"/>
              <a:gd name="connsiteX2360" fmla="*/ 760200 w 4545947"/>
              <a:gd name="connsiteY2360" fmla="*/ 3445219 h 4525940"/>
              <a:gd name="connsiteX2361" fmla="*/ 766020 w 4545947"/>
              <a:gd name="connsiteY2361" fmla="*/ 3430701 h 4525940"/>
              <a:gd name="connsiteX2362" fmla="*/ 777808 w 4545947"/>
              <a:gd name="connsiteY2362" fmla="*/ 3414557 h 4525940"/>
              <a:gd name="connsiteX2363" fmla="*/ 771392 w 4545947"/>
              <a:gd name="connsiteY2363" fmla="*/ 3383009 h 4525940"/>
              <a:gd name="connsiteX2364" fmla="*/ 764313 w 4545947"/>
              <a:gd name="connsiteY2364" fmla="*/ 3358350 h 4525940"/>
              <a:gd name="connsiteX2365" fmla="*/ 768188 w 4545947"/>
              <a:gd name="connsiteY2365" fmla="*/ 3334504 h 4525940"/>
              <a:gd name="connsiteX2366" fmla="*/ 743360 w 4545947"/>
              <a:gd name="connsiteY2366" fmla="*/ 3335738 h 4525940"/>
              <a:gd name="connsiteX2367" fmla="*/ 719750 w 4545947"/>
              <a:gd name="connsiteY2367" fmla="*/ 3360965 h 4525940"/>
              <a:gd name="connsiteX2368" fmla="*/ 707725 w 4545947"/>
              <a:gd name="connsiteY2368" fmla="*/ 3376437 h 4525940"/>
              <a:gd name="connsiteX2369" fmla="*/ 728262 w 4545947"/>
              <a:gd name="connsiteY2369" fmla="*/ 3411709 h 4525940"/>
              <a:gd name="connsiteX2370" fmla="*/ 732322 w 4545947"/>
              <a:gd name="connsiteY2370" fmla="*/ 3431493 h 4525940"/>
              <a:gd name="connsiteX2371" fmla="*/ 729589 w 4545947"/>
              <a:gd name="connsiteY2371" fmla="*/ 3456816 h 4525940"/>
              <a:gd name="connsiteX2372" fmla="*/ 721191 w 4545947"/>
              <a:gd name="connsiteY2372" fmla="*/ 3462355 h 4525940"/>
              <a:gd name="connsiteX2373" fmla="*/ 709911 w 4545947"/>
              <a:gd name="connsiteY2373" fmla="*/ 3443363 h 4525940"/>
              <a:gd name="connsiteX2374" fmla="*/ 703479 w 4545947"/>
              <a:gd name="connsiteY2374" fmla="*/ 3424370 h 4525940"/>
              <a:gd name="connsiteX2375" fmla="*/ 697371 w 4545947"/>
              <a:gd name="connsiteY2375" fmla="*/ 3409629 h 4525940"/>
              <a:gd name="connsiteX2376" fmla="*/ 671316 w 4545947"/>
              <a:gd name="connsiteY2376" fmla="*/ 3385041 h 4525940"/>
              <a:gd name="connsiteX2377" fmla="*/ 667444 w 4545947"/>
              <a:gd name="connsiteY2377" fmla="*/ 3424370 h 4525940"/>
              <a:gd name="connsiteX2378" fmla="*/ 678776 w 4545947"/>
              <a:gd name="connsiteY2378" fmla="*/ 3449694 h 4525940"/>
              <a:gd name="connsiteX2379" fmla="*/ 690046 w 4545947"/>
              <a:gd name="connsiteY2379" fmla="*/ 3475017 h 4525940"/>
              <a:gd name="connsiteX2380" fmla="*/ 696565 w 4545947"/>
              <a:gd name="connsiteY2380" fmla="*/ 3509394 h 4525940"/>
              <a:gd name="connsiteX2381" fmla="*/ 705815 w 4545947"/>
              <a:gd name="connsiteY2381" fmla="*/ 3551320 h 4525940"/>
              <a:gd name="connsiteX2382" fmla="*/ 699374 w 4545947"/>
              <a:gd name="connsiteY2382" fmla="*/ 3567879 h 4525940"/>
              <a:gd name="connsiteX2383" fmla="*/ 684206 w 4545947"/>
              <a:gd name="connsiteY2383" fmla="*/ 3573418 h 4525940"/>
              <a:gd name="connsiteX2384" fmla="*/ 670986 w 4545947"/>
              <a:gd name="connsiteY2384" fmla="*/ 3582642 h 4525940"/>
              <a:gd name="connsiteX2385" fmla="*/ 664136 w 4545947"/>
              <a:gd name="connsiteY2385" fmla="*/ 3541275 h 4525940"/>
              <a:gd name="connsiteX2386" fmla="*/ 671478 w 4545947"/>
              <a:gd name="connsiteY2386" fmla="*/ 3517368 h 4525940"/>
              <a:gd name="connsiteX2387" fmla="*/ 650877 w 4545947"/>
              <a:gd name="connsiteY2387" fmla="*/ 3507379 h 4525940"/>
              <a:gd name="connsiteX2388" fmla="*/ 632292 w 4545947"/>
              <a:gd name="connsiteY2388" fmla="*/ 3511535 h 4525940"/>
              <a:gd name="connsiteX2389" fmla="*/ 612262 w 4545947"/>
              <a:gd name="connsiteY2389" fmla="*/ 3524603 h 4525940"/>
              <a:gd name="connsiteX2390" fmla="*/ 616883 w 4545947"/>
              <a:gd name="connsiteY2390" fmla="*/ 3549927 h 4525940"/>
              <a:gd name="connsiteX2391" fmla="*/ 604596 w 4545947"/>
              <a:gd name="connsiteY2391" fmla="*/ 3582818 h 4525940"/>
              <a:gd name="connsiteX2392" fmla="*/ 578723 w 4545947"/>
              <a:gd name="connsiteY2392" fmla="*/ 3563624 h 4525940"/>
              <a:gd name="connsiteX2393" fmla="*/ 550299 w 4545947"/>
              <a:gd name="connsiteY2393" fmla="*/ 3514565 h 4525940"/>
              <a:gd name="connsiteX2394" fmla="*/ 543740 w 4545947"/>
              <a:gd name="connsiteY2394" fmla="*/ 3479059 h 4525940"/>
              <a:gd name="connsiteX2395" fmla="*/ 537180 w 4545947"/>
              <a:gd name="connsiteY2395" fmla="*/ 3459388 h 4525940"/>
              <a:gd name="connsiteX2396" fmla="*/ 532807 w 4545947"/>
              <a:gd name="connsiteY2396" fmla="*/ 3443363 h 4525940"/>
              <a:gd name="connsiteX2397" fmla="*/ 528435 w 4545947"/>
              <a:gd name="connsiteY2397" fmla="*/ 3432141 h 4525940"/>
              <a:gd name="connsiteX2398" fmla="*/ 510943 w 4545947"/>
              <a:gd name="connsiteY2398" fmla="*/ 3399047 h 4525940"/>
              <a:gd name="connsiteX2399" fmla="*/ 493451 w 4545947"/>
              <a:gd name="connsiteY2399" fmla="*/ 3366729 h 4525940"/>
              <a:gd name="connsiteX2400" fmla="*/ 486983 w 4545947"/>
              <a:gd name="connsiteY2400" fmla="*/ 3348509 h 4525940"/>
              <a:gd name="connsiteX2401" fmla="*/ 467214 w 4545947"/>
              <a:gd name="connsiteY2401" fmla="*/ 3290823 h 4525940"/>
              <a:gd name="connsiteX2402" fmla="*/ 462770 w 4545947"/>
              <a:gd name="connsiteY2402" fmla="*/ 3275532 h 4525940"/>
              <a:gd name="connsiteX2403" fmla="*/ 460480 w 4545947"/>
              <a:gd name="connsiteY2403" fmla="*/ 3266508 h 4525940"/>
              <a:gd name="connsiteX2404" fmla="*/ 453925 w 4545947"/>
              <a:gd name="connsiteY2404" fmla="*/ 3250050 h 4525940"/>
              <a:gd name="connsiteX2405" fmla="*/ 442490 w 4545947"/>
              <a:gd name="connsiteY2405" fmla="*/ 3213955 h 4525940"/>
              <a:gd name="connsiteX2406" fmla="*/ 429437 w 4545947"/>
              <a:gd name="connsiteY2406" fmla="*/ 3179475 h 4525940"/>
              <a:gd name="connsiteX2407" fmla="*/ 419111 w 4545947"/>
              <a:gd name="connsiteY2407" fmla="*/ 3129631 h 4525940"/>
              <a:gd name="connsiteX2408" fmla="*/ 414739 w 4545947"/>
              <a:gd name="connsiteY2408" fmla="*/ 3085670 h 4525940"/>
              <a:gd name="connsiteX2409" fmla="*/ 415429 w 4545947"/>
              <a:gd name="connsiteY2409" fmla="*/ 3055792 h 4525940"/>
              <a:gd name="connsiteX2410" fmla="*/ 393008 w 4545947"/>
              <a:gd name="connsiteY2410" fmla="*/ 3000795 h 4525940"/>
              <a:gd name="connsiteX2411" fmla="*/ 371009 w 4545947"/>
              <a:gd name="connsiteY2411" fmla="*/ 2946175 h 4525940"/>
              <a:gd name="connsiteX2412" fmla="*/ 364450 w 4545947"/>
              <a:gd name="connsiteY2412" fmla="*/ 2905240 h 4525940"/>
              <a:gd name="connsiteX2413" fmla="*/ 357891 w 4545947"/>
              <a:gd name="connsiteY2413" fmla="*/ 2879142 h 4525940"/>
              <a:gd name="connsiteX2414" fmla="*/ 353227 w 4545947"/>
              <a:gd name="connsiteY2414" fmla="*/ 2860924 h 4525940"/>
              <a:gd name="connsiteX2415" fmla="*/ 349948 w 4545947"/>
              <a:gd name="connsiteY2415" fmla="*/ 2843514 h 4525940"/>
              <a:gd name="connsiteX2416" fmla="*/ 340471 w 4545947"/>
              <a:gd name="connsiteY2416" fmla="*/ 2811971 h 4525940"/>
              <a:gd name="connsiteX2417" fmla="*/ 330125 w 4545947"/>
              <a:gd name="connsiteY2417" fmla="*/ 2770820 h 4525940"/>
              <a:gd name="connsiteX2418" fmla="*/ 327866 w 4545947"/>
              <a:gd name="connsiteY2418" fmla="*/ 2740638 h 4525940"/>
              <a:gd name="connsiteX2419" fmla="*/ 305415 w 4545947"/>
              <a:gd name="connsiteY2419" fmla="*/ 2661333 h 4525940"/>
              <a:gd name="connsiteX2420" fmla="*/ 301042 w 4545947"/>
              <a:gd name="connsiteY2420" fmla="*/ 2645675 h 4525940"/>
              <a:gd name="connsiteX2421" fmla="*/ 296670 w 4545947"/>
              <a:gd name="connsiteY2421" fmla="*/ 2612049 h 4525940"/>
              <a:gd name="connsiteX2422" fmla="*/ 286831 w 4545947"/>
              <a:gd name="connsiteY2422" fmla="*/ 2563152 h 4525940"/>
              <a:gd name="connsiteX2423" fmla="*/ 276187 w 4545947"/>
              <a:gd name="connsiteY2423" fmla="*/ 2538217 h 4525940"/>
              <a:gd name="connsiteX2424" fmla="*/ 263140 w 4545947"/>
              <a:gd name="connsiteY2424" fmla="*/ 2450618 h 4525940"/>
              <a:gd name="connsiteX2425" fmla="*/ 257313 w 4545947"/>
              <a:gd name="connsiteY2425" fmla="*/ 2433139 h 4525940"/>
              <a:gd name="connsiteX2426" fmla="*/ 252940 w 4545947"/>
              <a:gd name="connsiteY2426" fmla="*/ 2424095 h 4525940"/>
              <a:gd name="connsiteX2427" fmla="*/ 248567 w 4545947"/>
              <a:gd name="connsiteY2427" fmla="*/ 2395606 h 4525940"/>
              <a:gd name="connsiteX2428" fmla="*/ 243727 w 4545947"/>
              <a:gd name="connsiteY2428" fmla="*/ 2367117 h 4525940"/>
              <a:gd name="connsiteX2429" fmla="*/ 241245 w 4545947"/>
              <a:gd name="connsiteY2429" fmla="*/ 2358215 h 4525940"/>
              <a:gd name="connsiteX2430" fmla="*/ 235154 w 4545947"/>
              <a:gd name="connsiteY2430" fmla="*/ 2338242 h 4525940"/>
              <a:gd name="connsiteX2431" fmla="*/ 226703 w 4545947"/>
              <a:gd name="connsiteY2431" fmla="*/ 2307402 h 4525940"/>
              <a:gd name="connsiteX2432" fmla="*/ 220505 w 4545947"/>
              <a:gd name="connsiteY2432" fmla="*/ 2274822 h 4525940"/>
              <a:gd name="connsiteX2433" fmla="*/ 211334 w 4545947"/>
              <a:gd name="connsiteY2433" fmla="*/ 2237011 h 4525940"/>
              <a:gd name="connsiteX2434" fmla="*/ 194546 w 4545947"/>
              <a:gd name="connsiteY2434" fmla="*/ 2177191 h 4525940"/>
              <a:gd name="connsiteX2435" fmla="*/ 192550 w 4545947"/>
              <a:gd name="connsiteY2435" fmla="*/ 2155033 h 4525940"/>
              <a:gd name="connsiteX2436" fmla="*/ 190841 w 4545947"/>
              <a:gd name="connsiteY2436" fmla="*/ 2132875 h 4525940"/>
              <a:gd name="connsiteX2437" fmla="*/ 187346 w 4545947"/>
              <a:gd name="connsiteY2437" fmla="*/ 2120214 h 4525940"/>
              <a:gd name="connsiteX2438" fmla="*/ 183172 w 4545947"/>
              <a:gd name="connsiteY2438" fmla="*/ 2107552 h 4525940"/>
              <a:gd name="connsiteX2439" fmla="*/ 176125 w 4545947"/>
              <a:gd name="connsiteY2439" fmla="*/ 2085394 h 4525940"/>
              <a:gd name="connsiteX2440" fmla="*/ 169368 w 4545947"/>
              <a:gd name="connsiteY2440" fmla="*/ 2063236 h 4525940"/>
              <a:gd name="connsiteX2441" fmla="*/ 165482 w 4545947"/>
              <a:gd name="connsiteY2441" fmla="*/ 2050375 h 4525940"/>
              <a:gd name="connsiteX2442" fmla="*/ 158923 w 4545947"/>
              <a:gd name="connsiteY2442" fmla="*/ 2033872 h 4525940"/>
              <a:gd name="connsiteX2443" fmla="*/ 152363 w 4545947"/>
              <a:gd name="connsiteY2443" fmla="*/ 2012836 h 4525940"/>
              <a:gd name="connsiteX2444" fmla="*/ 121961 w 4545947"/>
              <a:gd name="connsiteY2444" fmla="*/ 1961942 h 4525940"/>
              <a:gd name="connsiteX2445" fmla="*/ 113007 w 4545947"/>
              <a:gd name="connsiteY2445" fmla="*/ 1952973 h 4525940"/>
              <a:gd name="connsiteX2446" fmla="*/ 107847 w 4545947"/>
              <a:gd name="connsiteY2446" fmla="*/ 1941515 h 4525940"/>
              <a:gd name="connsiteX2447" fmla="*/ 105462 w 4545947"/>
              <a:gd name="connsiteY2447" fmla="*/ 1928555 h 4525940"/>
              <a:gd name="connsiteX2448" fmla="*/ 121932 w 4545947"/>
              <a:gd name="connsiteY2448" fmla="*/ 1924997 h 4525940"/>
              <a:gd name="connsiteX2449" fmla="*/ 142816 w 4545947"/>
              <a:gd name="connsiteY2449" fmla="*/ 1921499 h 4525940"/>
              <a:gd name="connsiteX2450" fmla="*/ 144625 w 4545947"/>
              <a:gd name="connsiteY2450" fmla="*/ 1898617 h 4525940"/>
              <a:gd name="connsiteX2451" fmla="*/ 139244 w 4545947"/>
              <a:gd name="connsiteY2451" fmla="*/ 1871497 h 4525940"/>
              <a:gd name="connsiteX2452" fmla="*/ 135208 w 4545947"/>
              <a:gd name="connsiteY2452" fmla="*/ 1850836 h 4525940"/>
              <a:gd name="connsiteX2453" fmla="*/ 126665 w 4545947"/>
              <a:gd name="connsiteY2453" fmla="*/ 1784678 h 4525940"/>
              <a:gd name="connsiteX2454" fmla="*/ 108293 w 4545947"/>
              <a:gd name="connsiteY2454" fmla="*/ 1664392 h 4525940"/>
              <a:gd name="connsiteX2455" fmla="*/ 102962 w 4545947"/>
              <a:gd name="connsiteY2455" fmla="*/ 1636921 h 4525940"/>
              <a:gd name="connsiteX2456" fmla="*/ 94702 w 4545947"/>
              <a:gd name="connsiteY2456" fmla="*/ 1602831 h 4525940"/>
              <a:gd name="connsiteX2457" fmla="*/ 98128 w 4545947"/>
              <a:gd name="connsiteY2457" fmla="*/ 1453577 h 4525940"/>
              <a:gd name="connsiteX2458" fmla="*/ 104261 w 4545947"/>
              <a:gd name="connsiteY2458" fmla="*/ 1427347 h 4525940"/>
              <a:gd name="connsiteX2459" fmla="*/ 110821 w 4545947"/>
              <a:gd name="connsiteY2459" fmla="*/ 1402538 h 4525940"/>
              <a:gd name="connsiteX2460" fmla="*/ 117380 w 4545947"/>
              <a:gd name="connsiteY2460" fmla="*/ 1386808 h 4525940"/>
              <a:gd name="connsiteX2461" fmla="*/ 123939 w 4545947"/>
              <a:gd name="connsiteY2461" fmla="*/ 1366842 h 4525940"/>
              <a:gd name="connsiteX2462" fmla="*/ 130498 w 4545947"/>
              <a:gd name="connsiteY2462" fmla="*/ 1341518 h 4525940"/>
              <a:gd name="connsiteX2463" fmla="*/ 163457 w 4545947"/>
              <a:gd name="connsiteY2463" fmla="*/ 1308631 h 4525940"/>
              <a:gd name="connsiteX2464" fmla="*/ 198730 w 4545947"/>
              <a:gd name="connsiteY2464" fmla="*/ 1253312 h 4525940"/>
              <a:gd name="connsiteX2465" fmla="*/ 204698 w 4545947"/>
              <a:gd name="connsiteY2465" fmla="*/ 1210441 h 4525940"/>
              <a:gd name="connsiteX2466" fmla="*/ 213584 w 4545947"/>
              <a:gd name="connsiteY2466" fmla="*/ 1192440 h 4525940"/>
              <a:gd name="connsiteX2467" fmla="*/ 224517 w 4545947"/>
              <a:gd name="connsiteY2467" fmla="*/ 1170585 h 4525940"/>
              <a:gd name="connsiteX2468" fmla="*/ 235449 w 4545947"/>
              <a:gd name="connsiteY2468" fmla="*/ 1144933 h 4525940"/>
              <a:gd name="connsiteX2469" fmla="*/ 242008 w 4545947"/>
              <a:gd name="connsiteY2469" fmla="*/ 1126269 h 4525940"/>
              <a:gd name="connsiteX2470" fmla="*/ 248567 w 4545947"/>
              <a:gd name="connsiteY2470" fmla="*/ 1109667 h 4525940"/>
              <a:gd name="connsiteX2471" fmla="*/ 252548 w 4545947"/>
              <a:gd name="connsiteY2471" fmla="*/ 1100946 h 4525940"/>
              <a:gd name="connsiteX2472" fmla="*/ 259624 w 4545947"/>
              <a:gd name="connsiteY2472" fmla="*/ 1047134 h 4525940"/>
              <a:gd name="connsiteX2473" fmla="*/ 266576 w 4545947"/>
              <a:gd name="connsiteY2473" fmla="*/ 993321 h 4525940"/>
              <a:gd name="connsiteX2474" fmla="*/ 270432 w 4545947"/>
              <a:gd name="connsiteY2474" fmla="*/ 985235 h 4525940"/>
              <a:gd name="connsiteX2475" fmla="*/ 301492 w 4545947"/>
              <a:gd name="connsiteY2475" fmla="*/ 942674 h 4525940"/>
              <a:gd name="connsiteX2476" fmla="*/ 305415 w 4545947"/>
              <a:gd name="connsiteY2476" fmla="*/ 936072 h 4525940"/>
              <a:gd name="connsiteX2477" fmla="*/ 325094 w 4545947"/>
              <a:gd name="connsiteY2477" fmla="*/ 899013 h 4525940"/>
              <a:gd name="connsiteX2478" fmla="*/ 344772 w 4545947"/>
              <a:gd name="connsiteY2478" fmla="*/ 864151 h 4525940"/>
              <a:gd name="connsiteX2479" fmla="*/ 376468 w 4545947"/>
              <a:gd name="connsiteY2479" fmla="*/ 816057 h 4525940"/>
              <a:gd name="connsiteX2480" fmla="*/ 405993 w 4545947"/>
              <a:gd name="connsiteY2480" fmla="*/ 777703 h 4525940"/>
              <a:gd name="connsiteX2481" fmla="*/ 466866 w 4545947"/>
              <a:gd name="connsiteY2481" fmla="*/ 695771 h 4525940"/>
              <a:gd name="connsiteX2482" fmla="*/ 475959 w 4545947"/>
              <a:gd name="connsiteY2482" fmla="*/ 689867 h 4525940"/>
              <a:gd name="connsiteX2483" fmla="*/ 485595 w 4545947"/>
              <a:gd name="connsiteY2483" fmla="*/ 679535 h 4525940"/>
              <a:gd name="connsiteX2484" fmla="*/ 501212 w 4545947"/>
              <a:gd name="connsiteY2484" fmla="*/ 666447 h 4525940"/>
              <a:gd name="connsiteX2485" fmla="*/ 522188 w 4545947"/>
              <a:gd name="connsiteY2485" fmla="*/ 657786 h 4525940"/>
              <a:gd name="connsiteX2486" fmla="*/ 537180 w 4545947"/>
              <a:gd name="connsiteY2486" fmla="*/ 651455 h 4525940"/>
              <a:gd name="connsiteX2487" fmla="*/ 547500 w 4545947"/>
              <a:gd name="connsiteY2487" fmla="*/ 645124 h 4525940"/>
              <a:gd name="connsiteX2488" fmla="*/ 566030 w 4545947"/>
              <a:gd name="connsiteY2488" fmla="*/ 629297 h 4525940"/>
              <a:gd name="connsiteX2489" fmla="*/ 581636 w 4545947"/>
              <a:gd name="connsiteY2489" fmla="*/ 613470 h 4525940"/>
              <a:gd name="connsiteX2490" fmla="*/ 595590 w 4545947"/>
              <a:gd name="connsiteY2490" fmla="*/ 603974 h 4525940"/>
              <a:gd name="connsiteX2491" fmla="*/ 605081 w 4545947"/>
              <a:gd name="connsiteY2491" fmla="*/ 594477 h 4525940"/>
              <a:gd name="connsiteX2492" fmla="*/ 621792 w 4545947"/>
              <a:gd name="connsiteY2492" fmla="*/ 585112 h 4525940"/>
              <a:gd name="connsiteX2493" fmla="*/ 758458 w 4545947"/>
              <a:gd name="connsiteY2493" fmla="*/ 557307 h 4525940"/>
              <a:gd name="connsiteX2494" fmla="*/ 827104 w 4545947"/>
              <a:gd name="connsiteY2494" fmla="*/ 526420 h 4525940"/>
              <a:gd name="connsiteX2495" fmla="*/ 836125 w 4545947"/>
              <a:gd name="connsiteY2495" fmla="*/ 518507 h 4525940"/>
              <a:gd name="connsiteX2496" fmla="*/ 854218 w 4545947"/>
              <a:gd name="connsiteY2496" fmla="*/ 499514 h 4525940"/>
              <a:gd name="connsiteX2497" fmla="*/ 874456 w 4545947"/>
              <a:gd name="connsiteY2497" fmla="*/ 480522 h 4525940"/>
              <a:gd name="connsiteX2498" fmla="*/ 884828 w 4545947"/>
              <a:gd name="connsiteY2498" fmla="*/ 474191 h 4525940"/>
              <a:gd name="connsiteX2499" fmla="*/ 895654 w 4545947"/>
              <a:gd name="connsiteY2499" fmla="*/ 467860 h 4525940"/>
              <a:gd name="connsiteX2500" fmla="*/ 912594 w 4545947"/>
              <a:gd name="connsiteY2500" fmla="*/ 450450 h 4525940"/>
              <a:gd name="connsiteX2501" fmla="*/ 926952 w 4545947"/>
              <a:gd name="connsiteY2501" fmla="*/ 440954 h 4525940"/>
              <a:gd name="connsiteX2502" fmla="*/ 939829 w 4545947"/>
              <a:gd name="connsiteY2502" fmla="*/ 448867 h 4525940"/>
              <a:gd name="connsiteX2503" fmla="*/ 952502 w 4545947"/>
              <a:gd name="connsiteY2503" fmla="*/ 458179 h 4525940"/>
              <a:gd name="connsiteX2504" fmla="*/ 998543 w 4545947"/>
              <a:gd name="connsiteY2504" fmla="*/ 466092 h 4525940"/>
              <a:gd name="connsiteX2505" fmla="*/ 1037211 w 4545947"/>
              <a:gd name="connsiteY2505" fmla="*/ 469443 h 4525940"/>
              <a:gd name="connsiteX2506" fmla="*/ 1042254 w 4545947"/>
              <a:gd name="connsiteY2506" fmla="*/ 474191 h 4525940"/>
              <a:gd name="connsiteX2507" fmla="*/ 1046626 w 4545947"/>
              <a:gd name="connsiteY2507" fmla="*/ 467860 h 4525940"/>
              <a:gd name="connsiteX2508" fmla="*/ 1061114 w 4545947"/>
              <a:gd name="connsiteY2508" fmla="*/ 477356 h 4525940"/>
              <a:gd name="connsiteX2509" fmla="*/ 1086902 w 4545947"/>
              <a:gd name="connsiteY2509" fmla="*/ 480522 h 4525940"/>
              <a:gd name="connsiteX2510" fmla="*/ 1109378 w 4545947"/>
              <a:gd name="connsiteY2510" fmla="*/ 486853 h 4525940"/>
              <a:gd name="connsiteX2511" fmla="*/ 1118552 w 4545947"/>
              <a:gd name="connsiteY2511" fmla="*/ 505845 h 4525940"/>
              <a:gd name="connsiteX2512" fmla="*/ 1123152 w 4545947"/>
              <a:gd name="connsiteY2512" fmla="*/ 515629 h 4525940"/>
              <a:gd name="connsiteX2513" fmla="*/ 1134085 w 4545947"/>
              <a:gd name="connsiteY2513" fmla="*/ 541240 h 4525940"/>
              <a:gd name="connsiteX2514" fmla="*/ 1145017 w 4545947"/>
              <a:gd name="connsiteY2514" fmla="*/ 566276 h 4525940"/>
              <a:gd name="connsiteX2515" fmla="*/ 1149390 w 4545947"/>
              <a:gd name="connsiteY2515" fmla="*/ 575485 h 4525940"/>
              <a:gd name="connsiteX2516" fmla="*/ 1153763 w 4545947"/>
              <a:gd name="connsiteY2516" fmla="*/ 584382 h 4525940"/>
              <a:gd name="connsiteX2517" fmla="*/ 1187659 w 4545947"/>
              <a:gd name="connsiteY2517" fmla="*/ 652617 h 4525940"/>
              <a:gd name="connsiteX2518" fmla="*/ 1254340 w 4545947"/>
              <a:gd name="connsiteY2518" fmla="*/ 749518 h 4525940"/>
              <a:gd name="connsiteX2519" fmla="*/ 1290288 w 4545947"/>
              <a:gd name="connsiteY2519" fmla="*/ 794342 h 4525940"/>
              <a:gd name="connsiteX2520" fmla="*/ 1306344 w 4545947"/>
              <a:gd name="connsiteY2520" fmla="*/ 785189 h 4525940"/>
              <a:gd name="connsiteX2521" fmla="*/ 1331406 w 4545947"/>
              <a:gd name="connsiteY2521" fmla="*/ 768222 h 4525940"/>
              <a:gd name="connsiteX2522" fmla="*/ 1357220 w 4545947"/>
              <a:gd name="connsiteY2522" fmla="*/ 780642 h 4525940"/>
              <a:gd name="connsiteX2523" fmla="*/ 1371260 w 4545947"/>
              <a:gd name="connsiteY2523" fmla="*/ 797065 h 4525940"/>
              <a:gd name="connsiteX2524" fmla="*/ 1376782 w 4545947"/>
              <a:gd name="connsiteY2524" fmla="*/ 808745 h 4525940"/>
              <a:gd name="connsiteX2525" fmla="*/ 1397898 w 4545947"/>
              <a:gd name="connsiteY2525" fmla="*/ 841380 h 4525940"/>
              <a:gd name="connsiteX2526" fmla="*/ 1403566 w 4545947"/>
              <a:gd name="connsiteY2526" fmla="*/ 854042 h 4525940"/>
              <a:gd name="connsiteX2527" fmla="*/ 1413767 w 4545947"/>
              <a:gd name="connsiteY2527" fmla="*/ 888172 h 4525940"/>
              <a:gd name="connsiteX2528" fmla="*/ 1434326 w 4545947"/>
              <a:gd name="connsiteY2528" fmla="*/ 924237 h 4525940"/>
              <a:gd name="connsiteX2529" fmla="*/ 1455432 w 4545947"/>
              <a:gd name="connsiteY2529" fmla="*/ 930013 h 4525940"/>
              <a:gd name="connsiteX2530" fmla="*/ 1463906 w 4545947"/>
              <a:gd name="connsiteY2530" fmla="*/ 905557 h 4525940"/>
              <a:gd name="connsiteX2531" fmla="*/ 1458027 w 4545947"/>
              <a:gd name="connsiteY2531" fmla="*/ 873556 h 4525940"/>
              <a:gd name="connsiteX2532" fmla="*/ 1446749 w 4545947"/>
              <a:gd name="connsiteY2532" fmla="*/ 845782 h 4525940"/>
              <a:gd name="connsiteX2533" fmla="*/ 1442667 w 4545947"/>
              <a:gd name="connsiteY2533" fmla="*/ 835050 h 4525940"/>
              <a:gd name="connsiteX2534" fmla="*/ 1437200 w 4545947"/>
              <a:gd name="connsiteY2534" fmla="*/ 817640 h 4525940"/>
              <a:gd name="connsiteX2535" fmla="*/ 1425722 w 4545947"/>
              <a:gd name="connsiteY2535" fmla="*/ 798159 h 4525940"/>
              <a:gd name="connsiteX2536" fmla="*/ 1431370 w 4545947"/>
              <a:gd name="connsiteY2536" fmla="*/ 765466 h 4525940"/>
              <a:gd name="connsiteX2537" fmla="*/ 1448402 w 4545947"/>
              <a:gd name="connsiteY2537" fmla="*/ 734883 h 4525940"/>
              <a:gd name="connsiteX2538" fmla="*/ 1461812 w 4545947"/>
              <a:gd name="connsiteY2538" fmla="*/ 714763 h 4525940"/>
              <a:gd name="connsiteX2539" fmla="*/ 1475392 w 4545947"/>
              <a:gd name="connsiteY2539" fmla="*/ 708925 h 4525940"/>
              <a:gd name="connsiteX2540" fmla="*/ 1494907 w 4545947"/>
              <a:gd name="connsiteY2540" fmla="*/ 699006 h 4525940"/>
              <a:gd name="connsiteX2541" fmla="*/ 1520814 w 4545947"/>
              <a:gd name="connsiteY2541" fmla="*/ 711175 h 4525940"/>
              <a:gd name="connsiteX2542" fmla="*/ 1542953 w 4545947"/>
              <a:gd name="connsiteY2542" fmla="*/ 721094 h 4525940"/>
              <a:gd name="connsiteX2543" fmla="*/ 1548180 w 4545947"/>
              <a:gd name="connsiteY2543" fmla="*/ 714763 h 4525940"/>
              <a:gd name="connsiteX2544" fmla="*/ 1565543 w 4545947"/>
              <a:gd name="connsiteY2544" fmla="*/ 697931 h 4525940"/>
              <a:gd name="connsiteX2545" fmla="*/ 1580569 w 4545947"/>
              <a:gd name="connsiteY2545" fmla="*/ 692004 h 4525940"/>
              <a:gd name="connsiteX2546" fmla="*/ 1579083 w 4545947"/>
              <a:gd name="connsiteY2546" fmla="*/ 716815 h 4525940"/>
              <a:gd name="connsiteX2547" fmla="*/ 1593565 w 4545947"/>
              <a:gd name="connsiteY2547" fmla="*/ 743948 h 4525940"/>
              <a:gd name="connsiteX2548" fmla="*/ 1600588 w 4545947"/>
              <a:gd name="connsiteY2548" fmla="*/ 716198 h 4525940"/>
              <a:gd name="connsiteX2549" fmla="*/ 1604075 w 4545947"/>
              <a:gd name="connsiteY2549" fmla="*/ 676922 h 4525940"/>
              <a:gd name="connsiteX2550" fmla="*/ 1610336 w 4545947"/>
              <a:gd name="connsiteY2550" fmla="*/ 655404 h 4525940"/>
              <a:gd name="connsiteX2551" fmla="*/ 1627075 w 4545947"/>
              <a:gd name="connsiteY2551" fmla="*/ 651503 h 4525940"/>
              <a:gd name="connsiteX2552" fmla="*/ 1657724 w 4545947"/>
              <a:gd name="connsiteY2552" fmla="*/ 660732 h 4525940"/>
              <a:gd name="connsiteX2553" fmla="*/ 1680927 w 4545947"/>
              <a:gd name="connsiteY2553" fmla="*/ 665854 h 4525940"/>
              <a:gd name="connsiteX2554" fmla="*/ 1711891 w 4545947"/>
              <a:gd name="connsiteY2554" fmla="*/ 679332 h 4525940"/>
              <a:gd name="connsiteX2555" fmla="*/ 1757474 w 4545947"/>
              <a:gd name="connsiteY2555" fmla="*/ 699162 h 4525940"/>
              <a:gd name="connsiteX2556" fmla="*/ 1781191 w 4545947"/>
              <a:gd name="connsiteY2556" fmla="*/ 714763 h 4525940"/>
              <a:gd name="connsiteX2557" fmla="*/ 1787837 w 4545947"/>
              <a:gd name="connsiteY2557" fmla="*/ 720473 h 4525940"/>
              <a:gd name="connsiteX2558" fmla="*/ 1804133 w 4545947"/>
              <a:gd name="connsiteY2558" fmla="*/ 738427 h 4525940"/>
              <a:gd name="connsiteX2559" fmla="*/ 1823246 w 4545947"/>
              <a:gd name="connsiteY2559" fmla="*/ 770607 h 4525940"/>
              <a:gd name="connsiteX2560" fmla="*/ 1854936 w 4545947"/>
              <a:gd name="connsiteY2560" fmla="*/ 808560 h 4525940"/>
              <a:gd name="connsiteX2561" fmla="*/ 1874886 w 4545947"/>
              <a:gd name="connsiteY2561" fmla="*/ 818655 h 4525940"/>
              <a:gd name="connsiteX2562" fmla="*/ 1890018 w 4545947"/>
              <a:gd name="connsiteY2562" fmla="*/ 835050 h 4525940"/>
              <a:gd name="connsiteX2563" fmla="*/ 1924029 w 4545947"/>
              <a:gd name="connsiteY2563" fmla="*/ 879848 h 4525940"/>
              <a:gd name="connsiteX2564" fmla="*/ 1970767 w 4545947"/>
              <a:gd name="connsiteY2564" fmla="*/ 928208 h 4525940"/>
              <a:gd name="connsiteX2565" fmla="*/ 1992216 w 4545947"/>
              <a:gd name="connsiteY2565" fmla="*/ 937930 h 4525940"/>
              <a:gd name="connsiteX2566" fmla="*/ 2004549 w 4545947"/>
              <a:gd name="connsiteY2566" fmla="*/ 940246 h 4525940"/>
              <a:gd name="connsiteX2567" fmla="*/ 2000233 w 4545947"/>
              <a:gd name="connsiteY2567" fmla="*/ 905653 h 4525940"/>
              <a:gd name="connsiteX2568" fmla="*/ 1980246 w 4545947"/>
              <a:gd name="connsiteY2568" fmla="*/ 879818 h 4525940"/>
              <a:gd name="connsiteX2569" fmla="*/ 2000661 w 4545947"/>
              <a:gd name="connsiteY2569" fmla="*/ 880614 h 4525940"/>
              <a:gd name="connsiteX2570" fmla="*/ 2028302 w 4545947"/>
              <a:gd name="connsiteY2570" fmla="*/ 869933 h 4525940"/>
              <a:gd name="connsiteX2571" fmla="*/ 2041467 w 4545947"/>
              <a:gd name="connsiteY2571" fmla="*/ 837031 h 4525940"/>
              <a:gd name="connsiteX2572" fmla="*/ 2048027 w 4545947"/>
              <a:gd name="connsiteY2572" fmla="*/ 822388 h 4525940"/>
              <a:gd name="connsiteX2573" fmla="*/ 2054585 w 4545947"/>
              <a:gd name="connsiteY2573" fmla="*/ 828761 h 4525940"/>
              <a:gd name="connsiteX2574" fmla="*/ 2065253 w 4545947"/>
              <a:gd name="connsiteY2574" fmla="*/ 848562 h 4525940"/>
              <a:gd name="connsiteX2575" fmla="*/ 2069492 w 4545947"/>
              <a:gd name="connsiteY2575" fmla="*/ 876195 h 4525940"/>
              <a:gd name="connsiteX2576" fmla="*/ 2078502 w 4545947"/>
              <a:gd name="connsiteY2576" fmla="*/ 901007 h 4525940"/>
              <a:gd name="connsiteX2577" fmla="*/ 2093942 w 4545947"/>
              <a:gd name="connsiteY2577" fmla="*/ 917648 h 4525940"/>
              <a:gd name="connsiteX2578" fmla="*/ 2100502 w 4545947"/>
              <a:gd name="connsiteY2578" fmla="*/ 923682 h 4525940"/>
              <a:gd name="connsiteX2579" fmla="*/ 2103714 w 4545947"/>
              <a:gd name="connsiteY2579" fmla="*/ 946427 h 4525940"/>
              <a:gd name="connsiteX2580" fmla="*/ 2086036 w 4545947"/>
              <a:gd name="connsiteY2580" fmla="*/ 957421 h 4525940"/>
              <a:gd name="connsiteX2581" fmla="*/ 2063661 w 4545947"/>
              <a:gd name="connsiteY2581" fmla="*/ 987546 h 4525940"/>
              <a:gd name="connsiteX2582" fmla="*/ 2067637 w 4545947"/>
              <a:gd name="connsiteY2582" fmla="*/ 1028317 h 4525940"/>
              <a:gd name="connsiteX2583" fmla="*/ 2093992 w 4545947"/>
              <a:gd name="connsiteY2583" fmla="*/ 1081953 h 4525940"/>
              <a:gd name="connsiteX2584" fmla="*/ 2102688 w 4545947"/>
              <a:gd name="connsiteY2584" fmla="*/ 1100171 h 4525940"/>
              <a:gd name="connsiteX2585" fmla="*/ 2123679 w 4545947"/>
              <a:gd name="connsiteY2585" fmla="*/ 1123892 h 4525940"/>
              <a:gd name="connsiteX2586" fmla="*/ 2129992 w 4545947"/>
              <a:gd name="connsiteY2586" fmla="*/ 1070902 h 4525940"/>
              <a:gd name="connsiteX2587" fmla="*/ 2124526 w 4545947"/>
              <a:gd name="connsiteY2587" fmla="*/ 1022405 h 4525940"/>
              <a:gd name="connsiteX2588" fmla="*/ 2126739 w 4545947"/>
              <a:gd name="connsiteY2588" fmla="*/ 980659 h 4525940"/>
              <a:gd name="connsiteX2589" fmla="*/ 2128791 w 4545947"/>
              <a:gd name="connsiteY2589" fmla="*/ 945720 h 4525940"/>
              <a:gd name="connsiteX2590" fmla="*/ 2127020 w 4545947"/>
              <a:gd name="connsiteY2590" fmla="*/ 920573 h 4525940"/>
              <a:gd name="connsiteX2591" fmla="*/ 2126714 w 4545947"/>
              <a:gd name="connsiteY2591" fmla="*/ 885583 h 4525940"/>
              <a:gd name="connsiteX2592" fmla="*/ 2111163 w 4545947"/>
              <a:gd name="connsiteY2592" fmla="*/ 875329 h 4525940"/>
              <a:gd name="connsiteX2593" fmla="*/ 2098244 w 4545947"/>
              <a:gd name="connsiteY2593" fmla="*/ 863602 h 4525940"/>
              <a:gd name="connsiteX2594" fmla="*/ 2098315 w 4545947"/>
              <a:gd name="connsiteY2594" fmla="*/ 822388 h 4525940"/>
              <a:gd name="connsiteX2595" fmla="*/ 2093942 w 4545947"/>
              <a:gd name="connsiteY2595" fmla="*/ 803395 h 4525940"/>
              <a:gd name="connsiteX2596" fmla="*/ 2098662 w 4545947"/>
              <a:gd name="connsiteY2596" fmla="*/ 784403 h 4525940"/>
              <a:gd name="connsiteX2597" fmla="*/ 2100683 w 4545947"/>
              <a:gd name="connsiteY2597" fmla="*/ 766608 h 4525940"/>
              <a:gd name="connsiteX2598" fmla="*/ 2107989 w 4545947"/>
              <a:gd name="connsiteY2598" fmla="*/ 741548 h 4525940"/>
              <a:gd name="connsiteX2599" fmla="*/ 2128925 w 4545947"/>
              <a:gd name="connsiteY2599" fmla="*/ 732437 h 4525940"/>
              <a:gd name="connsiteX2600" fmla="*/ 2141241 w 4545947"/>
              <a:gd name="connsiteY2600" fmla="*/ 713181 h 4525940"/>
              <a:gd name="connsiteX2601" fmla="*/ 2153554 w 4545947"/>
              <a:gd name="connsiteY2601" fmla="*/ 695771 h 4525940"/>
              <a:gd name="connsiteX2602" fmla="*/ 2172084 w 4545947"/>
              <a:gd name="connsiteY2602" fmla="*/ 689882 h 4525940"/>
              <a:gd name="connsiteX2603" fmla="*/ 2185988 w 4545947"/>
              <a:gd name="connsiteY2603" fmla="*/ 689631 h 4525940"/>
              <a:gd name="connsiteX2604" fmla="*/ 2183565 w 4545947"/>
              <a:gd name="connsiteY2604" fmla="*/ 704816 h 4525940"/>
              <a:gd name="connsiteX2605" fmla="*/ 2181442 w 4545947"/>
              <a:gd name="connsiteY2605" fmla="*/ 714562 h 4525940"/>
              <a:gd name="connsiteX2606" fmla="*/ 2193271 w 4545947"/>
              <a:gd name="connsiteY2606" fmla="*/ 702641 h 4525940"/>
              <a:gd name="connsiteX2607" fmla="*/ 2179214 w 4545947"/>
              <a:gd name="connsiteY2607" fmla="*/ 675840 h 4525940"/>
              <a:gd name="connsiteX2608" fmla="*/ 2166151 w 4545947"/>
              <a:gd name="connsiteY2608" fmla="*/ 659332 h 4525940"/>
              <a:gd name="connsiteX2609" fmla="*/ 2158499 w 4545947"/>
              <a:gd name="connsiteY2609" fmla="*/ 645124 h 4525940"/>
              <a:gd name="connsiteX2610" fmla="*/ 2155163 w 4545947"/>
              <a:gd name="connsiteY2610" fmla="*/ 635628 h 4525940"/>
              <a:gd name="connsiteX2611" fmla="*/ 2184048 w 4545947"/>
              <a:gd name="connsiteY2611" fmla="*/ 643278 h 4525940"/>
              <a:gd name="connsiteX2612" fmla="*/ 2202425 w 4545947"/>
              <a:gd name="connsiteY2612" fmla="*/ 653711 h 4525940"/>
              <a:gd name="connsiteX2613" fmla="*/ 2203453 w 4545947"/>
              <a:gd name="connsiteY2613" fmla="*/ 607453 h 4525940"/>
              <a:gd name="connsiteX2614" fmla="*/ 2200610 w 4545947"/>
              <a:gd name="connsiteY2614" fmla="*/ 581815 h 4525940"/>
              <a:gd name="connsiteX2615" fmla="*/ 2209356 w 4545947"/>
              <a:gd name="connsiteY2615" fmla="*/ 571802 h 4525940"/>
              <a:gd name="connsiteX2616" fmla="*/ 2207638 w 4545947"/>
              <a:gd name="connsiteY2616" fmla="*/ 537499 h 4525940"/>
              <a:gd name="connsiteX2617" fmla="*/ 2211777 w 4545947"/>
              <a:gd name="connsiteY2617" fmla="*/ 512421 h 4525940"/>
              <a:gd name="connsiteX2618" fmla="*/ 2218439 w 4545947"/>
              <a:gd name="connsiteY2618" fmla="*/ 499207 h 4525940"/>
              <a:gd name="connsiteX2619" fmla="*/ 2245369 w 4545947"/>
              <a:gd name="connsiteY2619" fmla="*/ 471396 h 4525940"/>
              <a:gd name="connsiteX2620" fmla="*/ 2261834 w 4545947"/>
              <a:gd name="connsiteY2620" fmla="*/ 483257 h 4525940"/>
              <a:gd name="connsiteX2621" fmla="*/ 2292979 w 4545947"/>
              <a:gd name="connsiteY2621" fmla="*/ 497282 h 4525940"/>
              <a:gd name="connsiteX2622" fmla="*/ 2323798 w 4545947"/>
              <a:gd name="connsiteY2622" fmla="*/ 505194 h 4525940"/>
              <a:gd name="connsiteX2623" fmla="*/ 2333912 w 4545947"/>
              <a:gd name="connsiteY2623" fmla="*/ 537499 h 4525940"/>
              <a:gd name="connsiteX2624" fmla="*/ 2350016 w 4545947"/>
              <a:gd name="connsiteY2624" fmla="*/ 528204 h 4525940"/>
              <a:gd name="connsiteX2625" fmla="*/ 2368343 w 4545947"/>
              <a:gd name="connsiteY2625" fmla="*/ 518708 h 4525940"/>
              <a:gd name="connsiteX2626" fmla="*/ 2378182 w 4545947"/>
              <a:gd name="connsiteY2626" fmla="*/ 512176 h 4525940"/>
              <a:gd name="connsiteX2627" fmla="*/ 2384742 w 4545947"/>
              <a:gd name="connsiteY2627" fmla="*/ 505845 h 4525940"/>
              <a:gd name="connsiteX2628" fmla="*/ 2391301 w 4545947"/>
              <a:gd name="connsiteY2628" fmla="*/ 499514 h 4525940"/>
              <a:gd name="connsiteX2629" fmla="*/ 2397860 w 4545947"/>
              <a:gd name="connsiteY2629" fmla="*/ 493183 h 4525940"/>
              <a:gd name="connsiteX2630" fmla="*/ 2404419 w 4545947"/>
              <a:gd name="connsiteY2630" fmla="*/ 505472 h 4525940"/>
              <a:gd name="connsiteX2631" fmla="*/ 2421950 w 4545947"/>
              <a:gd name="connsiteY2631" fmla="*/ 521654 h 4525940"/>
              <a:gd name="connsiteX2632" fmla="*/ 2430657 w 4545947"/>
              <a:gd name="connsiteY2632" fmla="*/ 502253 h 4525940"/>
              <a:gd name="connsiteX2633" fmla="*/ 2444767 w 4545947"/>
              <a:gd name="connsiteY2633" fmla="*/ 494323 h 4525940"/>
              <a:gd name="connsiteX2634" fmla="*/ 2464298 w 4545947"/>
              <a:gd name="connsiteY2634" fmla="*/ 482248 h 4525940"/>
              <a:gd name="connsiteX2635" fmla="*/ 2475130 w 4545947"/>
              <a:gd name="connsiteY2635" fmla="*/ 455927 h 4525940"/>
              <a:gd name="connsiteX2636" fmla="*/ 2476573 w 4545947"/>
              <a:gd name="connsiteY2636" fmla="*/ 413172 h 4525940"/>
              <a:gd name="connsiteX2637" fmla="*/ 2470013 w 4545947"/>
              <a:gd name="connsiteY2637" fmla="*/ 387848 h 4525940"/>
              <a:gd name="connsiteX2638" fmla="*/ 2463454 w 4545947"/>
              <a:gd name="connsiteY2638" fmla="*/ 362525 h 4525940"/>
              <a:gd name="connsiteX2639" fmla="*/ 2456929 w 4545947"/>
              <a:gd name="connsiteY2639" fmla="*/ 342148 h 4525940"/>
              <a:gd name="connsiteX2640" fmla="*/ 2492750 w 4545947"/>
              <a:gd name="connsiteY2640" fmla="*/ 309588 h 4525940"/>
              <a:gd name="connsiteX2641" fmla="*/ 2504997 w 4545947"/>
              <a:gd name="connsiteY2641" fmla="*/ 303258 h 4525940"/>
              <a:gd name="connsiteX2642" fmla="*/ 2521291 w 4545947"/>
              <a:gd name="connsiteY2642" fmla="*/ 309165 h 4525940"/>
              <a:gd name="connsiteX2643" fmla="*/ 2519063 w 4545947"/>
              <a:gd name="connsiteY2643" fmla="*/ 323689 h 4525940"/>
              <a:gd name="connsiteX2644" fmla="*/ 2534825 w 4545947"/>
              <a:gd name="connsiteY2644" fmla="*/ 326930 h 4525940"/>
              <a:gd name="connsiteX2645" fmla="*/ 2562584 w 4545947"/>
              <a:gd name="connsiteY2645" fmla="*/ 309240 h 4525940"/>
              <a:gd name="connsiteX2646" fmla="*/ 2596446 w 4545947"/>
              <a:gd name="connsiteY2646" fmla="*/ 301675 h 4525940"/>
              <a:gd name="connsiteX2647" fmla="*/ 2609919 w 4545947"/>
              <a:gd name="connsiteY2647" fmla="*/ 326625 h 4525940"/>
              <a:gd name="connsiteX2648" fmla="*/ 2629424 w 4545947"/>
              <a:gd name="connsiteY2648" fmla="*/ 343915 h 4525940"/>
              <a:gd name="connsiteX2649" fmla="*/ 2640558 w 4545947"/>
              <a:gd name="connsiteY2649" fmla="*/ 312290 h 4525940"/>
              <a:gd name="connsiteX2650" fmla="*/ 2649304 w 4545947"/>
              <a:gd name="connsiteY2650" fmla="*/ 277934 h 4525940"/>
              <a:gd name="connsiteX2651" fmla="*/ 2658050 w 4545947"/>
              <a:gd name="connsiteY2651" fmla="*/ 254876 h 4525940"/>
              <a:gd name="connsiteX2652" fmla="*/ 2665163 w 4545947"/>
              <a:gd name="connsiteY2652" fmla="*/ 242546 h 4525940"/>
              <a:gd name="connsiteX2653" fmla="*/ 2678281 w 4545947"/>
              <a:gd name="connsiteY2653" fmla="*/ 239283 h 4525940"/>
              <a:gd name="connsiteX2654" fmla="*/ 2679914 w 4545947"/>
              <a:gd name="connsiteY2654" fmla="*/ 201964 h 4525940"/>
              <a:gd name="connsiteX2655" fmla="*/ 2682494 w 4545947"/>
              <a:gd name="connsiteY2655" fmla="*/ 169679 h 4525940"/>
              <a:gd name="connsiteX2656" fmla="*/ 2670873 w 4545947"/>
              <a:gd name="connsiteY2656" fmla="*/ 132325 h 4525940"/>
              <a:gd name="connsiteX2657" fmla="*/ 2671168 w 4545947"/>
              <a:gd name="connsiteY2657" fmla="*/ 107001 h 4525940"/>
              <a:gd name="connsiteX2658" fmla="*/ 2684287 w 4545947"/>
              <a:gd name="connsiteY2658" fmla="*/ 87927 h 4525940"/>
              <a:gd name="connsiteX2659" fmla="*/ 2695219 w 4545947"/>
              <a:gd name="connsiteY2659" fmla="*/ 72747 h 4525940"/>
              <a:gd name="connsiteX2660" fmla="*/ 2706152 w 4545947"/>
              <a:gd name="connsiteY2660" fmla="*/ 63442 h 4525940"/>
              <a:gd name="connsiteX2661" fmla="*/ 2732792 w 4545947"/>
              <a:gd name="connsiteY2661" fmla="*/ 72882 h 4525940"/>
              <a:gd name="connsiteX2662" fmla="*/ 2747762 w 4545947"/>
              <a:gd name="connsiteY2662" fmla="*/ 81678 h 4525940"/>
              <a:gd name="connsiteX2663" fmla="*/ 2760208 w 4545947"/>
              <a:gd name="connsiteY2663" fmla="*/ 91174 h 4525940"/>
              <a:gd name="connsiteX2664" fmla="*/ 2773795 w 4545947"/>
              <a:gd name="connsiteY2664" fmla="*/ 100670 h 4525940"/>
              <a:gd name="connsiteX2665" fmla="*/ 2784864 w 4545947"/>
              <a:gd name="connsiteY2665" fmla="*/ 113531 h 4525940"/>
              <a:gd name="connsiteX2666" fmla="*/ 2806176 w 4545947"/>
              <a:gd name="connsiteY2666" fmla="*/ 127943 h 4525940"/>
              <a:gd name="connsiteX2667" fmla="*/ 2811807 w 4545947"/>
              <a:gd name="connsiteY2667" fmla="*/ 98446 h 4525940"/>
              <a:gd name="connsiteX2668" fmla="*/ 2815434 w 4545947"/>
              <a:gd name="connsiteY2668" fmla="*/ 75347 h 4525940"/>
              <a:gd name="connsiteX2669" fmla="*/ 2817964 w 4545947"/>
              <a:gd name="connsiteY2669" fmla="*/ 64068 h 4525940"/>
              <a:gd name="connsiteX2670" fmla="*/ 2827881 w 4545947"/>
              <a:gd name="connsiteY2670" fmla="*/ 46020 h 4525940"/>
              <a:gd name="connsiteX2671" fmla="*/ 2867950 w 4545947"/>
              <a:gd name="connsiteY2671" fmla="*/ 53908 h 4525940"/>
              <a:gd name="connsiteX2672" fmla="*/ 2872323 w 4545947"/>
              <a:gd name="connsiteY2672" fmla="*/ 62685 h 4525940"/>
              <a:gd name="connsiteX2673" fmla="*/ 2876696 w 4545947"/>
              <a:gd name="connsiteY2673" fmla="*/ 71983 h 4525940"/>
              <a:gd name="connsiteX2674" fmla="*/ 2883143 w 4545947"/>
              <a:gd name="connsiteY2674" fmla="*/ 77698 h 4525940"/>
              <a:gd name="connsiteX2675" fmla="*/ 2915810 w 4545947"/>
              <a:gd name="connsiteY2675" fmla="*/ 113898 h 4525940"/>
              <a:gd name="connsiteX2676" fmla="*/ 2904913 w 4545947"/>
              <a:gd name="connsiteY2676" fmla="*/ 131308 h 4525940"/>
              <a:gd name="connsiteX2677" fmla="*/ 2889815 w 4545947"/>
              <a:gd name="connsiteY2677" fmla="*/ 130128 h 4525940"/>
              <a:gd name="connsiteX2678" fmla="*/ 2868756 w 4545947"/>
              <a:gd name="connsiteY2678" fmla="*/ 96783 h 4525940"/>
              <a:gd name="connsiteX2679" fmla="*/ 2861989 w 4545947"/>
              <a:gd name="connsiteY2679" fmla="*/ 125162 h 4525940"/>
              <a:gd name="connsiteX2680" fmla="*/ 2852669 w 4545947"/>
              <a:gd name="connsiteY2680" fmla="*/ 153593 h 4525940"/>
              <a:gd name="connsiteX2681" fmla="*/ 2864473 w 4545947"/>
              <a:gd name="connsiteY2681" fmla="*/ 230956 h 4525940"/>
              <a:gd name="connsiteX2682" fmla="*/ 2877958 w 4545947"/>
              <a:gd name="connsiteY2682" fmla="*/ 271677 h 4525940"/>
              <a:gd name="connsiteX2683" fmla="*/ 2896480 w 4545947"/>
              <a:gd name="connsiteY2683" fmla="*/ 310278 h 4525940"/>
              <a:gd name="connsiteX2684" fmla="*/ 2930626 w 4545947"/>
              <a:gd name="connsiteY2684" fmla="*/ 305922 h 4525940"/>
              <a:gd name="connsiteX2685" fmla="*/ 2918213 w 4545947"/>
              <a:gd name="connsiteY2685" fmla="*/ 271603 h 4525940"/>
              <a:gd name="connsiteX2686" fmla="*/ 2905690 w 4545947"/>
              <a:gd name="connsiteY2686" fmla="*/ 257359 h 4525940"/>
              <a:gd name="connsiteX2687" fmla="*/ 2913711 w 4545947"/>
              <a:gd name="connsiteY2687" fmla="*/ 233618 h 4525940"/>
              <a:gd name="connsiteX2688" fmla="*/ 2930337 w 4545947"/>
              <a:gd name="connsiteY2688" fmla="*/ 190885 h 4525940"/>
              <a:gd name="connsiteX2689" fmla="*/ 2934767 w 4545947"/>
              <a:gd name="connsiteY2689" fmla="*/ 170310 h 4525940"/>
              <a:gd name="connsiteX2690" fmla="*/ 2941378 w 4545947"/>
              <a:gd name="connsiteY2690" fmla="*/ 194420 h 4525940"/>
              <a:gd name="connsiteX2691" fmla="*/ 2952827 w 4545947"/>
              <a:gd name="connsiteY2691" fmla="*/ 205440 h 4525940"/>
              <a:gd name="connsiteX2692" fmla="*/ 2977447 w 4545947"/>
              <a:gd name="connsiteY2692" fmla="*/ 198569 h 4525940"/>
              <a:gd name="connsiteX2693" fmla="*/ 2967852 w 4545947"/>
              <a:gd name="connsiteY2693" fmla="*/ 132854 h 4525940"/>
              <a:gd name="connsiteX2694" fmla="*/ 2962222 w 4545947"/>
              <a:gd name="connsiteY2694" fmla="*/ 88008 h 4525940"/>
              <a:gd name="connsiteX2695" fmla="*/ 2985873 w 4545947"/>
              <a:gd name="connsiteY2695" fmla="*/ 51606 h 4525940"/>
              <a:gd name="connsiteX2696" fmla="*/ 3000606 w 4545947"/>
              <a:gd name="connsiteY2696" fmla="*/ 43693 h 4525940"/>
              <a:gd name="connsiteX2697" fmla="*/ 3031196 w 4545947"/>
              <a:gd name="connsiteY2697" fmla="*/ 69498 h 4525940"/>
              <a:gd name="connsiteX2698" fmla="*/ 3053778 w 4545947"/>
              <a:gd name="connsiteY2698" fmla="*/ 85778 h 4525940"/>
              <a:gd name="connsiteX2699" fmla="*/ 3055111 w 4545947"/>
              <a:gd name="connsiteY2699" fmla="*/ 51289 h 4525940"/>
              <a:gd name="connsiteX2700" fmla="*/ 3055383 w 4545947"/>
              <a:gd name="connsiteY2700" fmla="*/ 35779 h 4525940"/>
              <a:gd name="connsiteX2701" fmla="*/ 3064829 w 4545947"/>
              <a:gd name="connsiteY2701" fmla="*/ 37931 h 4525940"/>
              <a:gd name="connsiteX2702" fmla="*/ 3095119 w 4545947"/>
              <a:gd name="connsiteY2702" fmla="*/ 77459 h 4525940"/>
              <a:gd name="connsiteX2703" fmla="*/ 3107184 w 4545947"/>
              <a:gd name="connsiteY2703" fmla="*/ 111877 h 4525940"/>
              <a:gd name="connsiteX2704" fmla="*/ 3104088 w 4545947"/>
              <a:gd name="connsiteY2704" fmla="*/ 144986 h 4525940"/>
              <a:gd name="connsiteX2705" fmla="*/ 3108461 w 4545947"/>
              <a:gd name="connsiteY2705" fmla="*/ 160439 h 4525940"/>
              <a:gd name="connsiteX2706" fmla="*/ 3112834 w 4545947"/>
              <a:gd name="connsiteY2706" fmla="*/ 179806 h 4525940"/>
              <a:gd name="connsiteX2707" fmla="*/ 3117207 w 4545947"/>
              <a:gd name="connsiteY2707" fmla="*/ 205817 h 4525940"/>
              <a:gd name="connsiteX2708" fmla="*/ 3131860 w 4545947"/>
              <a:gd name="connsiteY2708" fmla="*/ 249759 h 4525940"/>
              <a:gd name="connsiteX2709" fmla="*/ 3152055 w 4545947"/>
              <a:gd name="connsiteY2709" fmla="*/ 271603 h 4525940"/>
              <a:gd name="connsiteX2710" fmla="*/ 3172536 w 4545947"/>
              <a:gd name="connsiteY2710" fmla="*/ 290596 h 4525940"/>
              <a:gd name="connsiteX2711" fmla="*/ 3211850 w 4545947"/>
              <a:gd name="connsiteY2711" fmla="*/ 300011 h 4525940"/>
              <a:gd name="connsiteX2712" fmla="*/ 3208838 w 4545947"/>
              <a:gd name="connsiteY2712" fmla="*/ 280750 h 4525940"/>
              <a:gd name="connsiteX2713" fmla="*/ 3218659 w 4545947"/>
              <a:gd name="connsiteY2713" fmla="*/ 264006 h 4525940"/>
              <a:gd name="connsiteX2714" fmla="*/ 3255173 w 4545947"/>
              <a:gd name="connsiteY2714" fmla="*/ 265724 h 4525940"/>
              <a:gd name="connsiteX2715" fmla="*/ 3274632 w 4545947"/>
              <a:gd name="connsiteY2715" fmla="*/ 257810 h 4525940"/>
              <a:gd name="connsiteX2716" fmla="*/ 3291320 w 4545947"/>
              <a:gd name="connsiteY2716" fmla="*/ 238366 h 4525940"/>
              <a:gd name="connsiteX2717" fmla="*/ 3301297 w 4545947"/>
              <a:gd name="connsiteY2717" fmla="*/ 220957 h 4525940"/>
              <a:gd name="connsiteX2718" fmla="*/ 3310575 w 4545947"/>
              <a:gd name="connsiteY2718" fmla="*/ 189177 h 4525940"/>
              <a:gd name="connsiteX2719" fmla="*/ 3319179 w 4545947"/>
              <a:gd name="connsiteY2719" fmla="*/ 174188 h 4525940"/>
              <a:gd name="connsiteX2720" fmla="*/ 3375209 w 4545947"/>
              <a:gd name="connsiteY2720" fmla="*/ 204754 h 4525940"/>
              <a:gd name="connsiteX2721" fmla="*/ 3386141 w 4545947"/>
              <a:gd name="connsiteY2721" fmla="*/ 233618 h 4525940"/>
              <a:gd name="connsiteX2722" fmla="*/ 3397074 w 4545947"/>
              <a:gd name="connsiteY2722" fmla="*/ 258990 h 4525940"/>
              <a:gd name="connsiteX2723" fmla="*/ 3408988 w 4545947"/>
              <a:gd name="connsiteY2723" fmla="*/ 267922 h 4525940"/>
              <a:gd name="connsiteX2724" fmla="*/ 3435701 w 4545947"/>
              <a:gd name="connsiteY2724" fmla="*/ 272440 h 4525940"/>
              <a:gd name="connsiteX2725" fmla="*/ 3447468 w 4545947"/>
              <a:gd name="connsiteY2725" fmla="*/ 277934 h 4525940"/>
              <a:gd name="connsiteX2726" fmla="*/ 3460481 w 4545947"/>
              <a:gd name="connsiteY2726" fmla="*/ 284265 h 4525940"/>
              <a:gd name="connsiteX2727" fmla="*/ 3473871 w 4545947"/>
              <a:gd name="connsiteY2727" fmla="*/ 290596 h 4525940"/>
              <a:gd name="connsiteX2728" fmla="*/ 3492137 w 4545947"/>
              <a:gd name="connsiteY2728" fmla="*/ 265273 h 4525940"/>
              <a:gd name="connsiteX2729" fmla="*/ 3502962 w 4545947"/>
              <a:gd name="connsiteY2729" fmla="*/ 239949 h 4525940"/>
              <a:gd name="connsiteX2730" fmla="*/ 3501086 w 4545947"/>
              <a:gd name="connsiteY2730" fmla="*/ 223668 h 4525940"/>
              <a:gd name="connsiteX2731" fmla="*/ 3500590 w 4545947"/>
              <a:gd name="connsiteY2731" fmla="*/ 203093 h 4525940"/>
              <a:gd name="connsiteX2732" fmla="*/ 3504512 w 4545947"/>
              <a:gd name="connsiteY2732" fmla="*/ 166435 h 4525940"/>
              <a:gd name="connsiteX2733" fmla="*/ 3497651 w 4545947"/>
              <a:gd name="connsiteY2733" fmla="*/ 148250 h 4525940"/>
              <a:gd name="connsiteX2734" fmla="*/ 3491091 w 4545947"/>
              <a:gd name="connsiteY2734" fmla="*/ 125994 h 4525940"/>
              <a:gd name="connsiteX2735" fmla="*/ 3484532 w 4545947"/>
              <a:gd name="connsiteY2735" fmla="*/ 103434 h 4525940"/>
              <a:gd name="connsiteX2736" fmla="*/ 3480160 w 4545947"/>
              <a:gd name="connsiteY2736" fmla="*/ 84843 h 4525940"/>
              <a:gd name="connsiteX2737" fmla="*/ 3475787 w 4545947"/>
              <a:gd name="connsiteY2737" fmla="*/ 47161 h 4525940"/>
              <a:gd name="connsiteX2738" fmla="*/ 3482704 w 4545947"/>
              <a:gd name="connsiteY2738" fmla="*/ 9550 h 4525940"/>
              <a:gd name="connsiteX2739" fmla="*/ 3491456 w 4545947"/>
              <a:gd name="connsiteY2739" fmla="*/ 6650 h 4525940"/>
              <a:gd name="connsiteX2740" fmla="*/ 3226906 w 4545947"/>
              <a:gd name="connsiteY2740" fmla="*/ 1812 h 4525940"/>
              <a:gd name="connsiteX2741" fmla="*/ 3254236 w 4545947"/>
              <a:gd name="connsiteY2741" fmla="*/ 13687 h 4525940"/>
              <a:gd name="connsiteX2742" fmla="*/ 3265886 w 4545947"/>
              <a:gd name="connsiteY2742" fmla="*/ 33553 h 4525940"/>
              <a:gd name="connsiteX2743" fmla="*/ 3253280 w 4545947"/>
              <a:gd name="connsiteY2743" fmla="*/ 55628 h 4525940"/>
              <a:gd name="connsiteX2744" fmla="*/ 3207342 w 4545947"/>
              <a:gd name="connsiteY2744" fmla="*/ 72250 h 4525940"/>
              <a:gd name="connsiteX2745" fmla="*/ 3158240 w 4545947"/>
              <a:gd name="connsiteY2745" fmla="*/ 64477 h 4525940"/>
              <a:gd name="connsiteX2746" fmla="*/ 3154454 w 4545947"/>
              <a:gd name="connsiteY2746" fmla="*/ 89245 h 4525940"/>
              <a:gd name="connsiteX2747" fmla="*/ 3137765 w 4545947"/>
              <a:gd name="connsiteY2747" fmla="*/ 109330 h 4525940"/>
              <a:gd name="connsiteX2748" fmla="*/ 3139154 w 4545947"/>
              <a:gd name="connsiteY2748" fmla="*/ 81678 h 4525940"/>
              <a:gd name="connsiteX2749" fmla="*/ 3140877 w 4545947"/>
              <a:gd name="connsiteY2749" fmla="*/ 65909 h 4525940"/>
              <a:gd name="connsiteX2750" fmla="*/ 3146260 w 4545947"/>
              <a:gd name="connsiteY2750" fmla="*/ 46455 h 4525940"/>
              <a:gd name="connsiteX2751" fmla="*/ 3161969 w 4545947"/>
              <a:gd name="connsiteY2751" fmla="*/ 36900 h 4525940"/>
              <a:gd name="connsiteX2752" fmla="*/ 3176182 w 4545947"/>
              <a:gd name="connsiteY2752" fmla="*/ 31031 h 4525940"/>
              <a:gd name="connsiteX2753" fmla="*/ 3182801 w 4545947"/>
              <a:gd name="connsiteY2753" fmla="*/ 18369 h 4525940"/>
              <a:gd name="connsiteX2754" fmla="*/ 3197012 w 4545947"/>
              <a:gd name="connsiteY2754" fmla="*/ 5637 h 4525940"/>
              <a:gd name="connsiteX2755" fmla="*/ 3226906 w 4545947"/>
              <a:gd name="connsiteY2755" fmla="*/ 1812 h 4525940"/>
              <a:gd name="connsiteX2756" fmla="*/ 3353505 w 4545947"/>
              <a:gd name="connsiteY2756" fmla="*/ 1044 h 4525940"/>
              <a:gd name="connsiteX2757" fmla="*/ 3364731 w 4545947"/>
              <a:gd name="connsiteY2757" fmla="*/ 45612 h 4525940"/>
              <a:gd name="connsiteX2758" fmla="*/ 3360436 w 4545947"/>
              <a:gd name="connsiteY2758" fmla="*/ 99424 h 4525940"/>
              <a:gd name="connsiteX2759" fmla="*/ 3342412 w 4545947"/>
              <a:gd name="connsiteY2759" fmla="*/ 100670 h 4525940"/>
              <a:gd name="connsiteX2760" fmla="*/ 3329571 w 4545947"/>
              <a:gd name="connsiteY2760" fmla="*/ 94339 h 4525940"/>
              <a:gd name="connsiteX2761" fmla="*/ 3313988 w 4545947"/>
              <a:gd name="connsiteY2761" fmla="*/ 84843 h 4525940"/>
              <a:gd name="connsiteX2762" fmla="*/ 3300334 w 4545947"/>
              <a:gd name="connsiteY2762" fmla="*/ 75347 h 4525940"/>
              <a:gd name="connsiteX2763" fmla="*/ 3292124 w 4545947"/>
              <a:gd name="connsiteY2763" fmla="*/ 70517 h 4525940"/>
              <a:gd name="connsiteX2764" fmla="*/ 3282285 w 4545947"/>
              <a:gd name="connsiteY2764" fmla="*/ 59438 h 4525940"/>
              <a:gd name="connsiteX2765" fmla="*/ 3296497 w 4545947"/>
              <a:gd name="connsiteY2765" fmla="*/ 27663 h 4525940"/>
              <a:gd name="connsiteX2766" fmla="*/ 3337481 w 4545947"/>
              <a:gd name="connsiteY2766" fmla="*/ 10254 h 4525940"/>
              <a:gd name="connsiteX2767" fmla="*/ 3353505 w 4545947"/>
              <a:gd name="connsiteY2767" fmla="*/ 1044 h 45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Lst>
            <a:rect l="l" t="t" r="r" b="b"/>
            <a:pathLst>
              <a:path w="4545947" h="4525940">
                <a:moveTo>
                  <a:pt x="1260900" y="4513278"/>
                </a:moveTo>
                <a:cubicBezTo>
                  <a:pt x="1264507" y="4513278"/>
                  <a:pt x="1267459" y="4516127"/>
                  <a:pt x="1267459" y="4519609"/>
                </a:cubicBezTo>
                <a:cubicBezTo>
                  <a:pt x="1267459" y="4523091"/>
                  <a:pt x="1264507" y="4525940"/>
                  <a:pt x="1260900" y="4525940"/>
                </a:cubicBezTo>
                <a:cubicBezTo>
                  <a:pt x="1257292" y="4525940"/>
                  <a:pt x="1254340" y="4523091"/>
                  <a:pt x="1254340" y="4519609"/>
                </a:cubicBezTo>
                <a:cubicBezTo>
                  <a:pt x="1254340" y="4516127"/>
                  <a:pt x="1257292" y="4513278"/>
                  <a:pt x="1260900" y="4513278"/>
                </a:cubicBezTo>
                <a:close/>
                <a:moveTo>
                  <a:pt x="1096915" y="4392992"/>
                </a:moveTo>
                <a:cubicBezTo>
                  <a:pt x="1099320" y="4392992"/>
                  <a:pt x="1101288" y="4397265"/>
                  <a:pt x="1101288" y="4402488"/>
                </a:cubicBezTo>
                <a:cubicBezTo>
                  <a:pt x="1101288" y="4407711"/>
                  <a:pt x="1099320" y="4411984"/>
                  <a:pt x="1096915" y="4411984"/>
                </a:cubicBezTo>
                <a:cubicBezTo>
                  <a:pt x="1094510" y="4411984"/>
                  <a:pt x="1092542" y="4407711"/>
                  <a:pt x="1092542" y="4402488"/>
                </a:cubicBezTo>
                <a:cubicBezTo>
                  <a:pt x="1092542" y="4397265"/>
                  <a:pt x="1094510" y="4392992"/>
                  <a:pt x="1096915" y="4392992"/>
                </a:cubicBezTo>
                <a:close/>
                <a:moveTo>
                  <a:pt x="3812502" y="4386661"/>
                </a:moveTo>
                <a:cubicBezTo>
                  <a:pt x="3814907" y="4386661"/>
                  <a:pt x="3816875" y="4389509"/>
                  <a:pt x="3816875" y="4392992"/>
                </a:cubicBezTo>
                <a:cubicBezTo>
                  <a:pt x="3816875" y="4396474"/>
                  <a:pt x="3814907" y="4399322"/>
                  <a:pt x="3812502" y="4399322"/>
                </a:cubicBezTo>
                <a:cubicBezTo>
                  <a:pt x="3810096" y="4399322"/>
                  <a:pt x="3808129" y="4396474"/>
                  <a:pt x="3808129" y="4392992"/>
                </a:cubicBezTo>
                <a:cubicBezTo>
                  <a:pt x="3808129" y="4389509"/>
                  <a:pt x="3810096" y="4386661"/>
                  <a:pt x="3812502" y="4386661"/>
                </a:cubicBezTo>
                <a:close/>
                <a:moveTo>
                  <a:pt x="972287" y="4355006"/>
                </a:moveTo>
                <a:cubicBezTo>
                  <a:pt x="975894" y="4355006"/>
                  <a:pt x="978846" y="4359280"/>
                  <a:pt x="978846" y="4364503"/>
                </a:cubicBezTo>
                <a:cubicBezTo>
                  <a:pt x="978846" y="4369726"/>
                  <a:pt x="975894" y="4373999"/>
                  <a:pt x="972287" y="4373999"/>
                </a:cubicBezTo>
                <a:cubicBezTo>
                  <a:pt x="968679" y="4373999"/>
                  <a:pt x="965727" y="4369726"/>
                  <a:pt x="965727" y="4364503"/>
                </a:cubicBezTo>
                <a:cubicBezTo>
                  <a:pt x="965727" y="4359280"/>
                  <a:pt x="968679" y="4355006"/>
                  <a:pt x="972287" y="4355006"/>
                </a:cubicBezTo>
                <a:close/>
                <a:moveTo>
                  <a:pt x="3695599" y="4285367"/>
                </a:moveTo>
                <a:cubicBezTo>
                  <a:pt x="3699206" y="4285367"/>
                  <a:pt x="3703345" y="4291777"/>
                  <a:pt x="3704795" y="4299611"/>
                </a:cubicBezTo>
                <a:cubicBezTo>
                  <a:pt x="3708732" y="4320877"/>
                  <a:pt x="3708088" y="4355006"/>
                  <a:pt x="3703751" y="4355006"/>
                </a:cubicBezTo>
                <a:cubicBezTo>
                  <a:pt x="3701660" y="4355006"/>
                  <a:pt x="3698785" y="4345748"/>
                  <a:pt x="3697362" y="4334431"/>
                </a:cubicBezTo>
                <a:cubicBezTo>
                  <a:pt x="3695938" y="4323115"/>
                  <a:pt x="3693483" y="4307446"/>
                  <a:pt x="3691906" y="4299611"/>
                </a:cubicBezTo>
                <a:cubicBezTo>
                  <a:pt x="3689836" y="4289326"/>
                  <a:pt x="3690862" y="4285367"/>
                  <a:pt x="3695599" y="4285367"/>
                </a:cubicBezTo>
                <a:close/>
                <a:moveTo>
                  <a:pt x="3791489" y="4247982"/>
                </a:moveTo>
                <a:cubicBezTo>
                  <a:pt x="3793001" y="4248850"/>
                  <a:pt x="3795075" y="4251094"/>
                  <a:pt x="3797678" y="4254863"/>
                </a:cubicBezTo>
                <a:cubicBezTo>
                  <a:pt x="3801435" y="4260303"/>
                  <a:pt x="3803830" y="4271529"/>
                  <a:pt x="3802997" y="4279809"/>
                </a:cubicBezTo>
                <a:cubicBezTo>
                  <a:pt x="3801571" y="4293997"/>
                  <a:pt x="3801045" y="4293619"/>
                  <a:pt x="3793855" y="4273261"/>
                </a:cubicBezTo>
                <a:cubicBezTo>
                  <a:pt x="3787459" y="4255151"/>
                  <a:pt x="3786951" y="4245377"/>
                  <a:pt x="3791489" y="4247982"/>
                </a:cubicBezTo>
                <a:close/>
                <a:moveTo>
                  <a:pt x="932930" y="4222058"/>
                </a:moveTo>
                <a:cubicBezTo>
                  <a:pt x="936574" y="4222058"/>
                  <a:pt x="939490" y="4227686"/>
                  <a:pt x="939490" y="4234720"/>
                </a:cubicBezTo>
                <a:cubicBezTo>
                  <a:pt x="939490" y="4241755"/>
                  <a:pt x="936574" y="4247382"/>
                  <a:pt x="932930" y="4247382"/>
                </a:cubicBezTo>
                <a:cubicBezTo>
                  <a:pt x="929286" y="4247382"/>
                  <a:pt x="926371" y="4241755"/>
                  <a:pt x="926371" y="4234720"/>
                </a:cubicBezTo>
                <a:cubicBezTo>
                  <a:pt x="926371" y="4227686"/>
                  <a:pt x="929286" y="4222058"/>
                  <a:pt x="932930" y="4222058"/>
                </a:cubicBezTo>
                <a:close/>
                <a:moveTo>
                  <a:pt x="1267119" y="4212536"/>
                </a:moveTo>
                <a:cubicBezTo>
                  <a:pt x="1269822" y="4214417"/>
                  <a:pt x="1271832" y="4218021"/>
                  <a:pt x="1271832" y="4222432"/>
                </a:cubicBezTo>
                <a:cubicBezTo>
                  <a:pt x="1271832" y="4229793"/>
                  <a:pt x="1267145" y="4229913"/>
                  <a:pt x="1259340" y="4222753"/>
                </a:cubicBezTo>
                <a:cubicBezTo>
                  <a:pt x="1255204" y="4218958"/>
                  <a:pt x="1254872" y="4215999"/>
                  <a:pt x="1258247" y="4212980"/>
                </a:cubicBezTo>
                <a:cubicBezTo>
                  <a:pt x="1261020" y="4210498"/>
                  <a:pt x="1264416" y="4210656"/>
                  <a:pt x="1267119" y="4212536"/>
                </a:cubicBezTo>
                <a:close/>
                <a:moveTo>
                  <a:pt x="3606974" y="4158750"/>
                </a:moveTo>
                <a:cubicBezTo>
                  <a:pt x="3609380" y="4158750"/>
                  <a:pt x="3611347" y="4161598"/>
                  <a:pt x="3611347" y="4165081"/>
                </a:cubicBezTo>
                <a:cubicBezTo>
                  <a:pt x="3611347" y="4168563"/>
                  <a:pt x="3609380" y="4171411"/>
                  <a:pt x="3606974" y="4171411"/>
                </a:cubicBezTo>
                <a:cubicBezTo>
                  <a:pt x="3604569" y="4171411"/>
                  <a:pt x="3602601" y="4168563"/>
                  <a:pt x="3602601" y="4165081"/>
                </a:cubicBezTo>
                <a:cubicBezTo>
                  <a:pt x="3602601" y="4161598"/>
                  <a:pt x="3604569" y="4158750"/>
                  <a:pt x="3606974" y="4158750"/>
                </a:cubicBezTo>
                <a:close/>
                <a:moveTo>
                  <a:pt x="1253971" y="4155079"/>
                </a:moveTo>
                <a:cubicBezTo>
                  <a:pt x="1259633" y="4152817"/>
                  <a:pt x="1263086" y="4162087"/>
                  <a:pt x="1263086" y="4181282"/>
                </a:cubicBezTo>
                <a:cubicBezTo>
                  <a:pt x="1263086" y="4198429"/>
                  <a:pt x="1261325" y="4203066"/>
                  <a:pt x="1254814" y="4203066"/>
                </a:cubicBezTo>
                <a:cubicBezTo>
                  <a:pt x="1249602" y="4203066"/>
                  <a:pt x="1245511" y="4197115"/>
                  <a:pt x="1243753" y="4186974"/>
                </a:cubicBezTo>
                <a:cubicBezTo>
                  <a:pt x="1241934" y="4176485"/>
                  <a:pt x="1243280" y="4167526"/>
                  <a:pt x="1247618" y="4161246"/>
                </a:cubicBezTo>
                <a:cubicBezTo>
                  <a:pt x="1249951" y="4157869"/>
                  <a:pt x="1252084" y="4155834"/>
                  <a:pt x="1253971" y="4155079"/>
                </a:cubicBezTo>
                <a:close/>
                <a:moveTo>
                  <a:pt x="2452780" y="4146088"/>
                </a:moveTo>
                <a:cubicBezTo>
                  <a:pt x="2455043" y="4146088"/>
                  <a:pt x="2456895" y="4150361"/>
                  <a:pt x="2456895" y="4155585"/>
                </a:cubicBezTo>
                <a:cubicBezTo>
                  <a:pt x="2456895" y="4165375"/>
                  <a:pt x="2451735" y="4168162"/>
                  <a:pt x="2446810" y="4161032"/>
                </a:cubicBezTo>
                <a:cubicBezTo>
                  <a:pt x="2443317" y="4155974"/>
                  <a:pt x="2447266" y="4146088"/>
                  <a:pt x="2452780" y="4146088"/>
                </a:cubicBezTo>
                <a:close/>
                <a:moveTo>
                  <a:pt x="3700993" y="4127095"/>
                </a:moveTo>
                <a:cubicBezTo>
                  <a:pt x="3704599" y="4127095"/>
                  <a:pt x="3707552" y="4131369"/>
                  <a:pt x="3707552" y="4136592"/>
                </a:cubicBezTo>
                <a:cubicBezTo>
                  <a:pt x="3707552" y="4146478"/>
                  <a:pt x="3702380" y="4149152"/>
                  <a:pt x="3697347" y="4141867"/>
                </a:cubicBezTo>
                <a:cubicBezTo>
                  <a:pt x="3692316" y="4134583"/>
                  <a:pt x="3694164" y="4127095"/>
                  <a:pt x="3700993" y="4127095"/>
                </a:cubicBezTo>
                <a:close/>
                <a:moveTo>
                  <a:pt x="879089" y="4115046"/>
                </a:moveTo>
                <a:cubicBezTo>
                  <a:pt x="881735" y="4116220"/>
                  <a:pt x="884499" y="4120291"/>
                  <a:pt x="887014" y="4127095"/>
                </a:cubicBezTo>
                <a:cubicBezTo>
                  <a:pt x="892157" y="4141008"/>
                  <a:pt x="888963" y="4142857"/>
                  <a:pt x="877084" y="4132845"/>
                </a:cubicBezTo>
                <a:cubicBezTo>
                  <a:pt x="872824" y="4129255"/>
                  <a:pt x="870480" y="4123644"/>
                  <a:pt x="871875" y="4120376"/>
                </a:cubicBezTo>
                <a:cubicBezTo>
                  <a:pt x="873917" y="4115594"/>
                  <a:pt x="876444" y="4113872"/>
                  <a:pt x="879089" y="4115046"/>
                </a:cubicBezTo>
                <a:close/>
                <a:moveTo>
                  <a:pt x="1862177" y="4108103"/>
                </a:moveTo>
                <a:cubicBezTo>
                  <a:pt x="1864582" y="4108103"/>
                  <a:pt x="1866550" y="4110952"/>
                  <a:pt x="1866550" y="4114434"/>
                </a:cubicBezTo>
                <a:cubicBezTo>
                  <a:pt x="1866550" y="4117916"/>
                  <a:pt x="1864582" y="4120765"/>
                  <a:pt x="1862177" y="4120765"/>
                </a:cubicBezTo>
                <a:cubicBezTo>
                  <a:pt x="1859772" y="4120765"/>
                  <a:pt x="1857804" y="4117916"/>
                  <a:pt x="1857804" y="4114434"/>
                </a:cubicBezTo>
                <a:cubicBezTo>
                  <a:pt x="1857804" y="4110952"/>
                  <a:pt x="1859772" y="4108103"/>
                  <a:pt x="1862177" y="4108103"/>
                </a:cubicBezTo>
                <a:close/>
                <a:moveTo>
                  <a:pt x="1183790" y="4089207"/>
                </a:moveTo>
                <a:cubicBezTo>
                  <a:pt x="1175343" y="4089092"/>
                  <a:pt x="1170409" y="4117009"/>
                  <a:pt x="1177152" y="4126770"/>
                </a:cubicBezTo>
                <a:cubicBezTo>
                  <a:pt x="1183404" y="4135821"/>
                  <a:pt x="1183458" y="4135681"/>
                  <a:pt x="1180982" y="4116926"/>
                </a:cubicBezTo>
                <a:cubicBezTo>
                  <a:pt x="1179645" y="4106797"/>
                  <a:pt x="1181145" y="4098278"/>
                  <a:pt x="1184868" y="4094865"/>
                </a:cubicBezTo>
                <a:cubicBezTo>
                  <a:pt x="1189788" y="4090354"/>
                  <a:pt x="1189585" y="4089286"/>
                  <a:pt x="1183790" y="4089207"/>
                </a:cubicBezTo>
                <a:close/>
                <a:moveTo>
                  <a:pt x="1852771" y="4080379"/>
                </a:moveTo>
                <a:cubicBezTo>
                  <a:pt x="1854627" y="4078346"/>
                  <a:pt x="1857361" y="4077918"/>
                  <a:pt x="1859380" y="4080841"/>
                </a:cubicBezTo>
                <a:cubicBezTo>
                  <a:pt x="1863538" y="4086860"/>
                  <a:pt x="1862763" y="4095441"/>
                  <a:pt x="1858062" y="4095441"/>
                </a:cubicBezTo>
                <a:cubicBezTo>
                  <a:pt x="1855799" y="4095441"/>
                  <a:pt x="1852815" y="4092789"/>
                  <a:pt x="1851431" y="4089548"/>
                </a:cubicBezTo>
                <a:cubicBezTo>
                  <a:pt x="1849938" y="4086050"/>
                  <a:pt x="1850915" y="4082412"/>
                  <a:pt x="1852771" y="4080379"/>
                </a:cubicBezTo>
                <a:close/>
                <a:moveTo>
                  <a:pt x="3747913" y="4076860"/>
                </a:moveTo>
                <a:cubicBezTo>
                  <a:pt x="3751091" y="4076093"/>
                  <a:pt x="3755245" y="4078390"/>
                  <a:pt x="3759152" y="4084046"/>
                </a:cubicBezTo>
                <a:cubicBezTo>
                  <a:pt x="3766966" y="4095357"/>
                  <a:pt x="3765498" y="4108103"/>
                  <a:pt x="3756383" y="4108103"/>
                </a:cubicBezTo>
                <a:cubicBezTo>
                  <a:pt x="3751974" y="4108103"/>
                  <a:pt x="3747053" y="4106204"/>
                  <a:pt x="3745450" y="4103882"/>
                </a:cubicBezTo>
                <a:cubicBezTo>
                  <a:pt x="3743846" y="4101561"/>
                  <a:pt x="3742535" y="4094439"/>
                  <a:pt x="3742535" y="4088055"/>
                </a:cubicBezTo>
                <a:cubicBezTo>
                  <a:pt x="3742535" y="4081457"/>
                  <a:pt x="3744736" y="4077627"/>
                  <a:pt x="3747913" y="4076860"/>
                </a:cubicBezTo>
                <a:close/>
                <a:moveTo>
                  <a:pt x="1114457" y="4072746"/>
                </a:moveTo>
                <a:cubicBezTo>
                  <a:pt x="1107329" y="4073494"/>
                  <a:pt x="1103523" y="4090906"/>
                  <a:pt x="1107340" y="4105307"/>
                </a:cubicBezTo>
                <a:cubicBezTo>
                  <a:pt x="1108671" y="4110327"/>
                  <a:pt x="1113265" y="4114103"/>
                  <a:pt x="1117549" y="4113700"/>
                </a:cubicBezTo>
                <a:cubicBezTo>
                  <a:pt x="1124850" y="4113011"/>
                  <a:pt x="1124858" y="4112783"/>
                  <a:pt x="1117687" y="4110070"/>
                </a:cubicBezTo>
                <a:cubicBezTo>
                  <a:pt x="1108839" y="4106722"/>
                  <a:pt x="1107112" y="4078797"/>
                  <a:pt x="1115500" y="4074720"/>
                </a:cubicBezTo>
                <a:cubicBezTo>
                  <a:pt x="1118694" y="4073168"/>
                  <a:pt x="1118261" y="4072348"/>
                  <a:pt x="1114457" y="4072746"/>
                </a:cubicBezTo>
                <a:close/>
                <a:moveTo>
                  <a:pt x="2356317" y="4044794"/>
                </a:moveTo>
                <a:cubicBezTo>
                  <a:pt x="2358723" y="4044794"/>
                  <a:pt x="2360690" y="4047476"/>
                  <a:pt x="2360690" y="4050752"/>
                </a:cubicBezTo>
                <a:cubicBezTo>
                  <a:pt x="2360690" y="4054028"/>
                  <a:pt x="2358723" y="4058470"/>
                  <a:pt x="2356317" y="4060622"/>
                </a:cubicBezTo>
                <a:cubicBezTo>
                  <a:pt x="2353912" y="4062773"/>
                  <a:pt x="2351944" y="4060093"/>
                  <a:pt x="2351944" y="4054664"/>
                </a:cubicBezTo>
                <a:cubicBezTo>
                  <a:pt x="2351944" y="4049236"/>
                  <a:pt x="2353912" y="4044794"/>
                  <a:pt x="2356317" y="4044794"/>
                </a:cubicBezTo>
                <a:close/>
                <a:moveTo>
                  <a:pt x="1890281" y="4038463"/>
                </a:moveTo>
                <a:cubicBezTo>
                  <a:pt x="1893712" y="4038463"/>
                  <a:pt x="1899465" y="4047010"/>
                  <a:pt x="1903064" y="4057456"/>
                </a:cubicBezTo>
                <a:cubicBezTo>
                  <a:pt x="1906663" y="4067902"/>
                  <a:pt x="1909267" y="4076188"/>
                  <a:pt x="1908851" y="4075870"/>
                </a:cubicBezTo>
                <a:cubicBezTo>
                  <a:pt x="1908434" y="4075551"/>
                  <a:pt x="1902684" y="4070566"/>
                  <a:pt x="1896075" y="4064790"/>
                </a:cubicBezTo>
                <a:cubicBezTo>
                  <a:pt x="1883267" y="4053600"/>
                  <a:pt x="1879935" y="4038463"/>
                  <a:pt x="1890281" y="4038463"/>
                </a:cubicBezTo>
                <a:close/>
                <a:moveTo>
                  <a:pt x="1534930" y="4031057"/>
                </a:moveTo>
                <a:cubicBezTo>
                  <a:pt x="1536432" y="4029521"/>
                  <a:pt x="1540659" y="4030428"/>
                  <a:pt x="1547326" y="4034071"/>
                </a:cubicBezTo>
                <a:cubicBezTo>
                  <a:pt x="1559255" y="4040589"/>
                  <a:pt x="1565914" y="4057456"/>
                  <a:pt x="1556559" y="4057456"/>
                </a:cubicBezTo>
                <a:cubicBezTo>
                  <a:pt x="1552555" y="4057456"/>
                  <a:pt x="1552177" y="4077140"/>
                  <a:pt x="1556072" y="4082779"/>
                </a:cubicBezTo>
                <a:cubicBezTo>
                  <a:pt x="1561052" y="4089989"/>
                  <a:pt x="1569191" y="4114864"/>
                  <a:pt x="1569191" y="4122875"/>
                </a:cubicBezTo>
                <a:cubicBezTo>
                  <a:pt x="1569191" y="4127613"/>
                  <a:pt x="1573127" y="4138058"/>
                  <a:pt x="1577937" y="4146088"/>
                </a:cubicBezTo>
                <a:cubicBezTo>
                  <a:pt x="1582747" y="4154118"/>
                  <a:pt x="1586682" y="4164220"/>
                  <a:pt x="1586682" y="4168537"/>
                </a:cubicBezTo>
                <a:cubicBezTo>
                  <a:pt x="1586682" y="4172854"/>
                  <a:pt x="1589634" y="4178027"/>
                  <a:pt x="1593242" y="4180031"/>
                </a:cubicBezTo>
                <a:cubicBezTo>
                  <a:pt x="1599854" y="4183704"/>
                  <a:pt x="1602616" y="4203087"/>
                  <a:pt x="1596521" y="4203041"/>
                </a:cubicBezTo>
                <a:cubicBezTo>
                  <a:pt x="1594718" y="4203028"/>
                  <a:pt x="1578872" y="4182372"/>
                  <a:pt x="1561308" y="4157141"/>
                </a:cubicBezTo>
                <a:cubicBezTo>
                  <a:pt x="1530023" y="4112198"/>
                  <a:pt x="1521290" y="4097058"/>
                  <a:pt x="1521156" y="4087528"/>
                </a:cubicBezTo>
                <a:cubicBezTo>
                  <a:pt x="1521043" y="4079517"/>
                  <a:pt x="1533360" y="4082270"/>
                  <a:pt x="1535320" y="4090693"/>
                </a:cubicBezTo>
                <a:cubicBezTo>
                  <a:pt x="1536333" y="4095046"/>
                  <a:pt x="1538601" y="4087552"/>
                  <a:pt x="1540362" y="4074041"/>
                </a:cubicBezTo>
                <a:cubicBezTo>
                  <a:pt x="1542343" y="4058838"/>
                  <a:pt x="1541780" y="4046895"/>
                  <a:pt x="1538885" y="4042703"/>
                </a:cubicBezTo>
                <a:cubicBezTo>
                  <a:pt x="1534651" y="4036573"/>
                  <a:pt x="1533428" y="4032593"/>
                  <a:pt x="1534930" y="4031057"/>
                </a:cubicBezTo>
                <a:close/>
                <a:moveTo>
                  <a:pt x="843613" y="4027015"/>
                </a:moveTo>
                <a:cubicBezTo>
                  <a:pt x="846199" y="4028263"/>
                  <a:pt x="848314" y="4031990"/>
                  <a:pt x="848314" y="4035298"/>
                </a:cubicBezTo>
                <a:cubicBezTo>
                  <a:pt x="848314" y="4038606"/>
                  <a:pt x="846199" y="4042333"/>
                  <a:pt x="843613" y="4043581"/>
                </a:cubicBezTo>
                <a:cubicBezTo>
                  <a:pt x="841028" y="4044829"/>
                  <a:pt x="838912" y="4041101"/>
                  <a:pt x="838912" y="4035298"/>
                </a:cubicBezTo>
                <a:cubicBezTo>
                  <a:pt x="838912" y="4029495"/>
                  <a:pt x="841028" y="4025767"/>
                  <a:pt x="843613" y="4027015"/>
                </a:cubicBezTo>
                <a:close/>
                <a:moveTo>
                  <a:pt x="2342527" y="4008437"/>
                </a:moveTo>
                <a:cubicBezTo>
                  <a:pt x="2345218" y="4007880"/>
                  <a:pt x="2347571" y="4010188"/>
                  <a:pt x="2347571" y="4015778"/>
                </a:cubicBezTo>
                <a:cubicBezTo>
                  <a:pt x="2347571" y="4021291"/>
                  <a:pt x="2344456" y="4025802"/>
                  <a:pt x="2340648" y="4025802"/>
                </a:cubicBezTo>
                <a:cubicBezTo>
                  <a:pt x="2336840" y="4025802"/>
                  <a:pt x="2334503" y="4022419"/>
                  <a:pt x="2335455" y="4018284"/>
                </a:cubicBezTo>
                <a:cubicBezTo>
                  <a:pt x="2336806" y="4012415"/>
                  <a:pt x="2339835" y="4008993"/>
                  <a:pt x="2342527" y="4008437"/>
                </a:cubicBezTo>
                <a:close/>
                <a:moveTo>
                  <a:pt x="3724941" y="4000570"/>
                </a:moveTo>
                <a:cubicBezTo>
                  <a:pt x="3731163" y="3995002"/>
                  <a:pt x="3742535" y="4006925"/>
                  <a:pt x="3742535" y="4019019"/>
                </a:cubicBezTo>
                <a:cubicBezTo>
                  <a:pt x="3742535" y="4029203"/>
                  <a:pt x="3731275" y="4027178"/>
                  <a:pt x="3724767" y="4015823"/>
                </a:cubicBezTo>
                <a:cubicBezTo>
                  <a:pt x="3720044" y="4007587"/>
                  <a:pt x="3720075" y="4004924"/>
                  <a:pt x="3724941" y="4000570"/>
                </a:cubicBezTo>
                <a:close/>
                <a:moveTo>
                  <a:pt x="1367217" y="3939176"/>
                </a:moveTo>
                <a:lnTo>
                  <a:pt x="1375598" y="3939675"/>
                </a:lnTo>
                <a:cubicBezTo>
                  <a:pt x="1377051" y="3941779"/>
                  <a:pt x="1374468" y="3943275"/>
                  <a:pt x="1369858" y="3943001"/>
                </a:cubicBezTo>
                <a:close/>
                <a:moveTo>
                  <a:pt x="1367216" y="3939176"/>
                </a:moveTo>
                <a:lnTo>
                  <a:pt x="1367217" y="3939176"/>
                </a:lnTo>
                <a:lnTo>
                  <a:pt x="1367216" y="3939176"/>
                </a:lnTo>
                <a:close/>
                <a:moveTo>
                  <a:pt x="2495323" y="3937371"/>
                </a:moveTo>
                <a:cubicBezTo>
                  <a:pt x="2497036" y="3937482"/>
                  <a:pt x="2501881" y="3941357"/>
                  <a:pt x="2506090" y="3945983"/>
                </a:cubicBezTo>
                <a:cubicBezTo>
                  <a:pt x="2514499" y="3955224"/>
                  <a:pt x="2516657" y="3987817"/>
                  <a:pt x="2508860" y="3987817"/>
                </a:cubicBezTo>
                <a:cubicBezTo>
                  <a:pt x="2506010" y="3987817"/>
                  <a:pt x="2504847" y="3994405"/>
                  <a:pt x="2506067" y="4003644"/>
                </a:cubicBezTo>
                <a:cubicBezTo>
                  <a:pt x="2508040" y="4018586"/>
                  <a:pt x="2499797" y="4026668"/>
                  <a:pt x="2494768" y="4014723"/>
                </a:cubicBezTo>
                <a:cubicBezTo>
                  <a:pt x="2491463" y="4006872"/>
                  <a:pt x="2491962" y="3937154"/>
                  <a:pt x="2495323" y="3937371"/>
                </a:cubicBezTo>
                <a:close/>
                <a:moveTo>
                  <a:pt x="3895920" y="3935463"/>
                </a:moveTo>
                <a:cubicBezTo>
                  <a:pt x="3898485" y="3936562"/>
                  <a:pt x="3899960" y="3944742"/>
                  <a:pt x="3899960" y="3959837"/>
                </a:cubicBezTo>
                <a:cubicBezTo>
                  <a:pt x="3899960" y="3977338"/>
                  <a:pt x="3902268" y="3983280"/>
                  <a:pt x="3911406" y="3989307"/>
                </a:cubicBezTo>
                <a:cubicBezTo>
                  <a:pt x="3921443" y="3995928"/>
                  <a:pt x="3923817" y="3995132"/>
                  <a:pt x="3930692" y="3982841"/>
                </a:cubicBezTo>
                <a:cubicBezTo>
                  <a:pt x="3940937" y="3964524"/>
                  <a:pt x="3946474" y="3965129"/>
                  <a:pt x="3949909" y="3984943"/>
                </a:cubicBezTo>
                <a:cubicBezTo>
                  <a:pt x="3953443" y="4005328"/>
                  <a:pt x="3949552" y="4014678"/>
                  <a:pt x="3939464" y="4010043"/>
                </a:cubicBezTo>
                <a:cubicBezTo>
                  <a:pt x="3933373" y="4007244"/>
                  <a:pt x="3931188" y="4010501"/>
                  <a:pt x="3929769" y="4024499"/>
                </a:cubicBezTo>
                <a:cubicBezTo>
                  <a:pt x="3928763" y="4034436"/>
                  <a:pt x="3930371" y="4045858"/>
                  <a:pt x="3933346" y="4049881"/>
                </a:cubicBezTo>
                <a:cubicBezTo>
                  <a:pt x="3940204" y="4059157"/>
                  <a:pt x="3946041" y="4113587"/>
                  <a:pt x="3940956" y="4120846"/>
                </a:cubicBezTo>
                <a:cubicBezTo>
                  <a:pt x="3938809" y="4123909"/>
                  <a:pt x="3933770" y="4123562"/>
                  <a:pt x="3929478" y="4120056"/>
                </a:cubicBezTo>
                <a:cubicBezTo>
                  <a:pt x="3924007" y="4115587"/>
                  <a:pt x="3921825" y="4105879"/>
                  <a:pt x="3921825" y="4086004"/>
                </a:cubicBezTo>
                <a:cubicBezTo>
                  <a:pt x="3921825" y="4070714"/>
                  <a:pt x="3919827" y="4056416"/>
                  <a:pt x="3917386" y="4054232"/>
                </a:cubicBezTo>
                <a:cubicBezTo>
                  <a:pt x="3914944" y="4052047"/>
                  <a:pt x="3910125" y="4040483"/>
                  <a:pt x="3906676" y="4028534"/>
                </a:cubicBezTo>
                <a:cubicBezTo>
                  <a:pt x="3902585" y="4014359"/>
                  <a:pt x="3897455" y="4006809"/>
                  <a:pt x="3891911" y="4006809"/>
                </a:cubicBezTo>
                <a:cubicBezTo>
                  <a:pt x="3879691" y="4006809"/>
                  <a:pt x="3876455" y="3980566"/>
                  <a:pt x="3885345" y="3953575"/>
                </a:cubicBezTo>
                <a:cubicBezTo>
                  <a:pt x="3889702" y="3940346"/>
                  <a:pt x="3893356" y="3934364"/>
                  <a:pt x="3895920" y="3935463"/>
                </a:cubicBezTo>
                <a:close/>
                <a:moveTo>
                  <a:pt x="2337188" y="3930839"/>
                </a:moveTo>
                <a:cubicBezTo>
                  <a:pt x="2341763" y="3930839"/>
                  <a:pt x="2343356" y="3936017"/>
                  <a:pt x="2342396" y="3947761"/>
                </a:cubicBezTo>
                <a:cubicBezTo>
                  <a:pt x="2340687" y="3968659"/>
                  <a:pt x="2331821" y="3974077"/>
                  <a:pt x="2327982" y="3956568"/>
                </a:cubicBezTo>
                <a:cubicBezTo>
                  <a:pt x="2324570" y="3941003"/>
                  <a:pt x="2328207" y="3930839"/>
                  <a:pt x="2337188" y="3930839"/>
                </a:cubicBezTo>
                <a:close/>
                <a:moveTo>
                  <a:pt x="2224989" y="3912997"/>
                </a:moveTo>
                <a:cubicBezTo>
                  <a:pt x="2226643" y="3913005"/>
                  <a:pt x="2228411" y="3914065"/>
                  <a:pt x="2230083" y="3916486"/>
                </a:cubicBezTo>
                <a:cubicBezTo>
                  <a:pt x="2235437" y="3924236"/>
                  <a:pt x="2232336" y="3943501"/>
                  <a:pt x="2225735" y="3943501"/>
                </a:cubicBezTo>
                <a:cubicBezTo>
                  <a:pt x="2223512" y="3943501"/>
                  <a:pt x="2220433" y="3938751"/>
                  <a:pt x="2218895" y="3932946"/>
                </a:cubicBezTo>
                <a:cubicBezTo>
                  <a:pt x="2216102" y="3922410"/>
                  <a:pt x="2220029" y="3912972"/>
                  <a:pt x="2224989" y="3912997"/>
                </a:cubicBezTo>
                <a:close/>
                <a:moveTo>
                  <a:pt x="1388112" y="3908577"/>
                </a:moveTo>
                <a:cubicBezTo>
                  <a:pt x="1385822" y="3908943"/>
                  <a:pt x="1383840" y="3911987"/>
                  <a:pt x="1380454" y="3917982"/>
                </a:cubicBezTo>
                <a:cubicBezTo>
                  <a:pt x="1372652" y="3931799"/>
                  <a:pt x="1363663" y="3935077"/>
                  <a:pt x="1363663" y="3924107"/>
                </a:cubicBezTo>
                <a:cubicBezTo>
                  <a:pt x="1363663" y="3920325"/>
                  <a:pt x="1357435" y="3918244"/>
                  <a:pt x="1349452" y="3919359"/>
                </a:cubicBezTo>
                <a:cubicBezTo>
                  <a:pt x="1337649" y="3921007"/>
                  <a:pt x="1335239" y="3923978"/>
                  <a:pt x="1335239" y="3936885"/>
                </a:cubicBezTo>
                <a:cubicBezTo>
                  <a:pt x="1335239" y="3948254"/>
                  <a:pt x="1338174" y="3953421"/>
                  <a:pt x="1346172" y="3956132"/>
                </a:cubicBezTo>
                <a:cubicBezTo>
                  <a:pt x="1354295" y="3958885"/>
                  <a:pt x="1358141" y="3965852"/>
                  <a:pt x="1361141" y="3983244"/>
                </a:cubicBezTo>
                <a:cubicBezTo>
                  <a:pt x="1366324" y="4013290"/>
                  <a:pt x="1379378" y="4020675"/>
                  <a:pt x="1390289" y="3999733"/>
                </a:cubicBezTo>
                <a:cubicBezTo>
                  <a:pt x="1399821" y="3981439"/>
                  <a:pt x="1405230" y="3987414"/>
                  <a:pt x="1400728" y="4011262"/>
                </a:cubicBezTo>
                <a:cubicBezTo>
                  <a:pt x="1394690" y="4043248"/>
                  <a:pt x="1398307" y="4072265"/>
                  <a:pt x="1410270" y="4087809"/>
                </a:cubicBezTo>
                <a:cubicBezTo>
                  <a:pt x="1420615" y="4101248"/>
                  <a:pt x="1421855" y="4101531"/>
                  <a:pt x="1426873" y="4091597"/>
                </a:cubicBezTo>
                <a:cubicBezTo>
                  <a:pt x="1430678" y="4084064"/>
                  <a:pt x="1433223" y="4083036"/>
                  <a:pt x="1435407" y="4088151"/>
                </a:cubicBezTo>
                <a:cubicBezTo>
                  <a:pt x="1439959" y="4098813"/>
                  <a:pt x="1455342" y="4097052"/>
                  <a:pt x="1458399" y="4085520"/>
                </a:cubicBezTo>
                <a:cubicBezTo>
                  <a:pt x="1459846" y="4080062"/>
                  <a:pt x="1458800" y="4072370"/>
                  <a:pt x="1456075" y="4068426"/>
                </a:cubicBezTo>
                <a:cubicBezTo>
                  <a:pt x="1453351" y="4064481"/>
                  <a:pt x="1451122" y="4056099"/>
                  <a:pt x="1451122" y="4049797"/>
                </a:cubicBezTo>
                <a:cubicBezTo>
                  <a:pt x="1451122" y="4043496"/>
                  <a:pt x="1447186" y="4033461"/>
                  <a:pt x="1442376" y="4027499"/>
                </a:cubicBezTo>
                <a:cubicBezTo>
                  <a:pt x="1437566" y="4021535"/>
                  <a:pt x="1433630" y="4012989"/>
                  <a:pt x="1433630" y="4008506"/>
                </a:cubicBezTo>
                <a:cubicBezTo>
                  <a:pt x="1433630" y="4004022"/>
                  <a:pt x="1429795" y="3995601"/>
                  <a:pt x="1425108" y="3989791"/>
                </a:cubicBezTo>
                <a:cubicBezTo>
                  <a:pt x="1420421" y="3983981"/>
                  <a:pt x="1417456" y="3977189"/>
                  <a:pt x="1418520" y="3974698"/>
                </a:cubicBezTo>
                <a:cubicBezTo>
                  <a:pt x="1422053" y="3966421"/>
                  <a:pt x="1407671" y="3925510"/>
                  <a:pt x="1397617" y="3915240"/>
                </a:cubicBezTo>
                <a:cubicBezTo>
                  <a:pt x="1392999" y="3910523"/>
                  <a:pt x="1390401" y="3908211"/>
                  <a:pt x="1388112" y="3908577"/>
                </a:cubicBezTo>
                <a:close/>
                <a:moveTo>
                  <a:pt x="523559" y="3899185"/>
                </a:moveTo>
                <a:cubicBezTo>
                  <a:pt x="532732" y="3899185"/>
                  <a:pt x="547770" y="3927730"/>
                  <a:pt x="543663" y="3937349"/>
                </a:cubicBezTo>
                <a:cubicBezTo>
                  <a:pt x="539177" y="3947859"/>
                  <a:pt x="529159" y="3944115"/>
                  <a:pt x="526248" y="3930839"/>
                </a:cubicBezTo>
                <a:cubicBezTo>
                  <a:pt x="524721" y="3923875"/>
                  <a:pt x="521637" y="3918177"/>
                  <a:pt x="519394" y="3918177"/>
                </a:cubicBezTo>
                <a:cubicBezTo>
                  <a:pt x="517151" y="3918177"/>
                  <a:pt x="515316" y="3913904"/>
                  <a:pt x="515316" y="3908681"/>
                </a:cubicBezTo>
                <a:cubicBezTo>
                  <a:pt x="515316" y="3903458"/>
                  <a:pt x="519025" y="3899185"/>
                  <a:pt x="523559" y="3899185"/>
                </a:cubicBezTo>
                <a:close/>
                <a:moveTo>
                  <a:pt x="4105488" y="3892854"/>
                </a:moveTo>
                <a:cubicBezTo>
                  <a:pt x="4107893" y="3892854"/>
                  <a:pt x="4109861" y="3895702"/>
                  <a:pt x="4109861" y="3899185"/>
                </a:cubicBezTo>
                <a:cubicBezTo>
                  <a:pt x="4109861" y="3902667"/>
                  <a:pt x="4107893" y="3905515"/>
                  <a:pt x="4105488" y="3905515"/>
                </a:cubicBezTo>
                <a:cubicBezTo>
                  <a:pt x="4103082" y="3905515"/>
                  <a:pt x="4101115" y="3902667"/>
                  <a:pt x="4101115" y="3899185"/>
                </a:cubicBezTo>
                <a:cubicBezTo>
                  <a:pt x="4101115" y="3895702"/>
                  <a:pt x="4103082" y="3892854"/>
                  <a:pt x="4105488" y="3892854"/>
                </a:cubicBezTo>
                <a:close/>
                <a:moveTo>
                  <a:pt x="2909492" y="3892854"/>
                </a:moveTo>
                <a:cubicBezTo>
                  <a:pt x="2913574" y="3892854"/>
                  <a:pt x="2916052" y="3898833"/>
                  <a:pt x="2916052" y="3908681"/>
                </a:cubicBezTo>
                <a:cubicBezTo>
                  <a:pt x="2916052" y="3918529"/>
                  <a:pt x="2913574" y="3924508"/>
                  <a:pt x="2909492" y="3924508"/>
                </a:cubicBezTo>
                <a:cubicBezTo>
                  <a:pt x="2905412" y="3924508"/>
                  <a:pt x="2902933" y="3918529"/>
                  <a:pt x="2902933" y="3908681"/>
                </a:cubicBezTo>
                <a:cubicBezTo>
                  <a:pt x="2902933" y="3898833"/>
                  <a:pt x="2905412" y="3892854"/>
                  <a:pt x="2909492" y="3892854"/>
                </a:cubicBezTo>
                <a:close/>
                <a:moveTo>
                  <a:pt x="2655863" y="3892854"/>
                </a:moveTo>
                <a:cubicBezTo>
                  <a:pt x="2659470" y="3892854"/>
                  <a:pt x="2662423" y="3895535"/>
                  <a:pt x="2662423" y="3898811"/>
                </a:cubicBezTo>
                <a:cubicBezTo>
                  <a:pt x="2662423" y="3906794"/>
                  <a:pt x="2655593" y="3912512"/>
                  <a:pt x="2652101" y="3907454"/>
                </a:cubicBezTo>
                <a:cubicBezTo>
                  <a:pt x="2647175" y="3900324"/>
                  <a:pt x="2649101" y="3892854"/>
                  <a:pt x="2655863" y="3892854"/>
                </a:cubicBezTo>
                <a:close/>
                <a:moveTo>
                  <a:pt x="2015126" y="3890471"/>
                </a:moveTo>
                <a:cubicBezTo>
                  <a:pt x="2018179" y="3886051"/>
                  <a:pt x="2021270" y="3886407"/>
                  <a:pt x="2024850" y="3891588"/>
                </a:cubicBezTo>
                <a:cubicBezTo>
                  <a:pt x="2027736" y="3895766"/>
                  <a:pt x="2035607" y="3899185"/>
                  <a:pt x="2042341" y="3899185"/>
                </a:cubicBezTo>
                <a:cubicBezTo>
                  <a:pt x="2050646" y="3899185"/>
                  <a:pt x="2054585" y="3902441"/>
                  <a:pt x="2054585" y="3909307"/>
                </a:cubicBezTo>
                <a:cubicBezTo>
                  <a:pt x="2054585" y="3919304"/>
                  <a:pt x="2067171" y="3962689"/>
                  <a:pt x="2071849" y="3968824"/>
                </a:cubicBezTo>
                <a:cubicBezTo>
                  <a:pt x="2075939" y="3974186"/>
                  <a:pt x="2084746" y="3996282"/>
                  <a:pt x="2091632" y="4018461"/>
                </a:cubicBezTo>
                <a:cubicBezTo>
                  <a:pt x="2096420" y="4033881"/>
                  <a:pt x="2096979" y="4042908"/>
                  <a:pt x="2093696" y="4051792"/>
                </a:cubicBezTo>
                <a:cubicBezTo>
                  <a:pt x="2090178" y="4061308"/>
                  <a:pt x="2090784" y="4064859"/>
                  <a:pt x="2096463" y="4068015"/>
                </a:cubicBezTo>
                <a:cubicBezTo>
                  <a:pt x="2102527" y="4071383"/>
                  <a:pt x="2103267" y="4077823"/>
                  <a:pt x="2100916" y="4106782"/>
                </a:cubicBezTo>
                <a:cubicBezTo>
                  <a:pt x="2098452" y="4137132"/>
                  <a:pt x="2099212" y="4142640"/>
                  <a:pt x="2106951" y="4150489"/>
                </a:cubicBezTo>
                <a:cubicBezTo>
                  <a:pt x="2111822" y="4155427"/>
                  <a:pt x="2115806" y="4164434"/>
                  <a:pt x="2115806" y="4170504"/>
                </a:cubicBezTo>
                <a:cubicBezTo>
                  <a:pt x="2115806" y="4176574"/>
                  <a:pt x="2118021" y="4184746"/>
                  <a:pt x="2120728" y="4188665"/>
                </a:cubicBezTo>
                <a:cubicBezTo>
                  <a:pt x="2125881" y="4196127"/>
                  <a:pt x="2122376" y="4241389"/>
                  <a:pt x="2116702" y="4240650"/>
                </a:cubicBezTo>
                <a:cubicBezTo>
                  <a:pt x="2115007" y="4240429"/>
                  <a:pt x="2109193" y="4237672"/>
                  <a:pt x="2103781" y="4234523"/>
                </a:cubicBezTo>
                <a:lnTo>
                  <a:pt x="2103781" y="4234523"/>
                </a:lnTo>
                <a:cubicBezTo>
                  <a:pt x="2098369" y="4231374"/>
                  <a:pt x="2093605" y="4223720"/>
                  <a:pt x="2093194" y="4217514"/>
                </a:cubicBezTo>
                <a:cubicBezTo>
                  <a:pt x="2092783" y="4211309"/>
                  <a:pt x="2092225" y="4201681"/>
                  <a:pt x="2091953" y="4196119"/>
                </a:cubicBezTo>
                <a:cubicBezTo>
                  <a:pt x="2091475" y="4186310"/>
                  <a:pt x="2071274" y="4155196"/>
                  <a:pt x="2062695" y="4151056"/>
                </a:cubicBezTo>
                <a:cubicBezTo>
                  <a:pt x="2060057" y="4149784"/>
                  <a:pt x="2060504" y="4137905"/>
                  <a:pt x="2063875" y="4119655"/>
                </a:cubicBezTo>
                <a:cubicBezTo>
                  <a:pt x="2068214" y="4096172"/>
                  <a:pt x="2068187" y="4082900"/>
                  <a:pt x="2063743" y="4053303"/>
                </a:cubicBezTo>
                <a:cubicBezTo>
                  <a:pt x="2060687" y="4032954"/>
                  <a:pt x="2056643" y="4011938"/>
                  <a:pt x="2054756" y="4006601"/>
                </a:cubicBezTo>
                <a:cubicBezTo>
                  <a:pt x="2052869" y="4001264"/>
                  <a:pt x="2049979" y="3988027"/>
                  <a:pt x="2048334" y="3977186"/>
                </a:cubicBezTo>
                <a:cubicBezTo>
                  <a:pt x="2046690" y="3966345"/>
                  <a:pt x="2041520" y="3952465"/>
                  <a:pt x="2036846" y="3946341"/>
                </a:cubicBezTo>
                <a:cubicBezTo>
                  <a:pt x="2032172" y="3940218"/>
                  <a:pt x="2028348" y="3931817"/>
                  <a:pt x="2028348" y="3927674"/>
                </a:cubicBezTo>
                <a:cubicBezTo>
                  <a:pt x="2028348" y="3923530"/>
                  <a:pt x="2024366" y="3914922"/>
                  <a:pt x="2019499" y="3908546"/>
                </a:cubicBezTo>
                <a:cubicBezTo>
                  <a:pt x="2013463" y="3900638"/>
                  <a:pt x="2012073" y="3894892"/>
                  <a:pt x="2015126" y="3890471"/>
                </a:cubicBezTo>
                <a:close/>
                <a:moveTo>
                  <a:pt x="3762359" y="3882921"/>
                </a:moveTo>
                <a:cubicBezTo>
                  <a:pt x="3765128" y="3881912"/>
                  <a:pt x="3768444" y="3886099"/>
                  <a:pt x="3771539" y="3895761"/>
                </a:cubicBezTo>
                <a:cubicBezTo>
                  <a:pt x="3777140" y="3913245"/>
                  <a:pt x="3775346" y="3918177"/>
                  <a:pt x="3763380" y="3918177"/>
                </a:cubicBezTo>
                <a:cubicBezTo>
                  <a:pt x="3756946" y="3918177"/>
                  <a:pt x="3755385" y="3914362"/>
                  <a:pt x="3756456" y="3901256"/>
                </a:cubicBezTo>
                <a:cubicBezTo>
                  <a:pt x="3757366" y="3890135"/>
                  <a:pt x="3759589" y="3883930"/>
                  <a:pt x="3762359" y="3882921"/>
                </a:cubicBezTo>
                <a:close/>
                <a:moveTo>
                  <a:pt x="4054105" y="3868673"/>
                </a:moveTo>
                <a:cubicBezTo>
                  <a:pt x="4062485" y="3870396"/>
                  <a:pt x="4064004" y="3874724"/>
                  <a:pt x="4064349" y="3897845"/>
                </a:cubicBezTo>
                <a:cubicBezTo>
                  <a:pt x="4064572" y="3912776"/>
                  <a:pt x="4063565" y="3926057"/>
                  <a:pt x="4062113" y="3927356"/>
                </a:cubicBezTo>
                <a:cubicBezTo>
                  <a:pt x="4060660" y="3928655"/>
                  <a:pt x="4054083" y="3924035"/>
                  <a:pt x="4047496" y="3917089"/>
                </a:cubicBezTo>
                <a:cubicBezTo>
                  <a:pt x="4035765" y="3904717"/>
                  <a:pt x="4031239" y="3886523"/>
                  <a:pt x="4039894" y="3886523"/>
                </a:cubicBezTo>
                <a:cubicBezTo>
                  <a:pt x="4042299" y="3886523"/>
                  <a:pt x="4044267" y="3882052"/>
                  <a:pt x="4044267" y="3876586"/>
                </a:cubicBezTo>
                <a:cubicBezTo>
                  <a:pt x="4044267" y="3869903"/>
                  <a:pt x="4047487" y="3867312"/>
                  <a:pt x="4054105" y="3868673"/>
                </a:cubicBezTo>
                <a:close/>
                <a:moveTo>
                  <a:pt x="2218103" y="3867530"/>
                </a:moveTo>
                <a:cubicBezTo>
                  <a:pt x="2221453" y="3867530"/>
                  <a:pt x="2225327" y="3871803"/>
                  <a:pt x="2226711" y="3877027"/>
                </a:cubicBezTo>
                <a:cubicBezTo>
                  <a:pt x="2228423" y="3883486"/>
                  <a:pt x="2226475" y="3886523"/>
                  <a:pt x="2220619" y="3886523"/>
                </a:cubicBezTo>
                <a:cubicBezTo>
                  <a:pt x="2215883" y="3886523"/>
                  <a:pt x="2212011" y="3882252"/>
                  <a:pt x="2212011" y="3877027"/>
                </a:cubicBezTo>
                <a:cubicBezTo>
                  <a:pt x="2212011" y="3871803"/>
                  <a:pt x="2214752" y="3867530"/>
                  <a:pt x="2218103" y="3867530"/>
                </a:cubicBezTo>
                <a:close/>
                <a:moveTo>
                  <a:pt x="1971688" y="3857866"/>
                </a:moveTo>
                <a:cubicBezTo>
                  <a:pt x="1977160" y="3852970"/>
                  <a:pt x="1988801" y="3895709"/>
                  <a:pt x="1986087" y="3910735"/>
                </a:cubicBezTo>
                <a:cubicBezTo>
                  <a:pt x="1984860" y="3917524"/>
                  <a:pt x="1985996" y="3924993"/>
                  <a:pt x="1988610" y="3927333"/>
                </a:cubicBezTo>
                <a:cubicBezTo>
                  <a:pt x="1991226" y="3929672"/>
                  <a:pt x="1993364" y="3941041"/>
                  <a:pt x="1993364" y="3952596"/>
                </a:cubicBezTo>
                <a:cubicBezTo>
                  <a:pt x="1993364" y="3964151"/>
                  <a:pt x="1996120" y="3976915"/>
                  <a:pt x="1999487" y="3980960"/>
                </a:cubicBezTo>
                <a:cubicBezTo>
                  <a:pt x="2002854" y="3985006"/>
                  <a:pt x="2005609" y="3998543"/>
                  <a:pt x="2005609" y="4011042"/>
                </a:cubicBezTo>
                <a:cubicBezTo>
                  <a:pt x="2005609" y="4023542"/>
                  <a:pt x="2007464" y="4035537"/>
                  <a:pt x="2009731" y="4037699"/>
                </a:cubicBezTo>
                <a:cubicBezTo>
                  <a:pt x="2011999" y="4039861"/>
                  <a:pt x="2015098" y="4050888"/>
                  <a:pt x="2016619" y="4062204"/>
                </a:cubicBezTo>
                <a:cubicBezTo>
                  <a:pt x="2019841" y="4086182"/>
                  <a:pt x="2010010" y="4091486"/>
                  <a:pt x="2002084" y="4070047"/>
                </a:cubicBezTo>
                <a:cubicBezTo>
                  <a:pt x="1999495" y="4063042"/>
                  <a:pt x="1997871" y="4053784"/>
                  <a:pt x="1998475" y="4049471"/>
                </a:cubicBezTo>
                <a:cubicBezTo>
                  <a:pt x="2000402" y="4035704"/>
                  <a:pt x="1988985" y="4013140"/>
                  <a:pt x="1980092" y="4013140"/>
                </a:cubicBezTo>
                <a:cubicBezTo>
                  <a:pt x="1975366" y="4013140"/>
                  <a:pt x="1971500" y="4008867"/>
                  <a:pt x="1971500" y="4003644"/>
                </a:cubicBezTo>
                <a:cubicBezTo>
                  <a:pt x="1971500" y="3998421"/>
                  <a:pt x="1973468" y="3994147"/>
                  <a:pt x="1975873" y="3994147"/>
                </a:cubicBezTo>
                <a:cubicBezTo>
                  <a:pt x="1981430" y="3994147"/>
                  <a:pt x="1981644" y="3970593"/>
                  <a:pt x="1976112" y="3967769"/>
                </a:cubicBezTo>
                <a:cubicBezTo>
                  <a:pt x="1970708" y="3965010"/>
                  <a:pt x="1966578" y="3862438"/>
                  <a:pt x="1971688" y="3857866"/>
                </a:cubicBezTo>
                <a:close/>
                <a:moveTo>
                  <a:pt x="502197" y="3851703"/>
                </a:moveTo>
                <a:cubicBezTo>
                  <a:pt x="504602" y="3849551"/>
                  <a:pt x="506570" y="3852232"/>
                  <a:pt x="506570" y="3857660"/>
                </a:cubicBezTo>
                <a:cubicBezTo>
                  <a:pt x="506570" y="3863089"/>
                  <a:pt x="504602" y="3867530"/>
                  <a:pt x="502197" y="3867530"/>
                </a:cubicBezTo>
                <a:cubicBezTo>
                  <a:pt x="499792" y="3867530"/>
                  <a:pt x="497824" y="3864850"/>
                  <a:pt x="497824" y="3861573"/>
                </a:cubicBezTo>
                <a:cubicBezTo>
                  <a:pt x="497824" y="3858297"/>
                  <a:pt x="499792" y="3853855"/>
                  <a:pt x="502197" y="3851703"/>
                </a:cubicBezTo>
                <a:close/>
                <a:moveTo>
                  <a:pt x="2255504" y="3849289"/>
                </a:moveTo>
                <a:cubicBezTo>
                  <a:pt x="2258339" y="3850660"/>
                  <a:pt x="2260113" y="3856731"/>
                  <a:pt x="2260113" y="3867157"/>
                </a:cubicBezTo>
                <a:cubicBezTo>
                  <a:pt x="2260113" y="3890357"/>
                  <a:pt x="2254613" y="3895889"/>
                  <a:pt x="2245726" y="3881626"/>
                </a:cubicBezTo>
                <a:cubicBezTo>
                  <a:pt x="2240091" y="3872582"/>
                  <a:pt x="2239885" y="3868784"/>
                  <a:pt x="2244530" y="3859617"/>
                </a:cubicBezTo>
                <a:cubicBezTo>
                  <a:pt x="2248773" y="3851245"/>
                  <a:pt x="2252669" y="3847917"/>
                  <a:pt x="2255504" y="3849289"/>
                </a:cubicBezTo>
                <a:close/>
                <a:moveTo>
                  <a:pt x="3417010" y="3829545"/>
                </a:moveTo>
                <a:cubicBezTo>
                  <a:pt x="3420476" y="3829545"/>
                  <a:pt x="3423312" y="3833818"/>
                  <a:pt x="3423312" y="3839042"/>
                </a:cubicBezTo>
                <a:cubicBezTo>
                  <a:pt x="3423312" y="3848577"/>
                  <a:pt x="3414080" y="3852056"/>
                  <a:pt x="3408853" y="3844489"/>
                </a:cubicBezTo>
                <a:cubicBezTo>
                  <a:pt x="3404773" y="3838581"/>
                  <a:pt x="3409705" y="3829545"/>
                  <a:pt x="3417010" y="3829545"/>
                </a:cubicBezTo>
                <a:close/>
                <a:moveTo>
                  <a:pt x="2738431" y="3824454"/>
                </a:moveTo>
                <a:cubicBezTo>
                  <a:pt x="2739993" y="3823468"/>
                  <a:pt x="2743623" y="3824329"/>
                  <a:pt x="2750318" y="3826407"/>
                </a:cubicBezTo>
                <a:cubicBezTo>
                  <a:pt x="2758495" y="3828947"/>
                  <a:pt x="2765412" y="3831404"/>
                  <a:pt x="2765687" y="3831867"/>
                </a:cubicBezTo>
                <a:cubicBezTo>
                  <a:pt x="2765963" y="3832331"/>
                  <a:pt x="2767474" y="3847325"/>
                  <a:pt x="2769047" y="3865187"/>
                </a:cubicBezTo>
                <a:cubicBezTo>
                  <a:pt x="2771804" y="3896481"/>
                  <a:pt x="2771493" y="3897778"/>
                  <a:pt x="2760550" y="3900807"/>
                </a:cubicBezTo>
                <a:cubicBezTo>
                  <a:pt x="2754148" y="3902579"/>
                  <a:pt x="2748519" y="3900839"/>
                  <a:pt x="2747649" y="3896820"/>
                </a:cubicBezTo>
                <a:cubicBezTo>
                  <a:pt x="2746801" y="3892898"/>
                  <a:pt x="2745288" y="3879717"/>
                  <a:pt x="2744287" y="3867530"/>
                </a:cubicBezTo>
                <a:cubicBezTo>
                  <a:pt x="2743287" y="3855344"/>
                  <a:pt x="2740888" y="3840067"/>
                  <a:pt x="2738958" y="3833582"/>
                </a:cubicBezTo>
                <a:cubicBezTo>
                  <a:pt x="2737378" y="3828273"/>
                  <a:pt x="2736870" y="3825440"/>
                  <a:pt x="2738431" y="3824454"/>
                </a:cubicBezTo>
                <a:close/>
                <a:moveTo>
                  <a:pt x="1314629" y="3823496"/>
                </a:moveTo>
                <a:cubicBezTo>
                  <a:pt x="1309924" y="3824382"/>
                  <a:pt x="1305359" y="3827673"/>
                  <a:pt x="1304002" y="3832791"/>
                </a:cubicBezTo>
                <a:cubicBezTo>
                  <a:pt x="1302606" y="3838059"/>
                  <a:pt x="1303933" y="3846674"/>
                  <a:pt x="1306949" y="3851937"/>
                </a:cubicBezTo>
                <a:cubicBezTo>
                  <a:pt x="1314633" y="3865340"/>
                  <a:pt x="1317317" y="3858785"/>
                  <a:pt x="1311067" y="3841880"/>
                </a:cubicBezTo>
                <a:cubicBezTo>
                  <a:pt x="1306233" y="3828802"/>
                  <a:pt x="1306662" y="3828027"/>
                  <a:pt x="1317140" y="3830926"/>
                </a:cubicBezTo>
                <a:cubicBezTo>
                  <a:pt x="1323341" y="3832643"/>
                  <a:pt x="1327375" y="3831610"/>
                  <a:pt x="1326103" y="3828631"/>
                </a:cubicBezTo>
                <a:cubicBezTo>
                  <a:pt x="1324181" y="3824130"/>
                  <a:pt x="1319335" y="3822610"/>
                  <a:pt x="1314629" y="3823496"/>
                </a:cubicBezTo>
                <a:close/>
                <a:moveTo>
                  <a:pt x="3892163" y="3819903"/>
                </a:moveTo>
                <a:cubicBezTo>
                  <a:pt x="3896293" y="3817585"/>
                  <a:pt x="3904890" y="3818207"/>
                  <a:pt x="3911267" y="3821285"/>
                </a:cubicBezTo>
                <a:cubicBezTo>
                  <a:pt x="3920929" y="3825948"/>
                  <a:pt x="3923141" y="3831329"/>
                  <a:pt x="3924522" y="3853537"/>
                </a:cubicBezTo>
                <a:cubicBezTo>
                  <a:pt x="3925968" y="3876764"/>
                  <a:pt x="3925057" y="3880192"/>
                  <a:pt x="3917443" y="3880192"/>
                </a:cubicBezTo>
                <a:cubicBezTo>
                  <a:pt x="3911118" y="3880192"/>
                  <a:pt x="3908706" y="3875967"/>
                  <a:pt x="3908706" y="3864893"/>
                </a:cubicBezTo>
                <a:cubicBezTo>
                  <a:pt x="3908706" y="3855512"/>
                  <a:pt x="3904055" y="3844666"/>
                  <a:pt x="3896680" y="3836855"/>
                </a:cubicBezTo>
                <a:cubicBezTo>
                  <a:pt x="3886276" y="3825832"/>
                  <a:pt x="3885667" y="3823549"/>
                  <a:pt x="3892163" y="3819903"/>
                </a:cubicBezTo>
                <a:close/>
                <a:moveTo>
                  <a:pt x="1959090" y="3812273"/>
                </a:moveTo>
                <a:cubicBezTo>
                  <a:pt x="1962026" y="3813352"/>
                  <a:pt x="1965749" y="3817761"/>
                  <a:pt x="1968903" y="3825000"/>
                </a:cubicBezTo>
                <a:cubicBezTo>
                  <a:pt x="1972200" y="3832566"/>
                  <a:pt x="1971980" y="3837713"/>
                  <a:pt x="1968122" y="3843299"/>
                </a:cubicBezTo>
                <a:cubicBezTo>
                  <a:pt x="1965170" y="3847573"/>
                  <a:pt x="1962521" y="3848364"/>
                  <a:pt x="1962236" y="3845056"/>
                </a:cubicBezTo>
                <a:cubicBezTo>
                  <a:pt x="1961951" y="3841748"/>
                  <a:pt x="1961951" y="3836905"/>
                  <a:pt x="1962236" y="3834293"/>
                </a:cubicBezTo>
                <a:cubicBezTo>
                  <a:pt x="1962521" y="3831682"/>
                  <a:pt x="1960786" y="3829545"/>
                  <a:pt x="1958381" y="3829545"/>
                </a:cubicBezTo>
                <a:cubicBezTo>
                  <a:pt x="1955976" y="3829545"/>
                  <a:pt x="1954008" y="3825035"/>
                  <a:pt x="1954008" y="3819521"/>
                </a:cubicBezTo>
                <a:cubicBezTo>
                  <a:pt x="1954008" y="3813443"/>
                  <a:pt x="1956155" y="3811193"/>
                  <a:pt x="1959090" y="3812273"/>
                </a:cubicBezTo>
                <a:close/>
                <a:moveTo>
                  <a:pt x="486892" y="3810553"/>
                </a:moveTo>
                <a:cubicBezTo>
                  <a:pt x="490500" y="3810553"/>
                  <a:pt x="493451" y="3814826"/>
                  <a:pt x="493451" y="3820049"/>
                </a:cubicBezTo>
                <a:cubicBezTo>
                  <a:pt x="493451" y="3825272"/>
                  <a:pt x="490500" y="3829545"/>
                  <a:pt x="486892" y="3829545"/>
                </a:cubicBezTo>
                <a:cubicBezTo>
                  <a:pt x="483284" y="3829545"/>
                  <a:pt x="480332" y="3825272"/>
                  <a:pt x="480332" y="3820049"/>
                </a:cubicBezTo>
                <a:cubicBezTo>
                  <a:pt x="480332" y="3814826"/>
                  <a:pt x="483284" y="3810553"/>
                  <a:pt x="486892" y="3810553"/>
                </a:cubicBezTo>
                <a:close/>
                <a:moveTo>
                  <a:pt x="4113305" y="3809050"/>
                </a:moveTo>
                <a:cubicBezTo>
                  <a:pt x="4121709" y="3813106"/>
                  <a:pt x="4119461" y="3823215"/>
                  <a:pt x="4110156" y="3823215"/>
                </a:cubicBezTo>
                <a:cubicBezTo>
                  <a:pt x="4105506" y="3823215"/>
                  <a:pt x="4100455" y="3828912"/>
                  <a:pt x="4098927" y="3835877"/>
                </a:cubicBezTo>
                <a:cubicBezTo>
                  <a:pt x="4094805" y="3854684"/>
                  <a:pt x="4087996" y="3851200"/>
                  <a:pt x="4087996" y="3830284"/>
                </a:cubicBezTo>
                <a:cubicBezTo>
                  <a:pt x="4087996" y="3816291"/>
                  <a:pt x="4090332" y="3811382"/>
                  <a:pt x="4098000" y="3809260"/>
                </a:cubicBezTo>
                <a:cubicBezTo>
                  <a:pt x="4103503" y="3807737"/>
                  <a:pt x="4110390" y="3807643"/>
                  <a:pt x="4113305" y="3809050"/>
                </a:cubicBezTo>
                <a:close/>
                <a:moveTo>
                  <a:pt x="2043084" y="3794750"/>
                </a:moveTo>
                <a:cubicBezTo>
                  <a:pt x="2041816" y="3795042"/>
                  <a:pt x="2041467" y="3797207"/>
                  <a:pt x="2041467" y="3801376"/>
                </a:cubicBezTo>
                <a:cubicBezTo>
                  <a:pt x="2041467" y="3806834"/>
                  <a:pt x="2043435" y="3809539"/>
                  <a:pt x="2045840" y="3807387"/>
                </a:cubicBezTo>
                <a:cubicBezTo>
                  <a:pt x="2048245" y="3805235"/>
                  <a:pt x="2050212" y="3806492"/>
                  <a:pt x="2050212" y="3810179"/>
                </a:cubicBezTo>
                <a:cubicBezTo>
                  <a:pt x="2050212" y="3813867"/>
                  <a:pt x="2052181" y="3816883"/>
                  <a:pt x="2054585" y="3816883"/>
                </a:cubicBezTo>
                <a:cubicBezTo>
                  <a:pt x="2056991" y="3816883"/>
                  <a:pt x="2058958" y="3814720"/>
                  <a:pt x="2058958" y="3812075"/>
                </a:cubicBezTo>
                <a:cubicBezTo>
                  <a:pt x="2058958" y="3809431"/>
                  <a:pt x="2055023" y="3803709"/>
                  <a:pt x="2050212" y="3799360"/>
                </a:cubicBezTo>
                <a:cubicBezTo>
                  <a:pt x="2046538" y="3796038"/>
                  <a:pt x="2044352" y="3794458"/>
                  <a:pt x="2043084" y="3794750"/>
                </a:cubicBezTo>
                <a:close/>
                <a:moveTo>
                  <a:pt x="1790937" y="3787564"/>
                </a:moveTo>
                <a:cubicBezTo>
                  <a:pt x="1790740" y="3787287"/>
                  <a:pt x="1790249" y="3790113"/>
                  <a:pt x="1789378" y="3795919"/>
                </a:cubicBezTo>
                <a:cubicBezTo>
                  <a:pt x="1788235" y="3803539"/>
                  <a:pt x="1783976" y="3811211"/>
                  <a:pt x="1779916" y="3812965"/>
                </a:cubicBezTo>
                <a:cubicBezTo>
                  <a:pt x="1774602" y="3815262"/>
                  <a:pt x="1774984" y="3815797"/>
                  <a:pt x="1781278" y="3814873"/>
                </a:cubicBezTo>
                <a:cubicBezTo>
                  <a:pt x="1787214" y="3814001"/>
                  <a:pt x="1790254" y="3808526"/>
                  <a:pt x="1790740" y="3797826"/>
                </a:cubicBezTo>
                <a:cubicBezTo>
                  <a:pt x="1791040" y="3791221"/>
                  <a:pt x="1791135" y="3787841"/>
                  <a:pt x="1790937" y="3787564"/>
                </a:cubicBezTo>
                <a:close/>
                <a:moveTo>
                  <a:pt x="2023582" y="3786360"/>
                </a:moveTo>
                <a:cubicBezTo>
                  <a:pt x="2022843" y="3786156"/>
                  <a:pt x="2021117" y="3788463"/>
                  <a:pt x="2017887" y="3793139"/>
                </a:cubicBezTo>
                <a:cubicBezTo>
                  <a:pt x="2009485" y="3805302"/>
                  <a:pt x="2008763" y="3812617"/>
                  <a:pt x="2016323" y="3808973"/>
                </a:cubicBezTo>
                <a:cubicBezTo>
                  <a:pt x="2019329" y="3807524"/>
                  <a:pt x="2022493" y="3801078"/>
                  <a:pt x="2023354" y="3794649"/>
                </a:cubicBezTo>
                <a:cubicBezTo>
                  <a:pt x="2024072" y="3789280"/>
                  <a:pt x="2024321" y="3786564"/>
                  <a:pt x="2023582" y="3786360"/>
                </a:cubicBezTo>
                <a:close/>
                <a:moveTo>
                  <a:pt x="2013093" y="3774587"/>
                </a:moveTo>
                <a:cubicBezTo>
                  <a:pt x="2008310" y="3775297"/>
                  <a:pt x="2004185" y="3780119"/>
                  <a:pt x="2003926" y="3785302"/>
                </a:cubicBezTo>
                <a:cubicBezTo>
                  <a:pt x="2003667" y="3790485"/>
                  <a:pt x="2004257" y="3791340"/>
                  <a:pt x="2005238" y="3787201"/>
                </a:cubicBezTo>
                <a:cubicBezTo>
                  <a:pt x="2006219" y="3783063"/>
                  <a:pt x="2010344" y="3778241"/>
                  <a:pt x="2014405" y="3776486"/>
                </a:cubicBezTo>
                <a:cubicBezTo>
                  <a:pt x="2019760" y="3774171"/>
                  <a:pt x="2019399" y="3773649"/>
                  <a:pt x="2013093" y="3774587"/>
                </a:cubicBezTo>
                <a:close/>
                <a:moveTo>
                  <a:pt x="2633998" y="3759906"/>
                </a:moveTo>
                <a:cubicBezTo>
                  <a:pt x="2637606" y="3759906"/>
                  <a:pt x="2640558" y="3764179"/>
                  <a:pt x="2640558" y="3769402"/>
                </a:cubicBezTo>
                <a:cubicBezTo>
                  <a:pt x="2640558" y="3774625"/>
                  <a:pt x="2637606" y="3778898"/>
                  <a:pt x="2633998" y="3778898"/>
                </a:cubicBezTo>
                <a:cubicBezTo>
                  <a:pt x="2630391" y="3778898"/>
                  <a:pt x="2627439" y="3774625"/>
                  <a:pt x="2627439" y="3769402"/>
                </a:cubicBezTo>
                <a:cubicBezTo>
                  <a:pt x="2627439" y="3764179"/>
                  <a:pt x="2630391" y="3759906"/>
                  <a:pt x="2633998" y="3759906"/>
                </a:cubicBezTo>
                <a:close/>
                <a:moveTo>
                  <a:pt x="4107673" y="3751286"/>
                </a:moveTo>
                <a:cubicBezTo>
                  <a:pt x="4115157" y="3755443"/>
                  <a:pt x="4115150" y="3755412"/>
                  <a:pt x="4111580" y="3768885"/>
                </a:cubicBezTo>
                <a:cubicBezTo>
                  <a:pt x="4107513" y="3784222"/>
                  <a:pt x="4101115" y="3780789"/>
                  <a:pt x="4101115" y="3763270"/>
                </a:cubicBezTo>
                <a:cubicBezTo>
                  <a:pt x="4101115" y="3751979"/>
                  <a:pt x="4102934" y="3748653"/>
                  <a:pt x="4107673" y="3751286"/>
                </a:cubicBezTo>
                <a:close/>
                <a:moveTo>
                  <a:pt x="1769471" y="3740913"/>
                </a:moveTo>
                <a:cubicBezTo>
                  <a:pt x="1760672" y="3740913"/>
                  <a:pt x="1759276" y="3754454"/>
                  <a:pt x="1766156" y="3773065"/>
                </a:cubicBezTo>
                <a:cubicBezTo>
                  <a:pt x="1769816" y="3782965"/>
                  <a:pt x="1772397" y="3784085"/>
                  <a:pt x="1779275" y="3778756"/>
                </a:cubicBezTo>
                <a:cubicBezTo>
                  <a:pt x="1783984" y="3775107"/>
                  <a:pt x="1787837" y="3768519"/>
                  <a:pt x="1787837" y="3764115"/>
                </a:cubicBezTo>
                <a:cubicBezTo>
                  <a:pt x="1787837" y="3752569"/>
                  <a:pt x="1778610" y="3740913"/>
                  <a:pt x="1769471" y="3740913"/>
                </a:cubicBezTo>
                <a:close/>
                <a:moveTo>
                  <a:pt x="2273182" y="3737793"/>
                </a:moveTo>
                <a:cubicBezTo>
                  <a:pt x="2270804" y="3739920"/>
                  <a:pt x="2268859" y="3744341"/>
                  <a:pt x="2268859" y="3747618"/>
                </a:cubicBezTo>
                <a:cubicBezTo>
                  <a:pt x="2268859" y="3756725"/>
                  <a:pt x="2271994" y="3754718"/>
                  <a:pt x="2274901" y="3743750"/>
                </a:cubicBezTo>
                <a:cubicBezTo>
                  <a:pt x="2276394" y="3738116"/>
                  <a:pt x="2275661" y="3735575"/>
                  <a:pt x="2273182" y="3737793"/>
                </a:cubicBezTo>
                <a:close/>
                <a:moveTo>
                  <a:pt x="2067015" y="3729938"/>
                </a:moveTo>
                <a:cubicBezTo>
                  <a:pt x="2065032" y="3730426"/>
                  <a:pt x="2062949" y="3732424"/>
                  <a:pt x="2060477" y="3736003"/>
                </a:cubicBezTo>
                <a:cubicBezTo>
                  <a:pt x="2051676" y="3748743"/>
                  <a:pt x="2056577" y="3772567"/>
                  <a:pt x="2067999" y="3772567"/>
                </a:cubicBezTo>
                <a:cubicBezTo>
                  <a:pt x="2072647" y="3772567"/>
                  <a:pt x="2076450" y="3775416"/>
                  <a:pt x="2076450" y="3778898"/>
                </a:cubicBezTo>
                <a:cubicBezTo>
                  <a:pt x="2076450" y="3786965"/>
                  <a:pt x="2077951" y="3786852"/>
                  <a:pt x="2091750" y="3777750"/>
                </a:cubicBezTo>
                <a:cubicBezTo>
                  <a:pt x="2106590" y="3767961"/>
                  <a:pt x="2105195" y="3745019"/>
                  <a:pt x="2089569" y="3741890"/>
                </a:cubicBezTo>
                <a:cubicBezTo>
                  <a:pt x="2083556" y="3740685"/>
                  <a:pt x="2076078" y="3736657"/>
                  <a:pt x="2072951" y="3732937"/>
                </a:cubicBezTo>
                <a:cubicBezTo>
                  <a:pt x="2070881" y="3730474"/>
                  <a:pt x="2068998" y="3729451"/>
                  <a:pt x="2067015" y="3729938"/>
                </a:cubicBezTo>
                <a:close/>
                <a:moveTo>
                  <a:pt x="1479546" y="3728251"/>
                </a:moveTo>
                <a:cubicBezTo>
                  <a:pt x="1483154" y="3728251"/>
                  <a:pt x="1486105" y="3732524"/>
                  <a:pt x="1486105" y="3737748"/>
                </a:cubicBezTo>
                <a:cubicBezTo>
                  <a:pt x="1486105" y="3742971"/>
                  <a:pt x="1483154" y="3747244"/>
                  <a:pt x="1479546" y="3747244"/>
                </a:cubicBezTo>
                <a:cubicBezTo>
                  <a:pt x="1475938" y="3747244"/>
                  <a:pt x="1472986" y="3742971"/>
                  <a:pt x="1472986" y="3737748"/>
                </a:cubicBezTo>
                <a:cubicBezTo>
                  <a:pt x="1472986" y="3732524"/>
                  <a:pt x="1475938" y="3728251"/>
                  <a:pt x="1479546" y="3728251"/>
                </a:cubicBezTo>
                <a:close/>
                <a:moveTo>
                  <a:pt x="2608904" y="3725099"/>
                </a:moveTo>
                <a:cubicBezTo>
                  <a:pt x="2610542" y="3726827"/>
                  <a:pt x="2610330" y="3730229"/>
                  <a:pt x="2607432" y="3734424"/>
                </a:cubicBezTo>
                <a:cubicBezTo>
                  <a:pt x="2605168" y="3737704"/>
                  <a:pt x="2600706" y="3738052"/>
                  <a:pt x="2597518" y="3735200"/>
                </a:cubicBezTo>
                <a:cubicBezTo>
                  <a:pt x="2592964" y="3731125"/>
                  <a:pt x="2593340" y="3729115"/>
                  <a:pt x="2599274" y="3725818"/>
                </a:cubicBezTo>
                <a:cubicBezTo>
                  <a:pt x="2603777" y="3723317"/>
                  <a:pt x="2607266" y="3723371"/>
                  <a:pt x="2608904" y="3725099"/>
                </a:cubicBezTo>
                <a:close/>
                <a:moveTo>
                  <a:pt x="2581523" y="3714641"/>
                </a:moveTo>
                <a:cubicBezTo>
                  <a:pt x="2583808" y="3714641"/>
                  <a:pt x="2586382" y="3717703"/>
                  <a:pt x="2587244" y="3721446"/>
                </a:cubicBezTo>
                <a:cubicBezTo>
                  <a:pt x="2588106" y="3725189"/>
                  <a:pt x="2585532" y="3728251"/>
                  <a:pt x="2581523" y="3728251"/>
                </a:cubicBezTo>
                <a:cubicBezTo>
                  <a:pt x="2577515" y="3728251"/>
                  <a:pt x="2574940" y="3725189"/>
                  <a:pt x="2575802" y="3721446"/>
                </a:cubicBezTo>
                <a:cubicBezTo>
                  <a:pt x="2576664" y="3717703"/>
                  <a:pt x="2579238" y="3714641"/>
                  <a:pt x="2581523" y="3714641"/>
                </a:cubicBezTo>
                <a:close/>
                <a:moveTo>
                  <a:pt x="1636912" y="3707003"/>
                </a:moveTo>
                <a:cubicBezTo>
                  <a:pt x="1641037" y="3704711"/>
                  <a:pt x="1642869" y="3705686"/>
                  <a:pt x="1641308" y="3709343"/>
                </a:cubicBezTo>
                <a:cubicBezTo>
                  <a:pt x="1639836" y="3712791"/>
                  <a:pt x="1643575" y="3718335"/>
                  <a:pt x="1649617" y="3721661"/>
                </a:cubicBezTo>
                <a:cubicBezTo>
                  <a:pt x="1655660" y="3724987"/>
                  <a:pt x="1663448" y="3735671"/>
                  <a:pt x="1666924" y="3745404"/>
                </a:cubicBezTo>
                <a:cubicBezTo>
                  <a:pt x="1670401" y="3755137"/>
                  <a:pt x="1677383" y="3768522"/>
                  <a:pt x="1682439" y="3775146"/>
                </a:cubicBezTo>
                <a:cubicBezTo>
                  <a:pt x="1687496" y="3781772"/>
                  <a:pt x="1691633" y="3792215"/>
                  <a:pt x="1691633" y="3798355"/>
                </a:cubicBezTo>
                <a:cubicBezTo>
                  <a:pt x="1691633" y="3819130"/>
                  <a:pt x="1696899" y="3829545"/>
                  <a:pt x="1707406" y="3829545"/>
                </a:cubicBezTo>
                <a:cubicBezTo>
                  <a:pt x="1722195" y="3829545"/>
                  <a:pt x="1720827" y="3847204"/>
                  <a:pt x="1705845" y="3849700"/>
                </a:cubicBezTo>
                <a:cubicBezTo>
                  <a:pt x="1697234" y="3851135"/>
                  <a:pt x="1693422" y="3855749"/>
                  <a:pt x="1692422" y="3865948"/>
                </a:cubicBezTo>
                <a:cubicBezTo>
                  <a:pt x="1690837" y="3882100"/>
                  <a:pt x="1690316" y="3882167"/>
                  <a:pt x="1670861" y="3868731"/>
                </a:cubicBezTo>
                <a:cubicBezTo>
                  <a:pt x="1663044" y="3863332"/>
                  <a:pt x="1656649" y="3855297"/>
                  <a:pt x="1656649" y="3850875"/>
                </a:cubicBezTo>
                <a:cubicBezTo>
                  <a:pt x="1656649" y="3846454"/>
                  <a:pt x="1653206" y="3839680"/>
                  <a:pt x="1648997" y="3835823"/>
                </a:cubicBezTo>
                <a:cubicBezTo>
                  <a:pt x="1643517" y="3830801"/>
                  <a:pt x="1642896" y="3827866"/>
                  <a:pt x="1646810" y="3825485"/>
                </a:cubicBezTo>
                <a:cubicBezTo>
                  <a:pt x="1649816" y="3823656"/>
                  <a:pt x="1652276" y="3817048"/>
                  <a:pt x="1652276" y="3810800"/>
                </a:cubicBezTo>
                <a:cubicBezTo>
                  <a:pt x="1652276" y="3794762"/>
                  <a:pt x="1642985" y="3785837"/>
                  <a:pt x="1632598" y="3791898"/>
                </a:cubicBezTo>
                <a:cubicBezTo>
                  <a:pt x="1619750" y="3799395"/>
                  <a:pt x="1617293" y="3798890"/>
                  <a:pt x="1617293" y="3788754"/>
                </a:cubicBezTo>
                <a:cubicBezTo>
                  <a:pt x="1617293" y="3783728"/>
                  <a:pt x="1621429" y="3775422"/>
                  <a:pt x="1626485" y="3770295"/>
                </a:cubicBezTo>
                <a:cubicBezTo>
                  <a:pt x="1634218" y="3762454"/>
                  <a:pt x="1635214" y="3757000"/>
                  <a:pt x="1632758" y="3735953"/>
                </a:cubicBezTo>
                <a:cubicBezTo>
                  <a:pt x="1630444" y="3716125"/>
                  <a:pt x="1631307" y="3710117"/>
                  <a:pt x="1636912" y="3707003"/>
                </a:cubicBezTo>
                <a:close/>
                <a:moveTo>
                  <a:pt x="777691" y="3702928"/>
                </a:moveTo>
                <a:cubicBezTo>
                  <a:pt x="783522" y="3702928"/>
                  <a:pt x="786437" y="3707149"/>
                  <a:pt x="786437" y="3715590"/>
                </a:cubicBezTo>
                <a:cubicBezTo>
                  <a:pt x="786437" y="3729940"/>
                  <a:pt x="781903" y="3731816"/>
                  <a:pt x="774193" y="3720654"/>
                </a:cubicBezTo>
                <a:cubicBezTo>
                  <a:pt x="766484" y="3709493"/>
                  <a:pt x="767779" y="3702928"/>
                  <a:pt x="777691" y="3702928"/>
                </a:cubicBezTo>
                <a:close/>
                <a:moveTo>
                  <a:pt x="2265717" y="3690468"/>
                </a:moveTo>
                <a:cubicBezTo>
                  <a:pt x="2258314" y="3690659"/>
                  <a:pt x="2258307" y="3691087"/>
                  <a:pt x="2265579" y="3699080"/>
                </a:cubicBezTo>
                <a:cubicBezTo>
                  <a:pt x="2269788" y="3703705"/>
                  <a:pt x="2273387" y="3711449"/>
                  <a:pt x="2273577" y="3716288"/>
                </a:cubicBezTo>
                <a:cubicBezTo>
                  <a:pt x="2273840" y="3722989"/>
                  <a:pt x="2274459" y="3723150"/>
                  <a:pt x="2276176" y="3716964"/>
                </a:cubicBezTo>
                <a:cubicBezTo>
                  <a:pt x="2277416" y="3712496"/>
                  <a:pt x="2277322" y="3704662"/>
                  <a:pt x="2275968" y="3699554"/>
                </a:cubicBezTo>
                <a:cubicBezTo>
                  <a:pt x="2274614" y="3694446"/>
                  <a:pt x="2270001" y="3690357"/>
                  <a:pt x="2265717" y="3690468"/>
                </a:cubicBezTo>
                <a:close/>
                <a:moveTo>
                  <a:pt x="4393541" y="3685390"/>
                </a:moveTo>
                <a:cubicBezTo>
                  <a:pt x="4407007" y="3683826"/>
                  <a:pt x="4408035" y="3684924"/>
                  <a:pt x="4405396" y="3698051"/>
                </a:cubicBezTo>
                <a:cubicBezTo>
                  <a:pt x="4396982" y="3739892"/>
                  <a:pt x="4397299" y="3752219"/>
                  <a:pt x="4406971" y="3759714"/>
                </a:cubicBezTo>
                <a:cubicBezTo>
                  <a:pt x="4414177" y="3765297"/>
                  <a:pt x="4416149" y="3771834"/>
                  <a:pt x="4415127" y="3786745"/>
                </a:cubicBezTo>
                <a:cubicBezTo>
                  <a:pt x="4413808" y="3805985"/>
                  <a:pt x="4407473" y="3815139"/>
                  <a:pt x="4401479" y="3806464"/>
                </a:cubicBezTo>
                <a:cubicBezTo>
                  <a:pt x="4399826" y="3804070"/>
                  <a:pt x="4398473" y="3794243"/>
                  <a:pt x="4398473" y="3784626"/>
                </a:cubicBezTo>
                <a:cubicBezTo>
                  <a:pt x="4398473" y="3775009"/>
                  <a:pt x="4395522" y="3762868"/>
                  <a:pt x="4391914" y="3757645"/>
                </a:cubicBezTo>
                <a:cubicBezTo>
                  <a:pt x="4388306" y="3752422"/>
                  <a:pt x="4385355" y="3739398"/>
                  <a:pt x="4385355" y="3728704"/>
                </a:cubicBezTo>
                <a:cubicBezTo>
                  <a:pt x="4385355" y="3715640"/>
                  <a:pt x="4383203" y="3709259"/>
                  <a:pt x="4378795" y="3709259"/>
                </a:cubicBezTo>
                <a:cubicBezTo>
                  <a:pt x="4375187" y="3709259"/>
                  <a:pt x="4372266" y="3707123"/>
                  <a:pt x="4372303" y="3704511"/>
                </a:cubicBezTo>
                <a:cubicBezTo>
                  <a:pt x="4372456" y="3693518"/>
                  <a:pt x="4379702" y="3686995"/>
                  <a:pt x="4393541" y="3685390"/>
                </a:cubicBezTo>
                <a:close/>
                <a:moveTo>
                  <a:pt x="444041" y="3678411"/>
                </a:moveTo>
                <a:cubicBezTo>
                  <a:pt x="446083" y="3677038"/>
                  <a:pt x="449144" y="3679301"/>
                  <a:pt x="453220" y="3685202"/>
                </a:cubicBezTo>
                <a:cubicBezTo>
                  <a:pt x="461267" y="3696852"/>
                  <a:pt x="459463" y="3709259"/>
                  <a:pt x="449722" y="3709259"/>
                </a:cubicBezTo>
                <a:cubicBezTo>
                  <a:pt x="443308" y="3709259"/>
                  <a:pt x="440976" y="3705038"/>
                  <a:pt x="440976" y="3693432"/>
                </a:cubicBezTo>
                <a:cubicBezTo>
                  <a:pt x="440976" y="3684792"/>
                  <a:pt x="441999" y="3679784"/>
                  <a:pt x="444041" y="3678411"/>
                </a:cubicBezTo>
                <a:close/>
                <a:moveTo>
                  <a:pt x="4470885" y="3671274"/>
                </a:moveTo>
                <a:cubicBezTo>
                  <a:pt x="4471945" y="3671274"/>
                  <a:pt x="4472813" y="3674122"/>
                  <a:pt x="4472813" y="3677605"/>
                </a:cubicBezTo>
                <a:cubicBezTo>
                  <a:pt x="4472813" y="3681087"/>
                  <a:pt x="4470729" y="3683935"/>
                  <a:pt x="4468182" y="3683935"/>
                </a:cubicBezTo>
                <a:cubicBezTo>
                  <a:pt x="4465635" y="3683935"/>
                  <a:pt x="4464767" y="3681087"/>
                  <a:pt x="4466253" y="3677605"/>
                </a:cubicBezTo>
                <a:cubicBezTo>
                  <a:pt x="4467740" y="3674122"/>
                  <a:pt x="4469825" y="3671274"/>
                  <a:pt x="4470885" y="3671274"/>
                </a:cubicBezTo>
                <a:close/>
                <a:moveTo>
                  <a:pt x="4171728" y="3669684"/>
                </a:moveTo>
                <a:cubicBezTo>
                  <a:pt x="4182148" y="3673629"/>
                  <a:pt x="4193120" y="3699191"/>
                  <a:pt x="4194226" y="3722097"/>
                </a:cubicBezTo>
                <a:cubicBezTo>
                  <a:pt x="4194724" y="3732432"/>
                  <a:pt x="4196608" y="3740894"/>
                  <a:pt x="4198412" y="3740901"/>
                </a:cubicBezTo>
                <a:cubicBezTo>
                  <a:pt x="4200216" y="3740907"/>
                  <a:pt x="4201692" y="3745186"/>
                  <a:pt x="4201692" y="3750410"/>
                </a:cubicBezTo>
                <a:cubicBezTo>
                  <a:pt x="4201692" y="3755633"/>
                  <a:pt x="4198741" y="3759906"/>
                  <a:pt x="4195132" y="3759906"/>
                </a:cubicBezTo>
                <a:cubicBezTo>
                  <a:pt x="4191525" y="3759906"/>
                  <a:pt x="4188573" y="3755633"/>
                  <a:pt x="4188573" y="3750410"/>
                </a:cubicBezTo>
                <a:cubicBezTo>
                  <a:pt x="4188573" y="3745186"/>
                  <a:pt x="4186391" y="3740913"/>
                  <a:pt x="4183725" y="3740913"/>
                </a:cubicBezTo>
                <a:cubicBezTo>
                  <a:pt x="4180698" y="3740913"/>
                  <a:pt x="4179943" y="3734777"/>
                  <a:pt x="4181714" y="3724559"/>
                </a:cubicBezTo>
                <a:cubicBezTo>
                  <a:pt x="4183943" y="3711701"/>
                  <a:pt x="4182736" y="3707519"/>
                  <a:pt x="4176068" y="3704994"/>
                </a:cubicBezTo>
                <a:cubicBezTo>
                  <a:pt x="4170917" y="3703045"/>
                  <a:pt x="4166888" y="3694907"/>
                  <a:pt x="4165810" y="3684278"/>
                </a:cubicBezTo>
                <a:cubicBezTo>
                  <a:pt x="4164369" y="3670065"/>
                  <a:pt x="4165483" y="3667320"/>
                  <a:pt x="4171728" y="3669684"/>
                </a:cubicBezTo>
                <a:close/>
                <a:moveTo>
                  <a:pt x="3781533" y="3666259"/>
                </a:moveTo>
                <a:cubicBezTo>
                  <a:pt x="3778911" y="3667379"/>
                  <a:pt x="3776058" y="3670574"/>
                  <a:pt x="3772184" y="3676181"/>
                </a:cubicBezTo>
                <a:cubicBezTo>
                  <a:pt x="3763730" y="3688422"/>
                  <a:pt x="3763132" y="3692204"/>
                  <a:pt x="3767900" y="3703257"/>
                </a:cubicBezTo>
                <a:cubicBezTo>
                  <a:pt x="3770948" y="3710324"/>
                  <a:pt x="3772274" y="3718838"/>
                  <a:pt x="3770849" y="3722178"/>
                </a:cubicBezTo>
                <a:cubicBezTo>
                  <a:pt x="3769423" y="3725518"/>
                  <a:pt x="3770340" y="3728251"/>
                  <a:pt x="3772888" y="3728251"/>
                </a:cubicBezTo>
                <a:cubicBezTo>
                  <a:pt x="3775434" y="3728251"/>
                  <a:pt x="3777518" y="3731574"/>
                  <a:pt x="3777518" y="3735634"/>
                </a:cubicBezTo>
                <a:cubicBezTo>
                  <a:pt x="3777518" y="3745550"/>
                  <a:pt x="3791721" y="3765852"/>
                  <a:pt x="3797197" y="3763763"/>
                </a:cubicBezTo>
                <a:cubicBezTo>
                  <a:pt x="3799601" y="3762847"/>
                  <a:pt x="3802141" y="3753769"/>
                  <a:pt x="3802839" y="3743591"/>
                </a:cubicBezTo>
                <a:cubicBezTo>
                  <a:pt x="3804782" y="3715301"/>
                  <a:pt x="3797843" y="3676411"/>
                  <a:pt x="3789493" y="3668785"/>
                </a:cubicBezTo>
                <a:cubicBezTo>
                  <a:pt x="3786545" y="3666092"/>
                  <a:pt x="3784154" y="3665138"/>
                  <a:pt x="3781533" y="3666259"/>
                </a:cubicBezTo>
                <a:close/>
                <a:moveTo>
                  <a:pt x="440976" y="3652281"/>
                </a:moveTo>
                <a:cubicBezTo>
                  <a:pt x="443381" y="3652281"/>
                  <a:pt x="445349" y="3654962"/>
                  <a:pt x="445349" y="3658238"/>
                </a:cubicBezTo>
                <a:cubicBezTo>
                  <a:pt x="445349" y="3661515"/>
                  <a:pt x="443381" y="3665956"/>
                  <a:pt x="440976" y="3668109"/>
                </a:cubicBezTo>
                <a:cubicBezTo>
                  <a:pt x="438571" y="3670260"/>
                  <a:pt x="436603" y="3667580"/>
                  <a:pt x="436603" y="3662151"/>
                </a:cubicBezTo>
                <a:cubicBezTo>
                  <a:pt x="436603" y="3656723"/>
                  <a:pt x="438571" y="3652281"/>
                  <a:pt x="440976" y="3652281"/>
                </a:cubicBezTo>
                <a:close/>
                <a:moveTo>
                  <a:pt x="3171373" y="3641045"/>
                </a:moveTo>
                <a:cubicBezTo>
                  <a:pt x="3176439" y="3643882"/>
                  <a:pt x="3179653" y="3659430"/>
                  <a:pt x="3181007" y="3687671"/>
                </a:cubicBezTo>
                <a:cubicBezTo>
                  <a:pt x="3181977" y="3707877"/>
                  <a:pt x="3184744" y="3727268"/>
                  <a:pt x="3187158" y="3730762"/>
                </a:cubicBezTo>
                <a:cubicBezTo>
                  <a:pt x="3194625" y="3741571"/>
                  <a:pt x="3192227" y="3759906"/>
                  <a:pt x="3183347" y="3759906"/>
                </a:cubicBezTo>
                <a:cubicBezTo>
                  <a:pt x="3177662" y="3759906"/>
                  <a:pt x="3174310" y="3753839"/>
                  <a:pt x="3172415" y="3740122"/>
                </a:cubicBezTo>
                <a:cubicBezTo>
                  <a:pt x="3170911" y="3729240"/>
                  <a:pt x="3169682" y="3712147"/>
                  <a:pt x="3169682" y="3702136"/>
                </a:cubicBezTo>
                <a:cubicBezTo>
                  <a:pt x="3169682" y="3692126"/>
                  <a:pt x="3167713" y="3683935"/>
                  <a:pt x="3165309" y="3683935"/>
                </a:cubicBezTo>
                <a:cubicBezTo>
                  <a:pt x="3159389" y="3683935"/>
                  <a:pt x="3159720" y="3647785"/>
                  <a:pt x="3165690" y="3642444"/>
                </a:cubicBezTo>
                <a:cubicBezTo>
                  <a:pt x="3167790" y="3640565"/>
                  <a:pt x="3169684" y="3640099"/>
                  <a:pt x="3171373" y="3641045"/>
                </a:cubicBezTo>
                <a:close/>
                <a:moveTo>
                  <a:pt x="4333348" y="3639619"/>
                </a:moveTo>
                <a:cubicBezTo>
                  <a:pt x="4335495" y="3639619"/>
                  <a:pt x="4337253" y="3646742"/>
                  <a:pt x="4337253" y="3655447"/>
                </a:cubicBezTo>
                <a:cubicBezTo>
                  <a:pt x="4337253" y="3671092"/>
                  <a:pt x="4331327" y="3676672"/>
                  <a:pt x="4326564" y="3665514"/>
                </a:cubicBezTo>
                <a:cubicBezTo>
                  <a:pt x="4323404" y="3658110"/>
                  <a:pt x="4328247" y="3639619"/>
                  <a:pt x="4333348" y="3639619"/>
                </a:cubicBezTo>
                <a:close/>
                <a:moveTo>
                  <a:pt x="3189618" y="3639619"/>
                </a:moveTo>
                <a:cubicBezTo>
                  <a:pt x="3190679" y="3639619"/>
                  <a:pt x="3191547" y="3642468"/>
                  <a:pt x="3191547" y="3645950"/>
                </a:cubicBezTo>
                <a:cubicBezTo>
                  <a:pt x="3191547" y="3649432"/>
                  <a:pt x="3189462" y="3652281"/>
                  <a:pt x="3186916" y="3652281"/>
                </a:cubicBezTo>
                <a:cubicBezTo>
                  <a:pt x="3184368" y="3652281"/>
                  <a:pt x="3183500" y="3649432"/>
                  <a:pt x="3184987" y="3645950"/>
                </a:cubicBezTo>
                <a:cubicBezTo>
                  <a:pt x="3186474" y="3642468"/>
                  <a:pt x="3188557" y="3639619"/>
                  <a:pt x="3189618" y="3639619"/>
                </a:cubicBezTo>
                <a:close/>
                <a:moveTo>
                  <a:pt x="682150" y="3636920"/>
                </a:moveTo>
                <a:cubicBezTo>
                  <a:pt x="682988" y="3635911"/>
                  <a:pt x="691160" y="3636436"/>
                  <a:pt x="700310" y="3638085"/>
                </a:cubicBezTo>
                <a:cubicBezTo>
                  <a:pt x="714294" y="3640607"/>
                  <a:pt x="716734" y="3643239"/>
                  <a:pt x="715615" y="3654597"/>
                </a:cubicBezTo>
                <a:cubicBezTo>
                  <a:pt x="713678" y="3674264"/>
                  <a:pt x="698421" y="3674483"/>
                  <a:pt x="688710" y="3654982"/>
                </a:cubicBezTo>
                <a:cubicBezTo>
                  <a:pt x="684265" y="3646057"/>
                  <a:pt x="681313" y="3637928"/>
                  <a:pt x="682150" y="3636920"/>
                </a:cubicBezTo>
                <a:close/>
                <a:moveTo>
                  <a:pt x="1590882" y="3636609"/>
                </a:moveTo>
                <a:cubicBezTo>
                  <a:pt x="1596011" y="3632020"/>
                  <a:pt x="1603945" y="3642372"/>
                  <a:pt x="1604107" y="3653864"/>
                </a:cubicBezTo>
                <a:cubicBezTo>
                  <a:pt x="1604200" y="3660428"/>
                  <a:pt x="1602682" y="3659892"/>
                  <a:pt x="1593415" y="3650082"/>
                </a:cubicBezTo>
                <a:cubicBezTo>
                  <a:pt x="1587302" y="3643611"/>
                  <a:pt x="1586691" y="3640359"/>
                  <a:pt x="1590882" y="3636609"/>
                </a:cubicBezTo>
                <a:close/>
                <a:moveTo>
                  <a:pt x="4351611" y="3620852"/>
                </a:moveTo>
                <a:cubicBezTo>
                  <a:pt x="4351946" y="3620814"/>
                  <a:pt x="4352455" y="3623386"/>
                  <a:pt x="4353385" y="3628541"/>
                </a:cubicBezTo>
                <a:cubicBezTo>
                  <a:pt x="4354486" y="3634634"/>
                  <a:pt x="4358948" y="3639620"/>
                  <a:pt x="4363301" y="3639620"/>
                </a:cubicBezTo>
                <a:cubicBezTo>
                  <a:pt x="4371610" y="3639620"/>
                  <a:pt x="4378995" y="3664825"/>
                  <a:pt x="4372776" y="3671956"/>
                </a:cubicBezTo>
                <a:cubicBezTo>
                  <a:pt x="4370826" y="3674193"/>
                  <a:pt x="4369697" y="3674781"/>
                  <a:pt x="4370269" y="3673264"/>
                </a:cubicBezTo>
                <a:cubicBezTo>
                  <a:pt x="4370841" y="3671748"/>
                  <a:pt x="4366598" y="3663687"/>
                  <a:pt x="4360839" y="3655351"/>
                </a:cubicBezTo>
                <a:cubicBezTo>
                  <a:pt x="4355082" y="3647015"/>
                  <a:pt x="4350599" y="3635080"/>
                  <a:pt x="4350879" y="3628828"/>
                </a:cubicBezTo>
                <a:cubicBezTo>
                  <a:pt x="4351115" y="3623540"/>
                  <a:pt x="4351276" y="3620890"/>
                  <a:pt x="4351611" y="3620852"/>
                </a:cubicBezTo>
                <a:close/>
                <a:moveTo>
                  <a:pt x="1737013" y="3614296"/>
                </a:moveTo>
                <a:cubicBezTo>
                  <a:pt x="1729036" y="3614296"/>
                  <a:pt x="1726616" y="3617735"/>
                  <a:pt x="1726616" y="3629068"/>
                </a:cubicBezTo>
                <a:cubicBezTo>
                  <a:pt x="1726616" y="3653909"/>
                  <a:pt x="1738955" y="3660646"/>
                  <a:pt x="1751414" y="3642608"/>
                </a:cubicBezTo>
                <a:cubicBezTo>
                  <a:pt x="1760065" y="3630084"/>
                  <a:pt x="1752034" y="3614296"/>
                  <a:pt x="1737013" y="3614296"/>
                </a:cubicBezTo>
                <a:close/>
                <a:moveTo>
                  <a:pt x="807126" y="3610806"/>
                </a:moveTo>
                <a:cubicBezTo>
                  <a:pt x="808349" y="3613130"/>
                  <a:pt x="808030" y="3617221"/>
                  <a:pt x="805224" y="3621284"/>
                </a:cubicBezTo>
                <a:cubicBezTo>
                  <a:pt x="802084" y="3625831"/>
                  <a:pt x="799638" y="3625940"/>
                  <a:pt x="797792" y="3621616"/>
                </a:cubicBezTo>
                <a:cubicBezTo>
                  <a:pt x="796279" y="3618071"/>
                  <a:pt x="797171" y="3613264"/>
                  <a:pt x="799775" y="3610934"/>
                </a:cubicBezTo>
                <a:cubicBezTo>
                  <a:pt x="803137" y="3607926"/>
                  <a:pt x="805903" y="3608482"/>
                  <a:pt x="807126" y="3610806"/>
                </a:cubicBezTo>
                <a:close/>
                <a:moveTo>
                  <a:pt x="2205452" y="3601634"/>
                </a:moveTo>
                <a:cubicBezTo>
                  <a:pt x="2201844" y="3601634"/>
                  <a:pt x="2198892" y="3604483"/>
                  <a:pt x="2198892" y="3607965"/>
                </a:cubicBezTo>
                <a:cubicBezTo>
                  <a:pt x="2198892" y="3611447"/>
                  <a:pt x="2201844" y="3614296"/>
                  <a:pt x="2205452" y="3614296"/>
                </a:cubicBezTo>
                <a:cubicBezTo>
                  <a:pt x="2209059" y="3614296"/>
                  <a:pt x="2212011" y="3611447"/>
                  <a:pt x="2212011" y="3607965"/>
                </a:cubicBezTo>
                <a:cubicBezTo>
                  <a:pt x="2212011" y="3604483"/>
                  <a:pt x="2209059" y="3601634"/>
                  <a:pt x="2205452" y="3601634"/>
                </a:cubicBezTo>
                <a:close/>
                <a:moveTo>
                  <a:pt x="2052748" y="3583925"/>
                </a:moveTo>
                <a:cubicBezTo>
                  <a:pt x="2039055" y="3586759"/>
                  <a:pt x="2037764" y="3623601"/>
                  <a:pt x="2050662" y="3643478"/>
                </a:cubicBezTo>
                <a:cubicBezTo>
                  <a:pt x="2061876" y="3660759"/>
                  <a:pt x="2072077" y="3663267"/>
                  <a:pt x="2072077" y="3648742"/>
                </a:cubicBezTo>
                <a:cubicBezTo>
                  <a:pt x="2072077" y="3643018"/>
                  <a:pt x="2074153" y="3640729"/>
                  <a:pt x="2077017" y="3643293"/>
                </a:cubicBezTo>
                <a:cubicBezTo>
                  <a:pt x="2079734" y="3645724"/>
                  <a:pt x="2081070" y="3645179"/>
                  <a:pt x="2079985" y="3642083"/>
                </a:cubicBezTo>
                <a:cubicBezTo>
                  <a:pt x="2078900" y="3638987"/>
                  <a:pt x="2074374" y="3624211"/>
                  <a:pt x="2069928" y="3609249"/>
                </a:cubicBezTo>
                <a:cubicBezTo>
                  <a:pt x="2063652" y="3588133"/>
                  <a:pt x="2059807" y="3582465"/>
                  <a:pt x="2052748" y="3583925"/>
                </a:cubicBezTo>
                <a:close/>
                <a:moveTo>
                  <a:pt x="2102688" y="3582642"/>
                </a:moveTo>
                <a:cubicBezTo>
                  <a:pt x="2091905" y="3582642"/>
                  <a:pt x="2087616" y="3595839"/>
                  <a:pt x="2091367" y="3617476"/>
                </a:cubicBezTo>
                <a:cubicBezTo>
                  <a:pt x="2093125" y="3627617"/>
                  <a:pt x="2097186" y="3633289"/>
                  <a:pt x="2102688" y="3633289"/>
                </a:cubicBezTo>
                <a:cubicBezTo>
                  <a:pt x="2108190" y="3633289"/>
                  <a:pt x="2112250" y="3627617"/>
                  <a:pt x="2114008" y="3617476"/>
                </a:cubicBezTo>
                <a:cubicBezTo>
                  <a:pt x="2117759" y="3595839"/>
                  <a:pt x="2113470" y="3582642"/>
                  <a:pt x="2102688" y="3582642"/>
                </a:cubicBezTo>
                <a:close/>
                <a:moveTo>
                  <a:pt x="2147146" y="3571020"/>
                </a:moveTo>
                <a:cubicBezTo>
                  <a:pt x="2141182" y="3572202"/>
                  <a:pt x="2137807" y="3585205"/>
                  <a:pt x="2137738" y="3608493"/>
                </a:cubicBezTo>
                <a:cubicBezTo>
                  <a:pt x="2137660" y="3635013"/>
                  <a:pt x="2140599" y="3640832"/>
                  <a:pt x="2152797" y="3638304"/>
                </a:cubicBezTo>
                <a:cubicBezTo>
                  <a:pt x="2160233" y="3636763"/>
                  <a:pt x="2161723" y="3631816"/>
                  <a:pt x="2161723" y="3608655"/>
                </a:cubicBezTo>
                <a:cubicBezTo>
                  <a:pt x="2161723" y="3588863"/>
                  <a:pt x="2159482" y="3578834"/>
                  <a:pt x="2153945" y="3573836"/>
                </a:cubicBezTo>
                <a:cubicBezTo>
                  <a:pt x="2151409" y="3571546"/>
                  <a:pt x="2149133" y="3570627"/>
                  <a:pt x="2147146" y="3571020"/>
                </a:cubicBezTo>
                <a:close/>
                <a:moveTo>
                  <a:pt x="1798001" y="3564738"/>
                </a:moveTo>
                <a:cubicBezTo>
                  <a:pt x="1781204" y="3569368"/>
                  <a:pt x="1787367" y="3690226"/>
                  <a:pt x="1804404" y="3690298"/>
                </a:cubicBezTo>
                <a:cubicBezTo>
                  <a:pt x="1808521" y="3690317"/>
                  <a:pt x="1817791" y="3697377"/>
                  <a:pt x="1825007" y="3705989"/>
                </a:cubicBezTo>
                <a:cubicBezTo>
                  <a:pt x="1839540" y="3723338"/>
                  <a:pt x="1848022" y="3724009"/>
                  <a:pt x="1854833" y="3708350"/>
                </a:cubicBezTo>
                <a:cubicBezTo>
                  <a:pt x="1858206" y="3700595"/>
                  <a:pt x="1857490" y="3695239"/>
                  <a:pt x="1852022" y="3687323"/>
                </a:cubicBezTo>
                <a:cubicBezTo>
                  <a:pt x="1847987" y="3681480"/>
                  <a:pt x="1844685" y="3672630"/>
                  <a:pt x="1844685" y="3667656"/>
                </a:cubicBezTo>
                <a:cubicBezTo>
                  <a:pt x="1844685" y="3662682"/>
                  <a:pt x="1842507" y="3658612"/>
                  <a:pt x="1839844" y="3658612"/>
                </a:cubicBezTo>
                <a:cubicBezTo>
                  <a:pt x="1837182" y="3658612"/>
                  <a:pt x="1836165" y="3654231"/>
                  <a:pt x="1837584" y="3648876"/>
                </a:cubicBezTo>
                <a:cubicBezTo>
                  <a:pt x="1839003" y="3643522"/>
                  <a:pt x="1837479" y="3637647"/>
                  <a:pt x="1834195" y="3635824"/>
                </a:cubicBezTo>
                <a:cubicBezTo>
                  <a:pt x="1830912" y="3634000"/>
                  <a:pt x="1827039" y="3621768"/>
                  <a:pt x="1825589" y="3608642"/>
                </a:cubicBezTo>
                <a:cubicBezTo>
                  <a:pt x="1822611" y="3581679"/>
                  <a:pt x="1809905" y="3561458"/>
                  <a:pt x="1798001" y="3564738"/>
                </a:cubicBezTo>
                <a:close/>
                <a:moveTo>
                  <a:pt x="4146521" y="3557318"/>
                </a:moveTo>
                <a:cubicBezTo>
                  <a:pt x="4149847" y="3557318"/>
                  <a:pt x="4153705" y="3563604"/>
                  <a:pt x="4155093" y="3571287"/>
                </a:cubicBezTo>
                <a:cubicBezTo>
                  <a:pt x="4158027" y="3587536"/>
                  <a:pt x="4158105" y="3587392"/>
                  <a:pt x="4148124" y="3584178"/>
                </a:cubicBezTo>
                <a:cubicBezTo>
                  <a:pt x="4139112" y="3581276"/>
                  <a:pt x="4137681" y="3557318"/>
                  <a:pt x="4146521" y="3557318"/>
                </a:cubicBezTo>
                <a:close/>
                <a:moveTo>
                  <a:pt x="1509191" y="3547053"/>
                </a:moveTo>
                <a:cubicBezTo>
                  <a:pt x="1508732" y="3547719"/>
                  <a:pt x="1508420" y="3549938"/>
                  <a:pt x="1508315" y="3553625"/>
                </a:cubicBezTo>
                <a:cubicBezTo>
                  <a:pt x="1508125" y="3560299"/>
                  <a:pt x="1509159" y="3564039"/>
                  <a:pt x="1510612" y="3561935"/>
                </a:cubicBezTo>
                <a:cubicBezTo>
                  <a:pt x="1512065" y="3559831"/>
                  <a:pt x="1512220" y="3554371"/>
                  <a:pt x="1510957" y="3549800"/>
                </a:cubicBezTo>
                <a:lnTo>
                  <a:pt x="1510957" y="3549800"/>
                </a:lnTo>
                <a:cubicBezTo>
                  <a:pt x="1510259" y="3547275"/>
                  <a:pt x="1509651" y="3546388"/>
                  <a:pt x="1509191" y="3547053"/>
                </a:cubicBezTo>
                <a:close/>
                <a:moveTo>
                  <a:pt x="4384535" y="3546663"/>
                </a:moveTo>
                <a:cubicBezTo>
                  <a:pt x="4381046" y="3548684"/>
                  <a:pt x="4382082" y="3550184"/>
                  <a:pt x="4387177" y="3550488"/>
                </a:cubicBezTo>
                <a:cubicBezTo>
                  <a:pt x="4391786" y="3550763"/>
                  <a:pt x="4394370" y="3549267"/>
                  <a:pt x="4392916" y="3547163"/>
                </a:cubicBezTo>
                <a:lnTo>
                  <a:pt x="4392916" y="3547162"/>
                </a:lnTo>
                <a:cubicBezTo>
                  <a:pt x="4391463" y="3545059"/>
                  <a:pt x="4387691" y="3544834"/>
                  <a:pt x="4384535" y="3546663"/>
                </a:cubicBezTo>
                <a:close/>
                <a:moveTo>
                  <a:pt x="2522488" y="3535161"/>
                </a:moveTo>
                <a:cubicBezTo>
                  <a:pt x="2507315" y="3535161"/>
                  <a:pt x="2502057" y="3552202"/>
                  <a:pt x="2512028" y="3569062"/>
                </a:cubicBezTo>
                <a:cubicBezTo>
                  <a:pt x="2521362" y="3584844"/>
                  <a:pt x="2530250" y="3584610"/>
                  <a:pt x="2537303" y="3568397"/>
                </a:cubicBezTo>
                <a:cubicBezTo>
                  <a:pt x="2543826" y="3553401"/>
                  <a:pt x="2535696" y="3535161"/>
                  <a:pt x="2522488" y="3535161"/>
                </a:cubicBezTo>
                <a:close/>
                <a:moveTo>
                  <a:pt x="4512472" y="3529100"/>
                </a:moveTo>
                <a:cubicBezTo>
                  <a:pt x="4518537" y="3534527"/>
                  <a:pt x="4517405" y="3538326"/>
                  <a:pt x="4509725" y="3538326"/>
                </a:cubicBezTo>
                <a:cubicBezTo>
                  <a:pt x="4505975" y="3538326"/>
                  <a:pt x="4504144" y="3535430"/>
                  <a:pt x="4505654" y="3531892"/>
                </a:cubicBezTo>
                <a:cubicBezTo>
                  <a:pt x="4507165" y="3528353"/>
                  <a:pt x="4510233" y="3527096"/>
                  <a:pt x="4512472" y="3529100"/>
                </a:cubicBezTo>
                <a:close/>
                <a:moveTo>
                  <a:pt x="1784685" y="3528061"/>
                </a:moveTo>
                <a:cubicBezTo>
                  <a:pt x="1785145" y="3527396"/>
                  <a:pt x="1785753" y="3528283"/>
                  <a:pt x="1786451" y="3530808"/>
                </a:cubicBezTo>
                <a:cubicBezTo>
                  <a:pt x="1787714" y="3535378"/>
                  <a:pt x="1787559" y="3540839"/>
                  <a:pt x="1786106" y="3542942"/>
                </a:cubicBezTo>
                <a:cubicBezTo>
                  <a:pt x="1784653" y="3545046"/>
                  <a:pt x="1783620" y="3541307"/>
                  <a:pt x="1783809" y="3534633"/>
                </a:cubicBezTo>
                <a:cubicBezTo>
                  <a:pt x="1783914" y="3530946"/>
                  <a:pt x="1784226" y="3528727"/>
                  <a:pt x="1784685" y="3528061"/>
                </a:cubicBezTo>
                <a:close/>
                <a:moveTo>
                  <a:pt x="2708921" y="3527919"/>
                </a:moveTo>
                <a:cubicBezTo>
                  <a:pt x="2712790" y="3526048"/>
                  <a:pt x="2717257" y="3527196"/>
                  <a:pt x="2719644" y="3532655"/>
                </a:cubicBezTo>
                <a:cubicBezTo>
                  <a:pt x="2725875" y="3546899"/>
                  <a:pt x="2724328" y="3550987"/>
                  <a:pt x="2712711" y="3550987"/>
                </a:cubicBezTo>
                <a:cubicBezTo>
                  <a:pt x="2705809" y="3550987"/>
                  <a:pt x="2701779" y="3547414"/>
                  <a:pt x="2701779" y="3541293"/>
                </a:cubicBezTo>
                <a:cubicBezTo>
                  <a:pt x="2701779" y="3534679"/>
                  <a:pt x="2705051" y="3529790"/>
                  <a:pt x="2708921" y="3527919"/>
                </a:cubicBezTo>
                <a:close/>
                <a:moveTo>
                  <a:pt x="4454649" y="3527292"/>
                </a:moveTo>
                <a:cubicBezTo>
                  <a:pt x="4457341" y="3526735"/>
                  <a:pt x="4459694" y="3529043"/>
                  <a:pt x="4459694" y="3534633"/>
                </a:cubicBezTo>
                <a:cubicBezTo>
                  <a:pt x="4459694" y="3540146"/>
                  <a:pt x="4456578" y="3544657"/>
                  <a:pt x="4452770" y="3544657"/>
                </a:cubicBezTo>
                <a:cubicBezTo>
                  <a:pt x="4448962" y="3544657"/>
                  <a:pt x="4446626" y="3541273"/>
                  <a:pt x="4447578" y="3537139"/>
                </a:cubicBezTo>
                <a:cubicBezTo>
                  <a:pt x="4448929" y="3531270"/>
                  <a:pt x="4451958" y="3527848"/>
                  <a:pt x="4454649" y="3527292"/>
                </a:cubicBezTo>
                <a:close/>
                <a:moveTo>
                  <a:pt x="4330693" y="3513002"/>
                </a:moveTo>
                <a:cubicBezTo>
                  <a:pt x="4334301" y="3513002"/>
                  <a:pt x="4337253" y="3517444"/>
                  <a:pt x="4337253" y="3522872"/>
                </a:cubicBezTo>
                <a:cubicBezTo>
                  <a:pt x="4337253" y="3528301"/>
                  <a:pt x="4339220" y="3530981"/>
                  <a:pt x="4341625" y="3528830"/>
                </a:cubicBezTo>
                <a:cubicBezTo>
                  <a:pt x="4344031" y="3526678"/>
                  <a:pt x="4345998" y="3527934"/>
                  <a:pt x="4345998" y="3531621"/>
                </a:cubicBezTo>
                <a:cubicBezTo>
                  <a:pt x="4345998" y="3538577"/>
                  <a:pt x="4344596" y="3538808"/>
                  <a:pt x="4331787" y="3533962"/>
                </a:cubicBezTo>
                <a:cubicBezTo>
                  <a:pt x="4322453" y="3530431"/>
                  <a:pt x="4321544" y="3513002"/>
                  <a:pt x="4330693" y="3513002"/>
                </a:cubicBezTo>
                <a:close/>
                <a:moveTo>
                  <a:pt x="1781278" y="3513002"/>
                </a:moveTo>
                <a:cubicBezTo>
                  <a:pt x="1778259" y="3513002"/>
                  <a:pt x="1773340" y="3517275"/>
                  <a:pt x="1770345" y="3522499"/>
                </a:cubicBezTo>
                <a:cubicBezTo>
                  <a:pt x="1766002" y="3530075"/>
                  <a:pt x="1766002" y="3533915"/>
                  <a:pt x="1770345" y="3541491"/>
                </a:cubicBezTo>
                <a:cubicBezTo>
                  <a:pt x="1773340" y="3546714"/>
                  <a:pt x="1778259" y="3550987"/>
                  <a:pt x="1781278" y="3550987"/>
                </a:cubicBezTo>
                <a:cubicBezTo>
                  <a:pt x="1784296" y="3550987"/>
                  <a:pt x="1789216" y="3546714"/>
                  <a:pt x="1792210" y="3541491"/>
                </a:cubicBezTo>
                <a:cubicBezTo>
                  <a:pt x="1796553" y="3533915"/>
                  <a:pt x="1796553" y="3530075"/>
                  <a:pt x="1792210" y="3522499"/>
                </a:cubicBezTo>
                <a:cubicBezTo>
                  <a:pt x="1789216" y="3517275"/>
                  <a:pt x="1784296" y="3513002"/>
                  <a:pt x="1781278" y="3513002"/>
                </a:cubicBezTo>
                <a:close/>
                <a:moveTo>
                  <a:pt x="2765727" y="3506671"/>
                </a:moveTo>
                <a:cubicBezTo>
                  <a:pt x="2772587" y="3506671"/>
                  <a:pt x="2773316" y="3511755"/>
                  <a:pt x="2771915" y="3549820"/>
                </a:cubicBezTo>
                <a:cubicBezTo>
                  <a:pt x="2771281" y="3567051"/>
                  <a:pt x="2773350" y="3581080"/>
                  <a:pt x="2777517" y="3587805"/>
                </a:cubicBezTo>
                <a:cubicBezTo>
                  <a:pt x="2785544" y="3600760"/>
                  <a:pt x="2785603" y="3645950"/>
                  <a:pt x="2777592" y="3645950"/>
                </a:cubicBezTo>
                <a:cubicBezTo>
                  <a:pt x="2774546" y="3645950"/>
                  <a:pt x="2769842" y="3639969"/>
                  <a:pt x="2767140" y="3632658"/>
                </a:cubicBezTo>
                <a:cubicBezTo>
                  <a:pt x="2763472" y="3622736"/>
                  <a:pt x="2759317" y="3620170"/>
                  <a:pt x="2750756" y="3622540"/>
                </a:cubicBezTo>
                <a:cubicBezTo>
                  <a:pt x="2743212" y="3624627"/>
                  <a:pt x="2737404" y="3622134"/>
                  <a:pt x="2733789" y="3615257"/>
                </a:cubicBezTo>
                <a:cubicBezTo>
                  <a:pt x="2726359" y="3601118"/>
                  <a:pt x="2726680" y="3595303"/>
                  <a:pt x="2734887" y="3595303"/>
                </a:cubicBezTo>
                <a:cubicBezTo>
                  <a:pt x="2747519" y="3595303"/>
                  <a:pt x="2755756" y="3575677"/>
                  <a:pt x="2757753" y="3540827"/>
                </a:cubicBezTo>
                <a:cubicBezTo>
                  <a:pt x="2759094" y="3517425"/>
                  <a:pt x="2761605" y="3506671"/>
                  <a:pt x="2765727" y="3506671"/>
                </a:cubicBezTo>
                <a:close/>
                <a:moveTo>
                  <a:pt x="740522" y="3475017"/>
                </a:moveTo>
                <a:cubicBezTo>
                  <a:pt x="744129" y="3475017"/>
                  <a:pt x="747081" y="3479290"/>
                  <a:pt x="747081" y="3484514"/>
                </a:cubicBezTo>
                <a:cubicBezTo>
                  <a:pt x="747081" y="3489737"/>
                  <a:pt x="744129" y="3494010"/>
                  <a:pt x="740522" y="3494010"/>
                </a:cubicBezTo>
                <a:cubicBezTo>
                  <a:pt x="736914" y="3494010"/>
                  <a:pt x="733962" y="3489737"/>
                  <a:pt x="733962" y="3484514"/>
                </a:cubicBezTo>
                <a:cubicBezTo>
                  <a:pt x="733962" y="3479290"/>
                  <a:pt x="736914" y="3475017"/>
                  <a:pt x="740522" y="3475017"/>
                </a:cubicBezTo>
                <a:close/>
                <a:moveTo>
                  <a:pt x="2881943" y="3462355"/>
                </a:moveTo>
                <a:cubicBezTo>
                  <a:pt x="2894195" y="3462355"/>
                  <a:pt x="2891755" y="3486670"/>
                  <a:pt x="2878636" y="3495324"/>
                </a:cubicBezTo>
                <a:cubicBezTo>
                  <a:pt x="2869292" y="3501488"/>
                  <a:pt x="2867766" y="3506034"/>
                  <a:pt x="2869346" y="3523011"/>
                </a:cubicBezTo>
                <a:cubicBezTo>
                  <a:pt x="2871849" y="3549903"/>
                  <a:pt x="2875441" y="3557318"/>
                  <a:pt x="2885957" y="3557318"/>
                </a:cubicBezTo>
                <a:cubicBezTo>
                  <a:pt x="2890768" y="3557318"/>
                  <a:pt x="2893487" y="3554470"/>
                  <a:pt x="2892001" y="3550987"/>
                </a:cubicBezTo>
                <a:cubicBezTo>
                  <a:pt x="2890515" y="3547505"/>
                  <a:pt x="2893450" y="3544657"/>
                  <a:pt x="2898525" y="3544657"/>
                </a:cubicBezTo>
                <a:cubicBezTo>
                  <a:pt x="2906735" y="3544657"/>
                  <a:pt x="2907560" y="3547620"/>
                  <a:pt x="2906022" y="3571563"/>
                </a:cubicBezTo>
                <a:cubicBezTo>
                  <a:pt x="2904716" y="3591896"/>
                  <a:pt x="2902259" y="3599006"/>
                  <a:pt x="2895961" y="3600666"/>
                </a:cubicBezTo>
                <a:cubicBezTo>
                  <a:pt x="2891378" y="3601875"/>
                  <a:pt x="2885758" y="3605436"/>
                  <a:pt x="2883473" y="3608579"/>
                </a:cubicBezTo>
                <a:cubicBezTo>
                  <a:pt x="2877147" y="3617286"/>
                  <a:pt x="2873437" y="3615573"/>
                  <a:pt x="2866193" y="3600603"/>
                </a:cubicBezTo>
                <a:cubicBezTo>
                  <a:pt x="2862551" y="3593071"/>
                  <a:pt x="2860640" y="3584400"/>
                  <a:pt x="2861950" y="3581332"/>
                </a:cubicBezTo>
                <a:cubicBezTo>
                  <a:pt x="2863259" y="3578266"/>
                  <a:pt x="2861976" y="3571647"/>
                  <a:pt x="2859095" y="3566625"/>
                </a:cubicBezTo>
                <a:cubicBezTo>
                  <a:pt x="2856216" y="3561602"/>
                  <a:pt x="2854647" y="3547741"/>
                  <a:pt x="2855607" y="3535822"/>
                </a:cubicBezTo>
                <a:cubicBezTo>
                  <a:pt x="2857084" y="3517519"/>
                  <a:pt x="2855474" y="3512542"/>
                  <a:pt x="2845247" y="3503796"/>
                </a:cubicBezTo>
                <a:cubicBezTo>
                  <a:pt x="2834450" y="3494563"/>
                  <a:pt x="2833721" y="3491927"/>
                  <a:pt x="2838518" y="3479481"/>
                </a:cubicBezTo>
                <a:cubicBezTo>
                  <a:pt x="2841477" y="3471803"/>
                  <a:pt x="2844199" y="3464611"/>
                  <a:pt x="2844567" y="3463500"/>
                </a:cubicBezTo>
                <a:cubicBezTo>
                  <a:pt x="2844933" y="3462388"/>
                  <a:pt x="2849312" y="3465166"/>
                  <a:pt x="2854296" y="3469672"/>
                </a:cubicBezTo>
                <a:cubicBezTo>
                  <a:pt x="2861447" y="3476138"/>
                  <a:pt x="2864488" y="3476230"/>
                  <a:pt x="2868715" y="3470111"/>
                </a:cubicBezTo>
                <a:cubicBezTo>
                  <a:pt x="2871661" y="3465846"/>
                  <a:pt x="2877614" y="3462355"/>
                  <a:pt x="2881943" y="3462355"/>
                </a:cubicBezTo>
                <a:close/>
                <a:moveTo>
                  <a:pt x="3212720" y="3424461"/>
                </a:moveTo>
                <a:cubicBezTo>
                  <a:pt x="3210761" y="3424317"/>
                  <a:pt x="3208239" y="3426087"/>
                  <a:pt x="3204212" y="3429702"/>
                </a:cubicBezTo>
                <a:cubicBezTo>
                  <a:pt x="3196994" y="3436182"/>
                  <a:pt x="3193983" y="3436409"/>
                  <a:pt x="3191529" y="3430662"/>
                </a:cubicBezTo>
                <a:cubicBezTo>
                  <a:pt x="3185716" y="3417044"/>
                  <a:pt x="3171810" y="3426461"/>
                  <a:pt x="3172515" y="3443537"/>
                </a:cubicBezTo>
                <a:cubicBezTo>
                  <a:pt x="3174170" y="3483584"/>
                  <a:pt x="3176852" y="3497988"/>
                  <a:pt x="3184563" y="3508254"/>
                </a:cubicBezTo>
                <a:cubicBezTo>
                  <a:pt x="3194326" y="3521253"/>
                  <a:pt x="3200919" y="3522226"/>
                  <a:pt x="3208164" y="3511736"/>
                </a:cubicBezTo>
                <a:cubicBezTo>
                  <a:pt x="3214518" y="3502537"/>
                  <a:pt x="3215128" y="3481348"/>
                  <a:pt x="3209038" y="3481348"/>
                </a:cubicBezTo>
                <a:cubicBezTo>
                  <a:pt x="3200919" y="3481348"/>
                  <a:pt x="3204591" y="3463861"/>
                  <a:pt x="3213411" y="3460521"/>
                </a:cubicBezTo>
                <a:cubicBezTo>
                  <a:pt x="3222848" y="3456948"/>
                  <a:pt x="3224502" y="3445839"/>
                  <a:pt x="3217851" y="3430701"/>
                </a:cubicBezTo>
                <a:cubicBezTo>
                  <a:pt x="3216075" y="3426661"/>
                  <a:pt x="3214679" y="3424604"/>
                  <a:pt x="3212720" y="3424461"/>
                </a:cubicBezTo>
                <a:close/>
                <a:moveTo>
                  <a:pt x="4431270" y="3405378"/>
                </a:moveTo>
                <a:cubicBezTo>
                  <a:pt x="4439132" y="3405378"/>
                  <a:pt x="4442203" y="3408789"/>
                  <a:pt x="4442203" y="3417522"/>
                </a:cubicBezTo>
                <a:cubicBezTo>
                  <a:pt x="4442203" y="3424201"/>
                  <a:pt x="4443397" y="3434172"/>
                  <a:pt x="4444857" y="3439680"/>
                </a:cubicBezTo>
                <a:cubicBezTo>
                  <a:pt x="4448227" y="3452396"/>
                  <a:pt x="4442500" y="3452457"/>
                  <a:pt x="4430057" y="3439839"/>
                </a:cubicBezTo>
                <a:cubicBezTo>
                  <a:pt x="4416418" y="3426008"/>
                  <a:pt x="4417145" y="3405378"/>
                  <a:pt x="4431270" y="3405378"/>
                </a:cubicBezTo>
                <a:close/>
                <a:moveTo>
                  <a:pt x="549890" y="3399047"/>
                </a:moveTo>
                <a:cubicBezTo>
                  <a:pt x="545314" y="3399047"/>
                  <a:pt x="544506" y="3420204"/>
                  <a:pt x="548842" y="3426481"/>
                </a:cubicBezTo>
                <a:cubicBezTo>
                  <a:pt x="550445" y="3428802"/>
                  <a:pt x="554873" y="3430371"/>
                  <a:pt x="558681" y="3429967"/>
                </a:cubicBezTo>
                <a:cubicBezTo>
                  <a:pt x="563849" y="3429419"/>
                  <a:pt x="563561" y="3428469"/>
                  <a:pt x="557546" y="3426224"/>
                </a:cubicBezTo>
                <a:cubicBezTo>
                  <a:pt x="552135" y="3424204"/>
                  <a:pt x="550205" y="3419246"/>
                  <a:pt x="551671" y="3411132"/>
                </a:cubicBezTo>
                <a:cubicBezTo>
                  <a:pt x="552871" y="3404485"/>
                  <a:pt x="552070" y="3399047"/>
                  <a:pt x="549890" y="3399047"/>
                </a:cubicBezTo>
                <a:close/>
                <a:moveTo>
                  <a:pt x="4493782" y="3361062"/>
                </a:moveTo>
                <a:cubicBezTo>
                  <a:pt x="4504549" y="3361062"/>
                  <a:pt x="4512737" y="3387401"/>
                  <a:pt x="4515201" y="3429955"/>
                </a:cubicBezTo>
                <a:cubicBezTo>
                  <a:pt x="4517467" y="3469086"/>
                  <a:pt x="4516864" y="3475017"/>
                  <a:pt x="4510617" y="3475017"/>
                </a:cubicBezTo>
                <a:cubicBezTo>
                  <a:pt x="4505926" y="3475017"/>
                  <a:pt x="4503423" y="3469697"/>
                  <a:pt x="4503423" y="3459717"/>
                </a:cubicBezTo>
                <a:cubicBezTo>
                  <a:pt x="4503423" y="3451303"/>
                  <a:pt x="4501737" y="3443469"/>
                  <a:pt x="4499676" y="3442307"/>
                </a:cubicBezTo>
                <a:cubicBezTo>
                  <a:pt x="4494542" y="3439417"/>
                  <a:pt x="4488859" y="3361062"/>
                  <a:pt x="4493782" y="3361062"/>
                </a:cubicBezTo>
                <a:close/>
                <a:moveTo>
                  <a:pt x="2909492" y="3361062"/>
                </a:moveTo>
                <a:cubicBezTo>
                  <a:pt x="2913574" y="3361062"/>
                  <a:pt x="2916052" y="3367041"/>
                  <a:pt x="2916052" y="3376889"/>
                </a:cubicBezTo>
                <a:cubicBezTo>
                  <a:pt x="2916052" y="3385593"/>
                  <a:pt x="2915560" y="3392491"/>
                  <a:pt x="2914958" y="3392216"/>
                </a:cubicBezTo>
                <a:cubicBezTo>
                  <a:pt x="2914358" y="3391942"/>
                  <a:pt x="2911405" y="3390279"/>
                  <a:pt x="2908399" y="3388523"/>
                </a:cubicBezTo>
                <a:cubicBezTo>
                  <a:pt x="2900670" y="3384008"/>
                  <a:pt x="2901584" y="3361062"/>
                  <a:pt x="2909492" y="3361062"/>
                </a:cubicBezTo>
                <a:close/>
                <a:moveTo>
                  <a:pt x="4276032" y="3354731"/>
                </a:moveTo>
                <a:cubicBezTo>
                  <a:pt x="4271735" y="3354731"/>
                  <a:pt x="4267027" y="3359237"/>
                  <a:pt x="4265567" y="3364745"/>
                </a:cubicBezTo>
                <a:cubicBezTo>
                  <a:pt x="4261468" y="3380210"/>
                  <a:pt x="4262429" y="3405378"/>
                  <a:pt x="4267117" y="3405378"/>
                </a:cubicBezTo>
                <a:cubicBezTo>
                  <a:pt x="4269429" y="3405378"/>
                  <a:pt x="4273441" y="3416773"/>
                  <a:pt x="4276032" y="3430701"/>
                </a:cubicBezTo>
                <a:cubicBezTo>
                  <a:pt x="4281041" y="3457634"/>
                  <a:pt x="4291986" y="3464466"/>
                  <a:pt x="4302037" y="3446933"/>
                </a:cubicBezTo>
                <a:cubicBezTo>
                  <a:pt x="4307700" y="3437054"/>
                  <a:pt x="4301464" y="3411709"/>
                  <a:pt x="4293369" y="3411709"/>
                </a:cubicBezTo>
                <a:cubicBezTo>
                  <a:pt x="4291049" y="3411709"/>
                  <a:pt x="4289150" y="3403395"/>
                  <a:pt x="4289150" y="3393234"/>
                </a:cubicBezTo>
                <a:cubicBezTo>
                  <a:pt x="4289150" y="3366871"/>
                  <a:pt x="4285014" y="3354731"/>
                  <a:pt x="4276032" y="3354731"/>
                </a:cubicBezTo>
                <a:close/>
                <a:moveTo>
                  <a:pt x="2669069" y="3336073"/>
                </a:moveTo>
                <a:cubicBezTo>
                  <a:pt x="2665559" y="3335774"/>
                  <a:pt x="2662564" y="3338266"/>
                  <a:pt x="2661312" y="3343652"/>
                </a:cubicBezTo>
                <a:cubicBezTo>
                  <a:pt x="2659866" y="3349871"/>
                  <a:pt x="2657960" y="3349759"/>
                  <a:pt x="2652411" y="3343129"/>
                </a:cubicBezTo>
                <a:cubicBezTo>
                  <a:pt x="2648409" y="3338348"/>
                  <a:pt x="2641470" y="3336475"/>
                  <a:pt x="2636395" y="3338808"/>
                </a:cubicBezTo>
                <a:cubicBezTo>
                  <a:pt x="2629019" y="3342196"/>
                  <a:pt x="2627439" y="3348247"/>
                  <a:pt x="2627439" y="3373095"/>
                </a:cubicBezTo>
                <a:cubicBezTo>
                  <a:pt x="2627439" y="3389690"/>
                  <a:pt x="2628751" y="3405167"/>
                  <a:pt x="2630354" y="3407488"/>
                </a:cubicBezTo>
                <a:cubicBezTo>
                  <a:pt x="2635193" y="3414494"/>
                  <a:pt x="2648560" y="3412235"/>
                  <a:pt x="2652210" y="3403795"/>
                </a:cubicBezTo>
                <a:cubicBezTo>
                  <a:pt x="2654092" y="3399442"/>
                  <a:pt x="2655684" y="3391608"/>
                  <a:pt x="2655748" y="3386385"/>
                </a:cubicBezTo>
                <a:cubicBezTo>
                  <a:pt x="2655811" y="3381162"/>
                  <a:pt x="2660148" y="3376006"/>
                  <a:pt x="2665384" y="3374926"/>
                </a:cubicBezTo>
                <a:cubicBezTo>
                  <a:pt x="2679476" y="3372021"/>
                  <a:pt x="2686749" y="3357158"/>
                  <a:pt x="2679914" y="3345235"/>
                </a:cubicBezTo>
                <a:cubicBezTo>
                  <a:pt x="2676604" y="3339460"/>
                  <a:pt x="2672579" y="3336371"/>
                  <a:pt x="2669069" y="3336073"/>
                </a:cubicBezTo>
                <a:close/>
                <a:moveTo>
                  <a:pt x="587549" y="3300251"/>
                </a:moveTo>
                <a:cubicBezTo>
                  <a:pt x="585292" y="3297131"/>
                  <a:pt x="581333" y="3297816"/>
                  <a:pt x="574278" y="3300379"/>
                </a:cubicBezTo>
                <a:cubicBezTo>
                  <a:pt x="564976" y="3303760"/>
                  <a:pt x="563120" y="3307703"/>
                  <a:pt x="564236" y="3321715"/>
                </a:cubicBezTo>
                <a:cubicBezTo>
                  <a:pt x="565211" y="3333958"/>
                  <a:pt x="568436" y="3339486"/>
                  <a:pt x="575444" y="3340927"/>
                </a:cubicBezTo>
                <a:cubicBezTo>
                  <a:pt x="581595" y="3342191"/>
                  <a:pt x="585283" y="3347337"/>
                  <a:pt x="585283" y="3354654"/>
                </a:cubicBezTo>
                <a:cubicBezTo>
                  <a:pt x="585283" y="3383278"/>
                  <a:pt x="595253" y="3394742"/>
                  <a:pt x="606273" y="3378788"/>
                </a:cubicBezTo>
                <a:cubicBezTo>
                  <a:pt x="614472" y="3366918"/>
                  <a:pt x="612474" y="3354943"/>
                  <a:pt x="601264" y="3348772"/>
                </a:cubicBezTo>
                <a:cubicBezTo>
                  <a:pt x="593614" y="3344562"/>
                  <a:pt x="590907" y="3338001"/>
                  <a:pt x="590611" y="3322956"/>
                </a:cubicBezTo>
                <a:cubicBezTo>
                  <a:pt x="590363" y="3310298"/>
                  <a:pt x="589807" y="3303372"/>
                  <a:pt x="587549" y="3300251"/>
                </a:cubicBezTo>
                <a:close/>
                <a:moveTo>
                  <a:pt x="4154664" y="3279903"/>
                </a:moveTo>
                <a:cubicBezTo>
                  <a:pt x="4140613" y="3277009"/>
                  <a:pt x="4136422" y="3296689"/>
                  <a:pt x="4148160" y="3310449"/>
                </a:cubicBezTo>
                <a:cubicBezTo>
                  <a:pt x="4155681" y="3319265"/>
                  <a:pt x="4156874" y="3325844"/>
                  <a:pt x="4154873" y="3347448"/>
                </a:cubicBezTo>
                <a:cubicBezTo>
                  <a:pt x="4153260" y="3364859"/>
                  <a:pt x="4154107" y="3373723"/>
                  <a:pt x="4157387" y="3373723"/>
                </a:cubicBezTo>
                <a:cubicBezTo>
                  <a:pt x="4160108" y="3373723"/>
                  <a:pt x="4162336" y="3382799"/>
                  <a:pt x="4162336" y="3393890"/>
                </a:cubicBezTo>
                <a:cubicBezTo>
                  <a:pt x="4162336" y="3405884"/>
                  <a:pt x="4166190" y="3419997"/>
                  <a:pt x="4171844" y="3428710"/>
                </a:cubicBezTo>
                <a:cubicBezTo>
                  <a:pt x="4183547" y="3446745"/>
                  <a:pt x="4187175" y="3447056"/>
                  <a:pt x="4190840" y="3430334"/>
                </a:cubicBezTo>
                <a:cubicBezTo>
                  <a:pt x="4194319" y="3414464"/>
                  <a:pt x="4189124" y="3354731"/>
                  <a:pt x="4184264" y="3354731"/>
                </a:cubicBezTo>
                <a:cubicBezTo>
                  <a:pt x="4182345" y="3354731"/>
                  <a:pt x="4179540" y="3347608"/>
                  <a:pt x="4178032" y="3338904"/>
                </a:cubicBezTo>
                <a:cubicBezTo>
                  <a:pt x="4176523" y="3330199"/>
                  <a:pt x="4172366" y="3323077"/>
                  <a:pt x="4168795" y="3323077"/>
                </a:cubicBezTo>
                <a:cubicBezTo>
                  <a:pt x="4164157" y="3323077"/>
                  <a:pt x="4162620" y="3317198"/>
                  <a:pt x="4163412" y="3302505"/>
                </a:cubicBezTo>
                <a:cubicBezTo>
                  <a:pt x="4164336" y="3285391"/>
                  <a:pt x="4162865" y="3281593"/>
                  <a:pt x="4154664" y="3279903"/>
                </a:cubicBezTo>
                <a:close/>
                <a:moveTo>
                  <a:pt x="3384462" y="3266400"/>
                </a:moveTo>
                <a:cubicBezTo>
                  <a:pt x="3382627" y="3266785"/>
                  <a:pt x="3381140" y="3268762"/>
                  <a:pt x="3379525" y="3272430"/>
                </a:cubicBezTo>
                <a:cubicBezTo>
                  <a:pt x="3373763" y="3285514"/>
                  <a:pt x="3374087" y="3353134"/>
                  <a:pt x="3379925" y="3355951"/>
                </a:cubicBezTo>
                <a:cubicBezTo>
                  <a:pt x="3382518" y="3357203"/>
                  <a:pt x="3384978" y="3368123"/>
                  <a:pt x="3385390" y="3380219"/>
                </a:cubicBezTo>
                <a:cubicBezTo>
                  <a:pt x="3386068" y="3400055"/>
                  <a:pt x="3384906" y="3402417"/>
                  <a:pt x="3373548" y="3404295"/>
                </a:cubicBezTo>
                <a:cubicBezTo>
                  <a:pt x="3361139" y="3406347"/>
                  <a:pt x="3360992" y="3406842"/>
                  <a:pt x="3363543" y="3438014"/>
                </a:cubicBezTo>
                <a:cubicBezTo>
                  <a:pt x="3365474" y="3461632"/>
                  <a:pt x="3368943" y="3472854"/>
                  <a:pt x="3377229" y="3482289"/>
                </a:cubicBezTo>
                <a:cubicBezTo>
                  <a:pt x="3383333" y="3489241"/>
                  <a:pt x="3388329" y="3500251"/>
                  <a:pt x="3388329" y="3506757"/>
                </a:cubicBezTo>
                <a:cubicBezTo>
                  <a:pt x="3388329" y="3513263"/>
                  <a:pt x="3390296" y="3520347"/>
                  <a:pt x="3392701" y="3522499"/>
                </a:cubicBezTo>
                <a:cubicBezTo>
                  <a:pt x="3395106" y="3524650"/>
                  <a:pt x="3397074" y="3531749"/>
                  <a:pt x="3397074" y="3538273"/>
                </a:cubicBezTo>
                <a:cubicBezTo>
                  <a:pt x="3397074" y="3544797"/>
                  <a:pt x="3401009" y="3551943"/>
                  <a:pt x="3405820" y="3554153"/>
                </a:cubicBezTo>
                <a:cubicBezTo>
                  <a:pt x="3410630" y="3556363"/>
                  <a:pt x="3414566" y="3563678"/>
                  <a:pt x="3414566" y="3570407"/>
                </a:cubicBezTo>
                <a:cubicBezTo>
                  <a:pt x="3414566" y="3577136"/>
                  <a:pt x="3416533" y="3582642"/>
                  <a:pt x="3418939" y="3582642"/>
                </a:cubicBezTo>
                <a:cubicBezTo>
                  <a:pt x="3421344" y="3582642"/>
                  <a:pt x="3423312" y="3589289"/>
                  <a:pt x="3423312" y="3597414"/>
                </a:cubicBezTo>
                <a:cubicBezTo>
                  <a:pt x="3423312" y="3605538"/>
                  <a:pt x="3424623" y="3614085"/>
                  <a:pt x="3426227" y="3616406"/>
                </a:cubicBezTo>
                <a:cubicBezTo>
                  <a:pt x="3431633" y="3624232"/>
                  <a:pt x="3444220" y="3620704"/>
                  <a:pt x="3446895" y="3610613"/>
                </a:cubicBezTo>
                <a:cubicBezTo>
                  <a:pt x="3450838" y="3595735"/>
                  <a:pt x="3450106" y="3569980"/>
                  <a:pt x="3445741" y="3569980"/>
                </a:cubicBezTo>
                <a:cubicBezTo>
                  <a:pt x="3443646" y="3569980"/>
                  <a:pt x="3440597" y="3552886"/>
                  <a:pt x="3438964" y="3531995"/>
                </a:cubicBezTo>
                <a:cubicBezTo>
                  <a:pt x="3437332" y="3511103"/>
                  <a:pt x="3434331" y="3494010"/>
                  <a:pt x="3432296" y="3494010"/>
                </a:cubicBezTo>
                <a:cubicBezTo>
                  <a:pt x="3430260" y="3494010"/>
                  <a:pt x="3427201" y="3471219"/>
                  <a:pt x="3425497" y="3443363"/>
                </a:cubicBezTo>
                <a:cubicBezTo>
                  <a:pt x="3423795" y="3415507"/>
                  <a:pt x="3420637" y="3392716"/>
                  <a:pt x="3418484" y="3392716"/>
                </a:cubicBezTo>
                <a:cubicBezTo>
                  <a:pt x="3416328" y="3392716"/>
                  <a:pt x="3414566" y="3384519"/>
                  <a:pt x="3414566" y="3374498"/>
                </a:cubicBezTo>
                <a:cubicBezTo>
                  <a:pt x="3414566" y="3364479"/>
                  <a:pt x="3411711" y="3352852"/>
                  <a:pt x="3408222" y="3348660"/>
                </a:cubicBezTo>
                <a:cubicBezTo>
                  <a:pt x="3404618" y="3344329"/>
                  <a:pt x="3401314" y="3327191"/>
                  <a:pt x="3400570" y="3308969"/>
                </a:cubicBezTo>
                <a:cubicBezTo>
                  <a:pt x="3399653" y="3286524"/>
                  <a:pt x="3396926" y="3274803"/>
                  <a:pt x="3391484" y="3269917"/>
                </a:cubicBezTo>
                <a:cubicBezTo>
                  <a:pt x="3388479" y="3267220"/>
                  <a:pt x="3386297" y="3266014"/>
                  <a:pt x="3384462" y="3266400"/>
                </a:cubicBezTo>
                <a:close/>
                <a:moveTo>
                  <a:pt x="3348864" y="3248793"/>
                </a:moveTo>
                <a:cubicBezTo>
                  <a:pt x="3345735" y="3247498"/>
                  <a:pt x="3342333" y="3248277"/>
                  <a:pt x="3339131" y="3252124"/>
                </a:cubicBezTo>
                <a:cubicBezTo>
                  <a:pt x="3328886" y="3264436"/>
                  <a:pt x="3334271" y="3297753"/>
                  <a:pt x="3346508" y="3297753"/>
                </a:cubicBezTo>
                <a:cubicBezTo>
                  <a:pt x="3349679" y="3297753"/>
                  <a:pt x="3354371" y="3294095"/>
                  <a:pt x="3356934" y="3289624"/>
                </a:cubicBezTo>
                <a:cubicBezTo>
                  <a:pt x="3365185" y="3275229"/>
                  <a:pt x="3358250" y="3252677"/>
                  <a:pt x="3348864" y="3248793"/>
                </a:cubicBezTo>
                <a:close/>
                <a:moveTo>
                  <a:pt x="313287" y="3234445"/>
                </a:moveTo>
                <a:cubicBezTo>
                  <a:pt x="307242" y="3234445"/>
                  <a:pt x="305415" y="3239467"/>
                  <a:pt x="305415" y="3256085"/>
                </a:cubicBezTo>
                <a:cubicBezTo>
                  <a:pt x="305415" y="3285553"/>
                  <a:pt x="309257" y="3297753"/>
                  <a:pt x="318534" y="3297753"/>
                </a:cubicBezTo>
                <a:cubicBezTo>
                  <a:pt x="322830" y="3297753"/>
                  <a:pt x="327539" y="3293247"/>
                  <a:pt x="328998" y="3287739"/>
                </a:cubicBezTo>
                <a:cubicBezTo>
                  <a:pt x="336318" y="3260124"/>
                  <a:pt x="328747" y="3234445"/>
                  <a:pt x="313287" y="3234445"/>
                </a:cubicBezTo>
                <a:close/>
                <a:moveTo>
                  <a:pt x="4380392" y="3159521"/>
                </a:moveTo>
                <a:cubicBezTo>
                  <a:pt x="4370345" y="3161580"/>
                  <a:pt x="4370094" y="3163088"/>
                  <a:pt x="4371629" y="3212287"/>
                </a:cubicBezTo>
                <a:cubicBezTo>
                  <a:pt x="4372498" y="3240143"/>
                  <a:pt x="4374957" y="3263884"/>
                  <a:pt x="4377095" y="3265043"/>
                </a:cubicBezTo>
                <a:cubicBezTo>
                  <a:pt x="4379233" y="3266204"/>
                  <a:pt x="4380982" y="3271100"/>
                  <a:pt x="4380982" y="3275924"/>
                </a:cubicBezTo>
                <a:cubicBezTo>
                  <a:pt x="4380982" y="3287969"/>
                  <a:pt x="4393153" y="3280395"/>
                  <a:pt x="4396210" y="3266447"/>
                </a:cubicBezTo>
                <a:cubicBezTo>
                  <a:pt x="4400868" y="3245201"/>
                  <a:pt x="4400394" y="3171384"/>
                  <a:pt x="4395554" y="3164378"/>
                </a:cubicBezTo>
                <a:cubicBezTo>
                  <a:pt x="4392905" y="3160541"/>
                  <a:pt x="4386082" y="3158356"/>
                  <a:pt x="4380392" y="3159521"/>
                </a:cubicBezTo>
                <a:close/>
                <a:moveTo>
                  <a:pt x="608431" y="3076110"/>
                </a:moveTo>
                <a:cubicBezTo>
                  <a:pt x="606192" y="3077029"/>
                  <a:pt x="604049" y="3079406"/>
                  <a:pt x="602272" y="3083464"/>
                </a:cubicBezTo>
                <a:cubicBezTo>
                  <a:pt x="597025" y="3095452"/>
                  <a:pt x="597492" y="3125259"/>
                  <a:pt x="603005" y="3130192"/>
                </a:cubicBezTo>
                <a:cubicBezTo>
                  <a:pt x="605537" y="3132458"/>
                  <a:pt x="606802" y="3137611"/>
                  <a:pt x="605816" y="3141644"/>
                </a:cubicBezTo>
                <a:cubicBezTo>
                  <a:pt x="604830" y="3145678"/>
                  <a:pt x="612106" y="3161798"/>
                  <a:pt x="621984" y="3177467"/>
                </a:cubicBezTo>
                <a:lnTo>
                  <a:pt x="639944" y="3205956"/>
                </a:lnTo>
                <a:lnTo>
                  <a:pt x="626855" y="3208107"/>
                </a:lnTo>
                <a:cubicBezTo>
                  <a:pt x="616428" y="3209822"/>
                  <a:pt x="611314" y="3206007"/>
                  <a:pt x="601711" y="3189354"/>
                </a:cubicBezTo>
                <a:cubicBezTo>
                  <a:pt x="595080" y="3177856"/>
                  <a:pt x="589531" y="3171190"/>
                  <a:pt x="589378" y="3174540"/>
                </a:cubicBezTo>
                <a:cubicBezTo>
                  <a:pt x="589226" y="3177891"/>
                  <a:pt x="587275" y="3174039"/>
                  <a:pt x="585043" y="3165981"/>
                </a:cubicBezTo>
                <a:cubicBezTo>
                  <a:pt x="582810" y="3157923"/>
                  <a:pt x="579284" y="3152851"/>
                  <a:pt x="577206" y="3154710"/>
                </a:cubicBezTo>
                <a:cubicBezTo>
                  <a:pt x="575127" y="3156570"/>
                  <a:pt x="574357" y="3151055"/>
                  <a:pt x="575492" y="3142456"/>
                </a:cubicBezTo>
                <a:cubicBezTo>
                  <a:pt x="576628" y="3133856"/>
                  <a:pt x="579295" y="3126820"/>
                  <a:pt x="581420" y="3126820"/>
                </a:cubicBezTo>
                <a:cubicBezTo>
                  <a:pt x="589701" y="3126820"/>
                  <a:pt x="584711" y="3109483"/>
                  <a:pt x="574489" y="3102739"/>
                </a:cubicBezTo>
                <a:cubicBezTo>
                  <a:pt x="565212" y="3096621"/>
                  <a:pt x="562753" y="3097566"/>
                  <a:pt x="556997" y="3109463"/>
                </a:cubicBezTo>
                <a:cubicBezTo>
                  <a:pt x="548748" y="3126512"/>
                  <a:pt x="548298" y="3140196"/>
                  <a:pt x="556129" y="3135846"/>
                </a:cubicBezTo>
                <a:cubicBezTo>
                  <a:pt x="560434" y="3133454"/>
                  <a:pt x="561446" y="3137659"/>
                  <a:pt x="560000" y="3151929"/>
                </a:cubicBezTo>
                <a:cubicBezTo>
                  <a:pt x="558904" y="3162741"/>
                  <a:pt x="560595" y="3175707"/>
                  <a:pt x="563838" y="3181366"/>
                </a:cubicBezTo>
                <a:cubicBezTo>
                  <a:pt x="567027" y="3186928"/>
                  <a:pt x="571680" y="3196390"/>
                  <a:pt x="574180" y="3202392"/>
                </a:cubicBezTo>
                <a:cubicBezTo>
                  <a:pt x="591104" y="3243042"/>
                  <a:pt x="597600" y="3253960"/>
                  <a:pt x="600152" y="3246045"/>
                </a:cubicBezTo>
                <a:cubicBezTo>
                  <a:pt x="601648" y="3241406"/>
                  <a:pt x="602050" y="3244020"/>
                  <a:pt x="601046" y="3251855"/>
                </a:cubicBezTo>
                <a:cubicBezTo>
                  <a:pt x="600042" y="3259689"/>
                  <a:pt x="600966" y="3266099"/>
                  <a:pt x="603100" y="3266099"/>
                </a:cubicBezTo>
                <a:cubicBezTo>
                  <a:pt x="605235" y="3266099"/>
                  <a:pt x="608273" y="3273933"/>
                  <a:pt x="609854" y="3283509"/>
                </a:cubicBezTo>
                <a:cubicBezTo>
                  <a:pt x="611433" y="3293085"/>
                  <a:pt x="614664" y="3304479"/>
                  <a:pt x="617032" y="3308832"/>
                </a:cubicBezTo>
                <a:cubicBezTo>
                  <a:pt x="619400" y="3313184"/>
                  <a:pt x="619811" y="3316746"/>
                  <a:pt x="617946" y="3316746"/>
                </a:cubicBezTo>
                <a:cubicBezTo>
                  <a:pt x="616081" y="3316746"/>
                  <a:pt x="618792" y="3322066"/>
                  <a:pt x="623970" y="3328567"/>
                </a:cubicBezTo>
                <a:cubicBezTo>
                  <a:pt x="629148" y="3335070"/>
                  <a:pt x="633385" y="3345990"/>
                  <a:pt x="633385" y="3352836"/>
                </a:cubicBezTo>
                <a:cubicBezTo>
                  <a:pt x="633385" y="3373477"/>
                  <a:pt x="639067" y="3377284"/>
                  <a:pt x="658577" y="3369716"/>
                </a:cubicBezTo>
                <a:cubicBezTo>
                  <a:pt x="664086" y="3367578"/>
                  <a:pt x="669621" y="3359206"/>
                  <a:pt x="671077" y="3350809"/>
                </a:cubicBezTo>
                <a:cubicBezTo>
                  <a:pt x="674135" y="3333168"/>
                  <a:pt x="679944" y="3331754"/>
                  <a:pt x="690819" y="3346003"/>
                </a:cubicBezTo>
                <a:cubicBezTo>
                  <a:pt x="707087" y="3367317"/>
                  <a:pt x="719876" y="3339683"/>
                  <a:pt x="704860" y="3315662"/>
                </a:cubicBezTo>
                <a:cubicBezTo>
                  <a:pt x="696086" y="3301624"/>
                  <a:pt x="686481" y="3300707"/>
                  <a:pt x="683069" y="3313581"/>
                </a:cubicBezTo>
                <a:cubicBezTo>
                  <a:pt x="677390" y="3335002"/>
                  <a:pt x="653576" y="3313004"/>
                  <a:pt x="648396" y="3281551"/>
                </a:cubicBezTo>
                <a:cubicBezTo>
                  <a:pt x="646709" y="3271312"/>
                  <a:pt x="642464" y="3258153"/>
                  <a:pt x="638964" y="3252310"/>
                </a:cubicBezTo>
                <a:cubicBezTo>
                  <a:pt x="634458" y="3244789"/>
                  <a:pt x="633839" y="3238477"/>
                  <a:pt x="636844" y="3230703"/>
                </a:cubicBezTo>
                <a:cubicBezTo>
                  <a:pt x="640711" y="3220699"/>
                  <a:pt x="641357" y="3220941"/>
                  <a:pt x="644091" y="3233414"/>
                </a:cubicBezTo>
                <a:cubicBezTo>
                  <a:pt x="645742" y="3240944"/>
                  <a:pt x="649912" y="3247106"/>
                  <a:pt x="653357" y="3247106"/>
                </a:cubicBezTo>
                <a:cubicBezTo>
                  <a:pt x="656803" y="3247106"/>
                  <a:pt x="659622" y="3250938"/>
                  <a:pt x="659622" y="3255622"/>
                </a:cubicBezTo>
                <a:cubicBezTo>
                  <a:pt x="659622" y="3260305"/>
                  <a:pt x="663668" y="3269437"/>
                  <a:pt x="668613" y="3275916"/>
                </a:cubicBezTo>
                <a:cubicBezTo>
                  <a:pt x="676292" y="3285977"/>
                  <a:pt x="678929" y="3286497"/>
                  <a:pt x="686690" y="3279479"/>
                </a:cubicBezTo>
                <a:cubicBezTo>
                  <a:pt x="693647" y="3273190"/>
                  <a:pt x="696533" y="3273031"/>
                  <a:pt x="698996" y="3278800"/>
                </a:cubicBezTo>
                <a:cubicBezTo>
                  <a:pt x="704713" y="3292193"/>
                  <a:pt x="718657" y="3283123"/>
                  <a:pt x="718657" y="3266012"/>
                </a:cubicBezTo>
                <a:cubicBezTo>
                  <a:pt x="718657" y="3252393"/>
                  <a:pt x="716447" y="3250007"/>
                  <a:pt x="702258" y="3248307"/>
                </a:cubicBezTo>
                <a:cubicBezTo>
                  <a:pt x="686019" y="3246361"/>
                  <a:pt x="685860" y="3246074"/>
                  <a:pt x="685860" y="3218686"/>
                </a:cubicBezTo>
                <a:cubicBezTo>
                  <a:pt x="685860" y="3195981"/>
                  <a:pt x="683223" y="3186983"/>
                  <a:pt x="671132" y="3168421"/>
                </a:cubicBezTo>
                <a:cubicBezTo>
                  <a:pt x="663031" y="3155986"/>
                  <a:pt x="653493" y="3145813"/>
                  <a:pt x="649936" y="3145813"/>
                </a:cubicBezTo>
                <a:cubicBezTo>
                  <a:pt x="638352" y="3145813"/>
                  <a:pt x="625360" y="3123579"/>
                  <a:pt x="623889" y="3101236"/>
                </a:cubicBezTo>
                <a:cubicBezTo>
                  <a:pt x="622735" y="3083732"/>
                  <a:pt x="615150" y="3073356"/>
                  <a:pt x="608431" y="3076110"/>
                </a:cubicBezTo>
                <a:close/>
                <a:moveTo>
                  <a:pt x="299116" y="2844933"/>
                </a:moveTo>
                <a:cubicBezTo>
                  <a:pt x="303196" y="2846859"/>
                  <a:pt x="305415" y="2851711"/>
                  <a:pt x="305415" y="2859317"/>
                </a:cubicBezTo>
                <a:cubicBezTo>
                  <a:pt x="305415" y="2865615"/>
                  <a:pt x="308538" y="2877223"/>
                  <a:pt x="312354" y="2885111"/>
                </a:cubicBezTo>
                <a:cubicBezTo>
                  <a:pt x="317852" y="2896473"/>
                  <a:pt x="318194" y="2901370"/>
                  <a:pt x="314006" y="2908678"/>
                </a:cubicBezTo>
                <a:cubicBezTo>
                  <a:pt x="311097" y="2913751"/>
                  <a:pt x="306217" y="2917902"/>
                  <a:pt x="303161" y="2917902"/>
                </a:cubicBezTo>
                <a:cubicBezTo>
                  <a:pt x="300106" y="2917902"/>
                  <a:pt x="296536" y="2921936"/>
                  <a:pt x="295229" y="2926867"/>
                </a:cubicBezTo>
                <a:cubicBezTo>
                  <a:pt x="292244" y="2938128"/>
                  <a:pt x="296760" y="3007519"/>
                  <a:pt x="301032" y="3016030"/>
                </a:cubicBezTo>
                <a:cubicBezTo>
                  <a:pt x="302780" y="3019512"/>
                  <a:pt x="305502" y="3030195"/>
                  <a:pt x="307082" y="3039770"/>
                </a:cubicBezTo>
                <a:cubicBezTo>
                  <a:pt x="308662" y="3049346"/>
                  <a:pt x="311885" y="3057181"/>
                  <a:pt x="314244" y="3057181"/>
                </a:cubicBezTo>
                <a:cubicBezTo>
                  <a:pt x="321268" y="3057181"/>
                  <a:pt x="319314" y="3111671"/>
                  <a:pt x="311975" y="3120489"/>
                </a:cubicBezTo>
                <a:cubicBezTo>
                  <a:pt x="302206" y="3132227"/>
                  <a:pt x="303689" y="3156344"/>
                  <a:pt x="314431" y="3160411"/>
                </a:cubicBezTo>
                <a:cubicBezTo>
                  <a:pt x="319389" y="3162288"/>
                  <a:pt x="323092" y="3167606"/>
                  <a:pt x="322659" y="3172228"/>
                </a:cubicBezTo>
                <a:cubicBezTo>
                  <a:pt x="320920" y="3190782"/>
                  <a:pt x="323366" y="3196459"/>
                  <a:pt x="333101" y="3196459"/>
                </a:cubicBezTo>
                <a:cubicBezTo>
                  <a:pt x="346142" y="3196459"/>
                  <a:pt x="355695" y="3221025"/>
                  <a:pt x="351673" y="3244221"/>
                </a:cubicBezTo>
                <a:cubicBezTo>
                  <a:pt x="349397" y="3257353"/>
                  <a:pt x="350784" y="3263404"/>
                  <a:pt x="357674" y="3270391"/>
                </a:cubicBezTo>
                <a:cubicBezTo>
                  <a:pt x="368216" y="3281081"/>
                  <a:pt x="369336" y="3294899"/>
                  <a:pt x="360077" y="3300043"/>
                </a:cubicBezTo>
                <a:cubicBezTo>
                  <a:pt x="350697" y="3305254"/>
                  <a:pt x="351979" y="3331760"/>
                  <a:pt x="362263" y="3345235"/>
                </a:cubicBezTo>
                <a:cubicBezTo>
                  <a:pt x="367074" y="3351537"/>
                  <a:pt x="371009" y="3363374"/>
                  <a:pt x="371009" y="3371539"/>
                </a:cubicBezTo>
                <a:cubicBezTo>
                  <a:pt x="371009" y="3383203"/>
                  <a:pt x="368637" y="3386385"/>
                  <a:pt x="359940" y="3386385"/>
                </a:cubicBezTo>
                <a:cubicBezTo>
                  <a:pt x="348442" y="3386385"/>
                  <a:pt x="339041" y="3405778"/>
                  <a:pt x="348358" y="3410274"/>
                </a:cubicBezTo>
                <a:cubicBezTo>
                  <a:pt x="351196" y="3411643"/>
                  <a:pt x="353518" y="3421320"/>
                  <a:pt x="353518" y="3431779"/>
                </a:cubicBezTo>
                <a:cubicBezTo>
                  <a:pt x="353518" y="3446987"/>
                  <a:pt x="356080" y="3452194"/>
                  <a:pt x="366316" y="3457788"/>
                </a:cubicBezTo>
                <a:cubicBezTo>
                  <a:pt x="378646" y="3464526"/>
                  <a:pt x="388501" y="3484868"/>
                  <a:pt x="388501" y="3503581"/>
                </a:cubicBezTo>
                <a:cubicBezTo>
                  <a:pt x="388501" y="3508518"/>
                  <a:pt x="392437" y="3515606"/>
                  <a:pt x="397247" y="3519333"/>
                </a:cubicBezTo>
                <a:cubicBezTo>
                  <a:pt x="402057" y="3523060"/>
                  <a:pt x="405993" y="3531897"/>
                  <a:pt x="405993" y="3538971"/>
                </a:cubicBezTo>
                <a:cubicBezTo>
                  <a:pt x="405993" y="3546044"/>
                  <a:pt x="410912" y="3561170"/>
                  <a:pt x="416925" y="3572583"/>
                </a:cubicBezTo>
                <a:cubicBezTo>
                  <a:pt x="438773" y="3614051"/>
                  <a:pt x="425890" y="3621313"/>
                  <a:pt x="400289" y="3581960"/>
                </a:cubicBezTo>
                <a:cubicBezTo>
                  <a:pt x="391139" y="3567895"/>
                  <a:pt x="379425" y="3544489"/>
                  <a:pt x="374258" y="3529946"/>
                </a:cubicBezTo>
                <a:cubicBezTo>
                  <a:pt x="369091" y="3515404"/>
                  <a:pt x="361327" y="3499784"/>
                  <a:pt x="357004" y="3495233"/>
                </a:cubicBezTo>
                <a:cubicBezTo>
                  <a:pt x="352682" y="3490684"/>
                  <a:pt x="349145" y="3480338"/>
                  <a:pt x="349145" y="3472244"/>
                </a:cubicBezTo>
                <a:cubicBezTo>
                  <a:pt x="349145" y="3462865"/>
                  <a:pt x="343594" y="3451398"/>
                  <a:pt x="333840" y="3440626"/>
                </a:cubicBezTo>
                <a:cubicBezTo>
                  <a:pt x="325355" y="3431258"/>
                  <a:pt x="318534" y="3418093"/>
                  <a:pt x="318534" y="3411084"/>
                </a:cubicBezTo>
                <a:cubicBezTo>
                  <a:pt x="318534" y="3404131"/>
                  <a:pt x="313615" y="3391841"/>
                  <a:pt x="307602" y="3383774"/>
                </a:cubicBezTo>
                <a:cubicBezTo>
                  <a:pt x="301589" y="3375707"/>
                  <a:pt x="296670" y="3365833"/>
                  <a:pt x="296670" y="3361833"/>
                </a:cubicBezTo>
                <a:cubicBezTo>
                  <a:pt x="296670" y="3357832"/>
                  <a:pt x="294210" y="3348528"/>
                  <a:pt x="291204" y="3341156"/>
                </a:cubicBezTo>
                <a:cubicBezTo>
                  <a:pt x="286831" y="3330434"/>
                  <a:pt x="286831" y="3327180"/>
                  <a:pt x="291204" y="3324887"/>
                </a:cubicBezTo>
                <a:cubicBezTo>
                  <a:pt x="297713" y="3321474"/>
                  <a:pt x="298538" y="3293842"/>
                  <a:pt x="292297" y="3288257"/>
                </a:cubicBezTo>
                <a:cubicBezTo>
                  <a:pt x="289891" y="3286105"/>
                  <a:pt x="287924" y="3277123"/>
                  <a:pt x="287924" y="3268298"/>
                </a:cubicBezTo>
                <a:cubicBezTo>
                  <a:pt x="287924" y="3257662"/>
                  <a:pt x="285022" y="3251153"/>
                  <a:pt x="279316" y="3248993"/>
                </a:cubicBezTo>
                <a:cubicBezTo>
                  <a:pt x="271869" y="3246174"/>
                  <a:pt x="270836" y="3240854"/>
                  <a:pt x="271663" y="3209582"/>
                </a:cubicBezTo>
                <a:cubicBezTo>
                  <a:pt x="272576" y="3175025"/>
                  <a:pt x="271877" y="3172444"/>
                  <a:pt x="255824" y="3151135"/>
                </a:cubicBezTo>
                <a:cubicBezTo>
                  <a:pt x="243739" y="3135092"/>
                  <a:pt x="239448" y="3124700"/>
                  <a:pt x="240519" y="3114065"/>
                </a:cubicBezTo>
                <a:cubicBezTo>
                  <a:pt x="242026" y="3099109"/>
                  <a:pt x="262146" y="3077495"/>
                  <a:pt x="275363" y="3076636"/>
                </a:cubicBezTo>
                <a:cubicBezTo>
                  <a:pt x="279277" y="3076381"/>
                  <a:pt x="284521" y="3072612"/>
                  <a:pt x="287016" y="3068260"/>
                </a:cubicBezTo>
                <a:cubicBezTo>
                  <a:pt x="293564" y="3056837"/>
                  <a:pt x="281862" y="3019213"/>
                  <a:pt x="271736" y="3019134"/>
                </a:cubicBezTo>
                <a:cubicBezTo>
                  <a:pt x="267411" y="3019102"/>
                  <a:pt x="256985" y="3007731"/>
                  <a:pt x="248567" y="2993872"/>
                </a:cubicBezTo>
                <a:cubicBezTo>
                  <a:pt x="236873" y="2974617"/>
                  <a:pt x="230028" y="2968658"/>
                  <a:pt x="219553" y="2968611"/>
                </a:cubicBezTo>
                <a:cubicBezTo>
                  <a:pt x="209719" y="2968566"/>
                  <a:pt x="203783" y="2963994"/>
                  <a:pt x="198550" y="2952433"/>
                </a:cubicBezTo>
                <a:cubicBezTo>
                  <a:pt x="188371" y="2929942"/>
                  <a:pt x="193259" y="2911571"/>
                  <a:pt x="209422" y="2911571"/>
                </a:cubicBezTo>
                <a:cubicBezTo>
                  <a:pt x="219680" y="2911571"/>
                  <a:pt x="222747" y="2908178"/>
                  <a:pt x="225158" y="2894161"/>
                </a:cubicBezTo>
                <a:cubicBezTo>
                  <a:pt x="228039" y="2877407"/>
                  <a:pt x="237932" y="2861545"/>
                  <a:pt x="245762" y="2861125"/>
                </a:cubicBezTo>
                <a:cubicBezTo>
                  <a:pt x="247826" y="2861014"/>
                  <a:pt x="248389" y="2867420"/>
                  <a:pt x="247013" y="2875360"/>
                </a:cubicBezTo>
                <a:cubicBezTo>
                  <a:pt x="240820" y="2911084"/>
                  <a:pt x="258686" y="2935855"/>
                  <a:pt x="275118" y="2914326"/>
                </a:cubicBezTo>
                <a:cubicBezTo>
                  <a:pt x="285388" y="2900871"/>
                  <a:pt x="285718" y="2890590"/>
                  <a:pt x="276532" y="2870294"/>
                </a:cubicBezTo>
                <a:cubicBezTo>
                  <a:pt x="269749" y="2855307"/>
                  <a:pt x="269922" y="2854561"/>
                  <a:pt x="281659" y="2848100"/>
                </a:cubicBezTo>
                <a:cubicBezTo>
                  <a:pt x="289097" y="2844006"/>
                  <a:pt x="295037" y="2843007"/>
                  <a:pt x="299116" y="2844933"/>
                </a:cubicBezTo>
                <a:close/>
                <a:moveTo>
                  <a:pt x="4347140" y="2808314"/>
                </a:moveTo>
                <a:cubicBezTo>
                  <a:pt x="4337315" y="2807335"/>
                  <a:pt x="4335235" y="2809562"/>
                  <a:pt x="4335975" y="2820272"/>
                </a:cubicBezTo>
                <a:cubicBezTo>
                  <a:pt x="4336814" y="2832429"/>
                  <a:pt x="4335100" y="2833218"/>
                  <a:pt x="4313472" y="2830622"/>
                </a:cubicBezTo>
                <a:cubicBezTo>
                  <a:pt x="4292375" y="2828089"/>
                  <a:pt x="4289759" y="2829181"/>
                  <a:pt x="4287024" y="2841656"/>
                </a:cubicBezTo>
                <a:cubicBezTo>
                  <a:pt x="4285062" y="2850604"/>
                  <a:pt x="4286448" y="2859434"/>
                  <a:pt x="4290942" y="2866625"/>
                </a:cubicBezTo>
                <a:cubicBezTo>
                  <a:pt x="4298778" y="2879159"/>
                  <a:pt x="4300112" y="2892578"/>
                  <a:pt x="4293523" y="2892578"/>
                </a:cubicBezTo>
                <a:cubicBezTo>
                  <a:pt x="4285230" y="2892578"/>
                  <a:pt x="4289172" y="2910727"/>
                  <a:pt x="4298383" y="2914961"/>
                </a:cubicBezTo>
                <a:cubicBezTo>
                  <a:pt x="4308883" y="2919785"/>
                  <a:pt x="4326494" y="2899832"/>
                  <a:pt x="4316481" y="2894457"/>
                </a:cubicBezTo>
                <a:cubicBezTo>
                  <a:pt x="4307136" y="2889442"/>
                  <a:pt x="4310473" y="2873571"/>
                  <a:pt x="4322232" y="2867098"/>
                </a:cubicBezTo>
                <a:cubicBezTo>
                  <a:pt x="4337564" y="2858659"/>
                  <a:pt x="4336902" y="2858163"/>
                  <a:pt x="4344228" y="2883547"/>
                </a:cubicBezTo>
                <a:cubicBezTo>
                  <a:pt x="4350698" y="2905968"/>
                  <a:pt x="4349183" y="2930563"/>
                  <a:pt x="4341331" y="2930563"/>
                </a:cubicBezTo>
                <a:cubicBezTo>
                  <a:pt x="4336075" y="2930563"/>
                  <a:pt x="4335993" y="2947834"/>
                  <a:pt x="4341235" y="2950611"/>
                </a:cubicBezTo>
                <a:cubicBezTo>
                  <a:pt x="4343426" y="2951772"/>
                  <a:pt x="4345760" y="2964117"/>
                  <a:pt x="4346422" y="2978045"/>
                </a:cubicBezTo>
                <a:cubicBezTo>
                  <a:pt x="4347085" y="2991973"/>
                  <a:pt x="4349414" y="3006834"/>
                  <a:pt x="4351599" y="3011069"/>
                </a:cubicBezTo>
                <a:cubicBezTo>
                  <a:pt x="4353784" y="3015304"/>
                  <a:pt x="4354720" y="3022427"/>
                  <a:pt x="4353681" y="3026896"/>
                </a:cubicBezTo>
                <a:cubicBezTo>
                  <a:pt x="4352641" y="3031366"/>
                  <a:pt x="4354914" y="3038493"/>
                  <a:pt x="4358733" y="3042735"/>
                </a:cubicBezTo>
                <a:cubicBezTo>
                  <a:pt x="4367551" y="3052530"/>
                  <a:pt x="4367318" y="3052543"/>
                  <a:pt x="4374735" y="3041806"/>
                </a:cubicBezTo>
                <a:cubicBezTo>
                  <a:pt x="4381984" y="3031311"/>
                  <a:pt x="4382916" y="3015342"/>
                  <a:pt x="4376609" y="3009699"/>
                </a:cubicBezTo>
                <a:cubicBezTo>
                  <a:pt x="4374203" y="3007547"/>
                  <a:pt x="4372236" y="2993135"/>
                  <a:pt x="4372236" y="2977671"/>
                </a:cubicBezTo>
                <a:cubicBezTo>
                  <a:pt x="4372236" y="2962208"/>
                  <a:pt x="4374203" y="2949556"/>
                  <a:pt x="4376609" y="2949556"/>
                </a:cubicBezTo>
                <a:cubicBezTo>
                  <a:pt x="4382749" y="2949556"/>
                  <a:pt x="4382065" y="2928334"/>
                  <a:pt x="4375625" y="2919010"/>
                </a:cubicBezTo>
                <a:cubicBezTo>
                  <a:pt x="4371800" y="2913473"/>
                  <a:pt x="4371563" y="2908132"/>
                  <a:pt x="4374793" y="2900334"/>
                </a:cubicBezTo>
                <a:cubicBezTo>
                  <a:pt x="4380909" y="2885567"/>
                  <a:pt x="4382369" y="2841931"/>
                  <a:pt x="4376745" y="2841931"/>
                </a:cubicBezTo>
                <a:cubicBezTo>
                  <a:pt x="4374265" y="2841931"/>
                  <a:pt x="4372236" y="2838879"/>
                  <a:pt x="4372236" y="2835149"/>
                </a:cubicBezTo>
                <a:cubicBezTo>
                  <a:pt x="4372236" y="2823118"/>
                  <a:pt x="4359546" y="2809548"/>
                  <a:pt x="4347140" y="2808314"/>
                </a:cubicBezTo>
                <a:close/>
                <a:moveTo>
                  <a:pt x="185194" y="2800466"/>
                </a:moveTo>
                <a:cubicBezTo>
                  <a:pt x="189412" y="2798867"/>
                  <a:pt x="195472" y="2799995"/>
                  <a:pt x="202843" y="2804051"/>
                </a:cubicBezTo>
                <a:cubicBezTo>
                  <a:pt x="212914" y="2809595"/>
                  <a:pt x="214175" y="2812194"/>
                  <a:pt x="209063" y="2816874"/>
                </a:cubicBezTo>
                <a:cubicBezTo>
                  <a:pt x="198483" y="2826562"/>
                  <a:pt x="178601" y="2824192"/>
                  <a:pt x="178601" y="2813244"/>
                </a:cubicBezTo>
                <a:cubicBezTo>
                  <a:pt x="178601" y="2806392"/>
                  <a:pt x="180976" y="2802066"/>
                  <a:pt x="185194" y="2800466"/>
                </a:cubicBezTo>
                <a:close/>
                <a:moveTo>
                  <a:pt x="222256" y="2788186"/>
                </a:moveTo>
                <a:cubicBezTo>
                  <a:pt x="224620" y="2786070"/>
                  <a:pt x="233475" y="2786219"/>
                  <a:pt x="241934" y="2788517"/>
                </a:cubicBezTo>
                <a:cubicBezTo>
                  <a:pt x="255309" y="2792149"/>
                  <a:pt x="257313" y="2795077"/>
                  <a:pt x="257313" y="2810982"/>
                </a:cubicBezTo>
                <a:cubicBezTo>
                  <a:pt x="257313" y="2824652"/>
                  <a:pt x="255240" y="2829270"/>
                  <a:pt x="249103" y="2829270"/>
                </a:cubicBezTo>
                <a:cubicBezTo>
                  <a:pt x="244587" y="2829270"/>
                  <a:pt x="238443" y="2824997"/>
                  <a:pt x="235449" y="2819774"/>
                </a:cubicBezTo>
                <a:cubicBezTo>
                  <a:pt x="232454" y="2814551"/>
                  <a:pt x="227294" y="2810277"/>
                  <a:pt x="223981" y="2810277"/>
                </a:cubicBezTo>
                <a:cubicBezTo>
                  <a:pt x="217082" y="2810277"/>
                  <a:pt x="215807" y="2793955"/>
                  <a:pt x="222256" y="2788186"/>
                </a:cubicBezTo>
                <a:close/>
                <a:moveTo>
                  <a:pt x="4412081" y="2689991"/>
                </a:moveTo>
                <a:cubicBezTo>
                  <a:pt x="4424157" y="2689991"/>
                  <a:pt x="4429546" y="2714850"/>
                  <a:pt x="4428685" y="2766566"/>
                </a:cubicBezTo>
                <a:cubicBezTo>
                  <a:pt x="4427818" y="2818737"/>
                  <a:pt x="4424057" y="2832168"/>
                  <a:pt x="4416240" y="2811021"/>
                </a:cubicBezTo>
                <a:cubicBezTo>
                  <a:pt x="4413745" y="2804271"/>
                  <a:pt x="4410404" y="2774278"/>
                  <a:pt x="4408816" y="2744370"/>
                </a:cubicBezTo>
                <a:cubicBezTo>
                  <a:pt x="4406454" y="2699871"/>
                  <a:pt x="4407047" y="2689991"/>
                  <a:pt x="4412081" y="2689991"/>
                </a:cubicBezTo>
                <a:close/>
                <a:moveTo>
                  <a:pt x="127218" y="2621494"/>
                </a:moveTo>
                <a:cubicBezTo>
                  <a:pt x="145820" y="2625318"/>
                  <a:pt x="141816" y="2670565"/>
                  <a:pt x="122846" y="2670901"/>
                </a:cubicBezTo>
                <a:cubicBezTo>
                  <a:pt x="119358" y="2670964"/>
                  <a:pt x="117380" y="2661676"/>
                  <a:pt x="117380" y="2645235"/>
                </a:cubicBezTo>
                <a:cubicBezTo>
                  <a:pt x="117380" y="2622138"/>
                  <a:pt x="118398" y="2619680"/>
                  <a:pt x="127218" y="2621494"/>
                </a:cubicBezTo>
                <a:close/>
                <a:moveTo>
                  <a:pt x="202062" y="2494799"/>
                </a:moveTo>
                <a:cubicBezTo>
                  <a:pt x="208110" y="2493113"/>
                  <a:pt x="209587" y="2496021"/>
                  <a:pt x="208469" y="2507415"/>
                </a:cubicBezTo>
                <a:cubicBezTo>
                  <a:pt x="207535" y="2516934"/>
                  <a:pt x="210532" y="2526344"/>
                  <a:pt x="216859" y="2533762"/>
                </a:cubicBezTo>
                <a:cubicBezTo>
                  <a:pt x="222273" y="2540108"/>
                  <a:pt x="226703" y="2550221"/>
                  <a:pt x="226703" y="2556236"/>
                </a:cubicBezTo>
                <a:cubicBezTo>
                  <a:pt x="226703" y="2562251"/>
                  <a:pt x="228904" y="2570359"/>
                  <a:pt x="231595" y="2574254"/>
                </a:cubicBezTo>
                <a:cubicBezTo>
                  <a:pt x="235202" y="2579476"/>
                  <a:pt x="234053" y="2592559"/>
                  <a:pt x="227222" y="2624068"/>
                </a:cubicBezTo>
                <a:cubicBezTo>
                  <a:pt x="216136" y="2675200"/>
                  <a:pt x="215791" y="2685838"/>
                  <a:pt x="224867" y="2696743"/>
                </a:cubicBezTo>
                <a:cubicBezTo>
                  <a:pt x="230186" y="2703134"/>
                  <a:pt x="234717" y="2703439"/>
                  <a:pt x="244545" y="2698068"/>
                </a:cubicBezTo>
                <a:cubicBezTo>
                  <a:pt x="256458" y="2691558"/>
                  <a:pt x="257313" y="2692114"/>
                  <a:pt x="257313" y="2706368"/>
                </a:cubicBezTo>
                <a:cubicBezTo>
                  <a:pt x="257313" y="2719409"/>
                  <a:pt x="255216" y="2721645"/>
                  <a:pt x="242983" y="2721645"/>
                </a:cubicBezTo>
                <a:cubicBezTo>
                  <a:pt x="233167" y="2721645"/>
                  <a:pt x="224127" y="2727629"/>
                  <a:pt x="214289" y="2740638"/>
                </a:cubicBezTo>
                <a:cubicBezTo>
                  <a:pt x="193758" y="2767786"/>
                  <a:pt x="187346" y="2765651"/>
                  <a:pt x="187346" y="2731669"/>
                </a:cubicBezTo>
                <a:cubicBezTo>
                  <a:pt x="187346" y="2716208"/>
                  <a:pt x="185096" y="2702622"/>
                  <a:pt x="182313" y="2701279"/>
                </a:cubicBezTo>
                <a:cubicBezTo>
                  <a:pt x="179544" y="2699942"/>
                  <a:pt x="176345" y="2682559"/>
                  <a:pt x="175205" y="2662649"/>
                </a:cubicBezTo>
                <a:cubicBezTo>
                  <a:pt x="174064" y="2642739"/>
                  <a:pt x="171410" y="2624909"/>
                  <a:pt x="169307" y="2623027"/>
                </a:cubicBezTo>
                <a:cubicBezTo>
                  <a:pt x="167203" y="2621144"/>
                  <a:pt x="165482" y="2611226"/>
                  <a:pt x="165482" y="2600985"/>
                </a:cubicBezTo>
                <a:cubicBezTo>
                  <a:pt x="165482" y="2585465"/>
                  <a:pt x="167258" y="2582366"/>
                  <a:pt x="176156" y="2582366"/>
                </a:cubicBezTo>
                <a:cubicBezTo>
                  <a:pt x="190305" y="2582366"/>
                  <a:pt x="193356" y="2573656"/>
                  <a:pt x="193816" y="2531949"/>
                </a:cubicBezTo>
                <a:cubicBezTo>
                  <a:pt x="194128" y="2503601"/>
                  <a:pt x="195688" y="2496576"/>
                  <a:pt x="202062" y="2494799"/>
                </a:cubicBezTo>
                <a:close/>
                <a:moveTo>
                  <a:pt x="154003" y="2487403"/>
                </a:moveTo>
                <a:cubicBezTo>
                  <a:pt x="160250" y="2487403"/>
                  <a:pt x="165482" y="2513730"/>
                  <a:pt x="165482" y="2545173"/>
                </a:cubicBezTo>
                <a:cubicBezTo>
                  <a:pt x="165482" y="2564737"/>
                  <a:pt x="159039" y="2567728"/>
                  <a:pt x="140337" y="2556845"/>
                </a:cubicBezTo>
                <a:cubicBezTo>
                  <a:pt x="128127" y="2549740"/>
                  <a:pt x="127849" y="2541455"/>
                  <a:pt x="139428" y="2529713"/>
                </a:cubicBezTo>
                <a:cubicBezTo>
                  <a:pt x="144340" y="2524732"/>
                  <a:pt x="148043" y="2518161"/>
                  <a:pt x="147656" y="2515110"/>
                </a:cubicBezTo>
                <a:cubicBezTo>
                  <a:pt x="145740" y="2499961"/>
                  <a:pt x="148616" y="2487403"/>
                  <a:pt x="154003" y="2487403"/>
                </a:cubicBezTo>
                <a:close/>
                <a:moveTo>
                  <a:pt x="4489212" y="2459669"/>
                </a:moveTo>
                <a:cubicBezTo>
                  <a:pt x="4506938" y="2465803"/>
                  <a:pt x="4507796" y="2467224"/>
                  <a:pt x="4507796" y="2490415"/>
                </a:cubicBezTo>
                <a:cubicBezTo>
                  <a:pt x="4507796" y="2502106"/>
                  <a:pt x="4510118" y="2512793"/>
                  <a:pt x="4512956" y="2514162"/>
                </a:cubicBezTo>
                <a:cubicBezTo>
                  <a:pt x="4516322" y="2515787"/>
                  <a:pt x="4516842" y="2520920"/>
                  <a:pt x="4514448" y="2528934"/>
                </a:cubicBezTo>
                <a:cubicBezTo>
                  <a:pt x="4512431" y="2535689"/>
                  <a:pt x="4511135" y="2543535"/>
                  <a:pt x="4511569" y="2546369"/>
                </a:cubicBezTo>
                <a:cubicBezTo>
                  <a:pt x="4512002" y="2549203"/>
                  <a:pt x="4510191" y="2563161"/>
                  <a:pt x="4507545" y="2577386"/>
                </a:cubicBezTo>
                <a:cubicBezTo>
                  <a:pt x="4503120" y="2601177"/>
                  <a:pt x="4503569" y="2604315"/>
                  <a:pt x="4513150" y="2616549"/>
                </a:cubicBezTo>
                <a:cubicBezTo>
                  <a:pt x="4518879" y="2623863"/>
                  <a:pt x="4527279" y="2632901"/>
                  <a:pt x="4531819" y="2636631"/>
                </a:cubicBezTo>
                <a:cubicBezTo>
                  <a:pt x="4536358" y="2640362"/>
                  <a:pt x="4541899" y="2651342"/>
                  <a:pt x="4544130" y="2661031"/>
                </a:cubicBezTo>
                <a:cubicBezTo>
                  <a:pt x="4547409" y="2675279"/>
                  <a:pt x="4546498" y="2681091"/>
                  <a:pt x="4539364" y="2691419"/>
                </a:cubicBezTo>
                <a:cubicBezTo>
                  <a:pt x="4529460" y="2705758"/>
                  <a:pt x="4520915" y="2701899"/>
                  <a:pt x="4520915" y="2683088"/>
                </a:cubicBezTo>
                <a:cubicBezTo>
                  <a:pt x="4520915" y="2676220"/>
                  <a:pt x="4517964" y="2668962"/>
                  <a:pt x="4514355" y="2666957"/>
                </a:cubicBezTo>
                <a:cubicBezTo>
                  <a:pt x="4510748" y="2664953"/>
                  <a:pt x="4507796" y="2656729"/>
                  <a:pt x="4507796" y="2648681"/>
                </a:cubicBezTo>
                <a:cubicBezTo>
                  <a:pt x="4507796" y="2612677"/>
                  <a:pt x="4491969" y="2602005"/>
                  <a:pt x="4476606" y="2627651"/>
                </a:cubicBezTo>
                <a:cubicBezTo>
                  <a:pt x="4467602" y="2642680"/>
                  <a:pt x="4466499" y="2649522"/>
                  <a:pt x="4472248" y="2654666"/>
                </a:cubicBezTo>
                <a:cubicBezTo>
                  <a:pt x="4474343" y="2656540"/>
                  <a:pt x="4477189" y="2666270"/>
                  <a:pt x="4478572" y="2676289"/>
                </a:cubicBezTo>
                <a:cubicBezTo>
                  <a:pt x="4481394" y="2696713"/>
                  <a:pt x="4501448" y="2712864"/>
                  <a:pt x="4516779" y="2707060"/>
                </a:cubicBezTo>
                <a:cubicBezTo>
                  <a:pt x="4528708" y="2702543"/>
                  <a:pt x="4532889" y="2718650"/>
                  <a:pt x="4523632" y="2733459"/>
                </a:cubicBezTo>
                <a:cubicBezTo>
                  <a:pt x="4519041" y="2740804"/>
                  <a:pt x="4516542" y="2756205"/>
                  <a:pt x="4516542" y="2777165"/>
                </a:cubicBezTo>
                <a:cubicBezTo>
                  <a:pt x="4516542" y="2814008"/>
                  <a:pt x="4512711" y="2820860"/>
                  <a:pt x="4500806" y="2805311"/>
                </a:cubicBezTo>
                <a:lnTo>
                  <a:pt x="4500806" y="2805310"/>
                </a:lnTo>
                <a:cubicBezTo>
                  <a:pt x="4496233" y="2799337"/>
                  <a:pt x="4490031" y="2794165"/>
                  <a:pt x="4487024" y="2793817"/>
                </a:cubicBezTo>
                <a:cubicBezTo>
                  <a:pt x="4484019" y="2793469"/>
                  <a:pt x="4478608" y="2792757"/>
                  <a:pt x="4475000" y="2792234"/>
                </a:cubicBezTo>
                <a:cubicBezTo>
                  <a:pt x="4471093" y="2791669"/>
                  <a:pt x="4468440" y="2784883"/>
                  <a:pt x="4468440" y="2775457"/>
                </a:cubicBezTo>
                <a:cubicBezTo>
                  <a:pt x="4468440" y="2766753"/>
                  <a:pt x="4466472" y="2759630"/>
                  <a:pt x="4464067" y="2759630"/>
                </a:cubicBezTo>
                <a:cubicBezTo>
                  <a:pt x="4461662" y="2759630"/>
                  <a:pt x="4459694" y="2754101"/>
                  <a:pt x="4459694" y="2747342"/>
                </a:cubicBezTo>
                <a:cubicBezTo>
                  <a:pt x="4459694" y="2740584"/>
                  <a:pt x="4461662" y="2733293"/>
                  <a:pt x="4464067" y="2731141"/>
                </a:cubicBezTo>
                <a:cubicBezTo>
                  <a:pt x="4470062" y="2725778"/>
                  <a:pt x="4469618" y="2689991"/>
                  <a:pt x="4463558" y="2689991"/>
                </a:cubicBezTo>
                <a:cubicBezTo>
                  <a:pt x="4460828" y="2689991"/>
                  <a:pt x="4459682" y="2684408"/>
                  <a:pt x="4460961" y="2677329"/>
                </a:cubicBezTo>
                <a:cubicBezTo>
                  <a:pt x="4462219" y="2670365"/>
                  <a:pt x="4461465" y="2664667"/>
                  <a:pt x="4459285" y="2664667"/>
                </a:cubicBezTo>
                <a:cubicBezTo>
                  <a:pt x="4457105" y="2664667"/>
                  <a:pt x="4455321" y="2648666"/>
                  <a:pt x="4455321" y="2629110"/>
                </a:cubicBezTo>
                <a:cubicBezTo>
                  <a:pt x="4455321" y="2595782"/>
                  <a:pt x="4455915" y="2593776"/>
                  <a:pt x="4464775" y="2597130"/>
                </a:cubicBezTo>
                <a:cubicBezTo>
                  <a:pt x="4485373" y="2604929"/>
                  <a:pt x="4498727" y="2574663"/>
                  <a:pt x="4484058" y="2553425"/>
                </a:cubicBezTo>
                <a:cubicBezTo>
                  <a:pt x="4476151" y="2541978"/>
                  <a:pt x="4473076" y="2542075"/>
                  <a:pt x="4463930" y="2554058"/>
                </a:cubicBezTo>
                <a:cubicBezTo>
                  <a:pt x="4453905" y="2567191"/>
                  <a:pt x="4440547" y="2559078"/>
                  <a:pt x="4417058" y="2525589"/>
                </a:cubicBezTo>
                <a:cubicBezTo>
                  <a:pt x="4405156" y="2508619"/>
                  <a:pt x="4398473" y="2493472"/>
                  <a:pt x="4398473" y="2483464"/>
                </a:cubicBezTo>
                <a:cubicBezTo>
                  <a:pt x="4398473" y="2469034"/>
                  <a:pt x="4399645" y="2468156"/>
                  <a:pt x="4413779" y="2471995"/>
                </a:cubicBezTo>
                <a:cubicBezTo>
                  <a:pt x="4423811" y="2474719"/>
                  <a:pt x="4429084" y="2473727"/>
                  <a:pt x="4429084" y="2469116"/>
                </a:cubicBezTo>
                <a:cubicBezTo>
                  <a:pt x="4429084" y="2457459"/>
                  <a:pt x="4442832" y="2461193"/>
                  <a:pt x="4451173" y="2475117"/>
                </a:cubicBezTo>
                <a:cubicBezTo>
                  <a:pt x="4457941" y="2486414"/>
                  <a:pt x="4460198" y="2487055"/>
                  <a:pt x="4468085" y="2479925"/>
                </a:cubicBezTo>
                <a:cubicBezTo>
                  <a:pt x="4473091" y="2475399"/>
                  <a:pt x="4477186" y="2468054"/>
                  <a:pt x="4477186" y="2463602"/>
                </a:cubicBezTo>
                <a:cubicBezTo>
                  <a:pt x="4477186" y="2457984"/>
                  <a:pt x="4480865" y="2456781"/>
                  <a:pt x="4489212" y="2459669"/>
                </a:cubicBezTo>
                <a:close/>
                <a:moveTo>
                  <a:pt x="7746" y="2436756"/>
                </a:moveTo>
                <a:cubicBezTo>
                  <a:pt x="16623" y="2436756"/>
                  <a:pt x="17123" y="2439343"/>
                  <a:pt x="15909" y="2478985"/>
                </a:cubicBezTo>
                <a:cubicBezTo>
                  <a:pt x="15090" y="2505722"/>
                  <a:pt x="12610" y="2522174"/>
                  <a:pt x="9149" y="2523829"/>
                </a:cubicBezTo>
                <a:cubicBezTo>
                  <a:pt x="5287" y="2525677"/>
                  <a:pt x="3666" y="2517470"/>
                  <a:pt x="3624" y="2495844"/>
                </a:cubicBezTo>
                <a:cubicBezTo>
                  <a:pt x="3589" y="2479015"/>
                  <a:pt x="2378" y="2458836"/>
                  <a:pt x="927" y="2451001"/>
                </a:cubicBezTo>
                <a:cubicBezTo>
                  <a:pt x="-1212" y="2439444"/>
                  <a:pt x="75" y="2436756"/>
                  <a:pt x="7746" y="2436756"/>
                </a:cubicBezTo>
                <a:close/>
                <a:moveTo>
                  <a:pt x="4451449" y="2180169"/>
                </a:moveTo>
                <a:cubicBezTo>
                  <a:pt x="4454310" y="2178602"/>
                  <a:pt x="4458375" y="2179294"/>
                  <a:pt x="4461168" y="2183599"/>
                </a:cubicBezTo>
                <a:cubicBezTo>
                  <a:pt x="4465043" y="2189569"/>
                  <a:pt x="4464951" y="2192127"/>
                  <a:pt x="4460788" y="2194337"/>
                </a:cubicBezTo>
                <a:cubicBezTo>
                  <a:pt x="4457782" y="2195933"/>
                  <a:pt x="4455322" y="2206973"/>
                  <a:pt x="4455322" y="2218869"/>
                </a:cubicBezTo>
                <a:cubicBezTo>
                  <a:pt x="4455322" y="2230767"/>
                  <a:pt x="4453354" y="2240500"/>
                  <a:pt x="4450949" y="2240500"/>
                </a:cubicBezTo>
                <a:cubicBezTo>
                  <a:pt x="4444202" y="2240500"/>
                  <a:pt x="4445778" y="2263314"/>
                  <a:pt x="4453135" y="2272154"/>
                </a:cubicBezTo>
                <a:cubicBezTo>
                  <a:pt x="4461664" y="2282403"/>
                  <a:pt x="4461501" y="2295119"/>
                  <a:pt x="4452776" y="2299966"/>
                </a:cubicBezTo>
                <a:cubicBezTo>
                  <a:pt x="4448972" y="2302079"/>
                  <a:pt x="4445529" y="2303584"/>
                  <a:pt x="4445124" y="2303309"/>
                </a:cubicBezTo>
                <a:cubicBezTo>
                  <a:pt x="4444722" y="2303034"/>
                  <a:pt x="4441928" y="2301372"/>
                  <a:pt x="4438922" y="2299616"/>
                </a:cubicBezTo>
                <a:lnTo>
                  <a:pt x="4438923" y="2299616"/>
                </a:lnTo>
                <a:cubicBezTo>
                  <a:pt x="4431949" y="2295542"/>
                  <a:pt x="4431791" y="2258106"/>
                  <a:pt x="4438704" y="2248097"/>
                </a:cubicBezTo>
                <a:cubicBezTo>
                  <a:pt x="4442786" y="2242188"/>
                  <a:pt x="4442786" y="2240500"/>
                  <a:pt x="4438704" y="2240500"/>
                </a:cubicBezTo>
                <a:cubicBezTo>
                  <a:pt x="4435818" y="2240500"/>
                  <a:pt x="4433457" y="2234802"/>
                  <a:pt x="4433457" y="2227838"/>
                </a:cubicBezTo>
                <a:cubicBezTo>
                  <a:pt x="4433457" y="2220875"/>
                  <a:pt x="4435424" y="2215176"/>
                  <a:pt x="4437830" y="2215176"/>
                </a:cubicBezTo>
                <a:cubicBezTo>
                  <a:pt x="4440235" y="2215176"/>
                  <a:pt x="4442203" y="2210903"/>
                  <a:pt x="4442203" y="2205680"/>
                </a:cubicBezTo>
                <a:cubicBezTo>
                  <a:pt x="4442203" y="2200458"/>
                  <a:pt x="4444287" y="2196184"/>
                  <a:pt x="4446833" y="2196184"/>
                </a:cubicBezTo>
                <a:cubicBezTo>
                  <a:pt x="4449381" y="2196184"/>
                  <a:pt x="4450332" y="2193532"/>
                  <a:pt x="4448948" y="2190290"/>
                </a:cubicBezTo>
                <a:cubicBezTo>
                  <a:pt x="4446930" y="2185561"/>
                  <a:pt x="4448588" y="2181735"/>
                  <a:pt x="4451449" y="2180169"/>
                </a:cubicBezTo>
                <a:close/>
                <a:moveTo>
                  <a:pt x="34606" y="2069567"/>
                </a:moveTo>
                <a:cubicBezTo>
                  <a:pt x="41993" y="2069567"/>
                  <a:pt x="50608" y="2073128"/>
                  <a:pt x="53749" y="2077480"/>
                </a:cubicBezTo>
                <a:cubicBezTo>
                  <a:pt x="56890" y="2081833"/>
                  <a:pt x="63637" y="2089584"/>
                  <a:pt x="68742" y="2094705"/>
                </a:cubicBezTo>
                <a:cubicBezTo>
                  <a:pt x="73846" y="2099827"/>
                  <a:pt x="78086" y="2108373"/>
                  <a:pt x="78162" y="2113698"/>
                </a:cubicBezTo>
                <a:cubicBezTo>
                  <a:pt x="78239" y="2119023"/>
                  <a:pt x="81191" y="2128909"/>
                  <a:pt x="84722" y="2135668"/>
                </a:cubicBezTo>
                <a:cubicBezTo>
                  <a:pt x="88253" y="2142427"/>
                  <a:pt x="91142" y="2152969"/>
                  <a:pt x="91142" y="2159094"/>
                </a:cubicBezTo>
                <a:cubicBezTo>
                  <a:pt x="91142" y="2165220"/>
                  <a:pt x="94520" y="2172968"/>
                  <a:pt x="98649" y="2176313"/>
                </a:cubicBezTo>
                <a:cubicBezTo>
                  <a:pt x="105049" y="2181498"/>
                  <a:pt x="105348" y="2184580"/>
                  <a:pt x="100678" y="2197213"/>
                </a:cubicBezTo>
                <a:cubicBezTo>
                  <a:pt x="97665" y="2205363"/>
                  <a:pt x="94779" y="2224821"/>
                  <a:pt x="94264" y="2240455"/>
                </a:cubicBezTo>
                <a:cubicBezTo>
                  <a:pt x="93470" y="2264584"/>
                  <a:pt x="94825" y="2269837"/>
                  <a:pt x="103228" y="2275221"/>
                </a:cubicBezTo>
                <a:cubicBezTo>
                  <a:pt x="108672" y="2278708"/>
                  <a:pt x="112240" y="2284908"/>
                  <a:pt x="111157" y="2288996"/>
                </a:cubicBezTo>
                <a:cubicBezTo>
                  <a:pt x="110073" y="2293084"/>
                  <a:pt x="111871" y="2297922"/>
                  <a:pt x="115154" y="2299745"/>
                </a:cubicBezTo>
                <a:cubicBezTo>
                  <a:pt x="119360" y="2302082"/>
                  <a:pt x="120743" y="2312515"/>
                  <a:pt x="119839" y="2335089"/>
                </a:cubicBezTo>
                <a:cubicBezTo>
                  <a:pt x="119133" y="2352705"/>
                  <a:pt x="119767" y="2367139"/>
                  <a:pt x="121247" y="2367166"/>
                </a:cubicBezTo>
                <a:cubicBezTo>
                  <a:pt x="127529" y="2367282"/>
                  <a:pt x="134871" y="2403761"/>
                  <a:pt x="134871" y="2434853"/>
                </a:cubicBezTo>
                <a:cubicBezTo>
                  <a:pt x="134871" y="2471186"/>
                  <a:pt x="136638" y="2469452"/>
                  <a:pt x="105354" y="2463831"/>
                </a:cubicBezTo>
                <a:cubicBezTo>
                  <a:pt x="92947" y="2461602"/>
                  <a:pt x="91142" y="2458917"/>
                  <a:pt x="91142" y="2442687"/>
                </a:cubicBezTo>
                <a:cubicBezTo>
                  <a:pt x="91142" y="2432461"/>
                  <a:pt x="89019" y="2424095"/>
                  <a:pt x="86424" y="2424095"/>
                </a:cubicBezTo>
                <a:cubicBezTo>
                  <a:pt x="83339" y="2424095"/>
                  <a:pt x="82204" y="2407647"/>
                  <a:pt x="83144" y="2376598"/>
                </a:cubicBezTo>
                <a:cubicBezTo>
                  <a:pt x="83935" y="2350476"/>
                  <a:pt x="83105" y="2329109"/>
                  <a:pt x="81303" y="2329117"/>
                </a:cubicBezTo>
                <a:cubicBezTo>
                  <a:pt x="79499" y="2329123"/>
                  <a:pt x="78023" y="2308310"/>
                  <a:pt x="78023" y="2282860"/>
                </a:cubicBezTo>
                <a:cubicBezTo>
                  <a:pt x="78023" y="2233532"/>
                  <a:pt x="74047" y="2219757"/>
                  <a:pt x="56084" y="2206845"/>
                </a:cubicBezTo>
                <a:cubicBezTo>
                  <a:pt x="46323" y="2199829"/>
                  <a:pt x="45006" y="2194261"/>
                  <a:pt x="43040" y="2151714"/>
                </a:cubicBezTo>
                <a:cubicBezTo>
                  <a:pt x="41048" y="2108581"/>
                  <a:pt x="39981" y="2104207"/>
                  <a:pt x="31014" y="2102364"/>
                </a:cubicBezTo>
                <a:cubicBezTo>
                  <a:pt x="23893" y="2100899"/>
                  <a:pt x="21175" y="2096091"/>
                  <a:pt x="21175" y="2084954"/>
                </a:cubicBezTo>
                <a:cubicBezTo>
                  <a:pt x="21175" y="2071998"/>
                  <a:pt x="23298" y="2069567"/>
                  <a:pt x="34606" y="2069567"/>
                </a:cubicBezTo>
                <a:close/>
                <a:moveTo>
                  <a:pt x="4460614" y="2037913"/>
                </a:moveTo>
                <a:cubicBezTo>
                  <a:pt x="4468293" y="2037913"/>
                  <a:pt x="4468881" y="2040781"/>
                  <a:pt x="4466134" y="2064819"/>
                </a:cubicBezTo>
                <a:cubicBezTo>
                  <a:pt x="4462464" y="2096925"/>
                  <a:pt x="4460963" y="2101221"/>
                  <a:pt x="4453412" y="2101221"/>
                </a:cubicBezTo>
                <a:cubicBezTo>
                  <a:pt x="4450241" y="2101221"/>
                  <a:pt x="4445196" y="2105495"/>
                  <a:pt x="4442203" y="2110717"/>
                </a:cubicBezTo>
                <a:cubicBezTo>
                  <a:pt x="4439209" y="2115941"/>
                  <a:pt x="4435031" y="2120214"/>
                  <a:pt x="4432921" y="2120214"/>
                </a:cubicBezTo>
                <a:cubicBezTo>
                  <a:pt x="4430811" y="2120214"/>
                  <a:pt x="4429084" y="2115941"/>
                  <a:pt x="4429084" y="2110717"/>
                </a:cubicBezTo>
                <a:cubicBezTo>
                  <a:pt x="4429084" y="2105495"/>
                  <a:pt x="4427116" y="2101221"/>
                  <a:pt x="4424711" y="2101221"/>
                </a:cubicBezTo>
                <a:cubicBezTo>
                  <a:pt x="4422306" y="2101221"/>
                  <a:pt x="4420338" y="2097185"/>
                  <a:pt x="4420338" y="2092252"/>
                </a:cubicBezTo>
                <a:cubicBezTo>
                  <a:pt x="4420338" y="2087320"/>
                  <a:pt x="4418016" y="2082163"/>
                  <a:pt x="4415178" y="2080794"/>
                </a:cubicBezTo>
                <a:cubicBezTo>
                  <a:pt x="4404971" y="2075869"/>
                  <a:pt x="4415475" y="2056905"/>
                  <a:pt x="4428412" y="2056905"/>
                </a:cubicBezTo>
                <a:cubicBezTo>
                  <a:pt x="4435408" y="2056905"/>
                  <a:pt x="4443582" y="2052632"/>
                  <a:pt x="4446576" y="2047409"/>
                </a:cubicBezTo>
                <a:cubicBezTo>
                  <a:pt x="4449569" y="2042186"/>
                  <a:pt x="4455887" y="2037913"/>
                  <a:pt x="4460614" y="2037913"/>
                </a:cubicBezTo>
                <a:close/>
                <a:moveTo>
                  <a:pt x="103803" y="1997172"/>
                </a:moveTo>
                <a:cubicBezTo>
                  <a:pt x="108304" y="1993144"/>
                  <a:pt x="113732" y="2009429"/>
                  <a:pt x="109790" y="2015136"/>
                </a:cubicBezTo>
                <a:cubicBezTo>
                  <a:pt x="105098" y="2021929"/>
                  <a:pt x="99888" y="2019120"/>
                  <a:pt x="99888" y="2009798"/>
                </a:cubicBezTo>
                <a:cubicBezTo>
                  <a:pt x="99888" y="2004780"/>
                  <a:pt x="101649" y="1999099"/>
                  <a:pt x="103803" y="1997172"/>
                </a:cubicBezTo>
                <a:close/>
                <a:moveTo>
                  <a:pt x="4417411" y="1842865"/>
                </a:moveTo>
                <a:cubicBezTo>
                  <a:pt x="4426211" y="1841865"/>
                  <a:pt x="4436219" y="1843425"/>
                  <a:pt x="4440321" y="1848354"/>
                </a:cubicBezTo>
                <a:cubicBezTo>
                  <a:pt x="4444542" y="1853425"/>
                  <a:pt x="4446576" y="1868924"/>
                  <a:pt x="4446576" y="1896026"/>
                </a:cubicBezTo>
                <a:cubicBezTo>
                  <a:pt x="4446576" y="1932005"/>
                  <a:pt x="4445226" y="1938181"/>
                  <a:pt x="4433604" y="1955393"/>
                </a:cubicBezTo>
                <a:cubicBezTo>
                  <a:pt x="4420486" y="1974823"/>
                  <a:pt x="4415431" y="1978051"/>
                  <a:pt x="4410134" y="1970383"/>
                </a:cubicBezTo>
                <a:cubicBezTo>
                  <a:pt x="4408531" y="1968063"/>
                  <a:pt x="4407219" y="1958295"/>
                  <a:pt x="4407219" y="1948678"/>
                </a:cubicBezTo>
                <a:cubicBezTo>
                  <a:pt x="4407219" y="1939061"/>
                  <a:pt x="4404268" y="1926919"/>
                  <a:pt x="4400659" y="1921696"/>
                </a:cubicBezTo>
                <a:cubicBezTo>
                  <a:pt x="4393356" y="1911121"/>
                  <a:pt x="4391547" y="1860649"/>
                  <a:pt x="4398473" y="1860649"/>
                </a:cubicBezTo>
                <a:cubicBezTo>
                  <a:pt x="4400878" y="1860649"/>
                  <a:pt x="4402354" y="1857087"/>
                  <a:pt x="4401754" y="1852735"/>
                </a:cubicBezTo>
                <a:cubicBezTo>
                  <a:pt x="4401020" y="1847424"/>
                  <a:pt x="4408611" y="1843865"/>
                  <a:pt x="4417411" y="1842865"/>
                </a:cubicBezTo>
                <a:close/>
                <a:moveTo>
                  <a:pt x="4344905" y="1614950"/>
                </a:moveTo>
                <a:cubicBezTo>
                  <a:pt x="4349115" y="1616124"/>
                  <a:pt x="4352557" y="1621279"/>
                  <a:pt x="4352557" y="1626407"/>
                </a:cubicBezTo>
                <a:cubicBezTo>
                  <a:pt x="4352557" y="1631535"/>
                  <a:pt x="4349115" y="1636690"/>
                  <a:pt x="4344905" y="1637863"/>
                </a:cubicBezTo>
                <a:cubicBezTo>
                  <a:pt x="4339535" y="1639360"/>
                  <a:pt x="4337253" y="1635942"/>
                  <a:pt x="4337253" y="1626407"/>
                </a:cubicBezTo>
                <a:cubicBezTo>
                  <a:pt x="4337253" y="1616872"/>
                  <a:pt x="4339535" y="1613453"/>
                  <a:pt x="4344905" y="1614950"/>
                </a:cubicBezTo>
                <a:close/>
                <a:moveTo>
                  <a:pt x="4204363" y="1582188"/>
                </a:moveTo>
                <a:cubicBezTo>
                  <a:pt x="4197064" y="1582102"/>
                  <a:pt x="4196393" y="1585598"/>
                  <a:pt x="4198605" y="1612163"/>
                </a:cubicBezTo>
                <a:cubicBezTo>
                  <a:pt x="4200911" y="1639834"/>
                  <a:pt x="4214478" y="1693454"/>
                  <a:pt x="4221888" y="1704182"/>
                </a:cubicBezTo>
                <a:cubicBezTo>
                  <a:pt x="4226089" y="1710263"/>
                  <a:pt x="4227977" y="1709597"/>
                  <a:pt x="4243234" y="1696654"/>
                </a:cubicBezTo>
                <a:cubicBezTo>
                  <a:pt x="4250450" y="1690534"/>
                  <a:pt x="4257024" y="1680517"/>
                  <a:pt x="4257843" y="1674394"/>
                </a:cubicBezTo>
                <a:cubicBezTo>
                  <a:pt x="4259456" y="1662329"/>
                  <a:pt x="4242669" y="1632479"/>
                  <a:pt x="4235464" y="1634601"/>
                </a:cubicBezTo>
                <a:cubicBezTo>
                  <a:pt x="4233031" y="1635317"/>
                  <a:pt x="4229173" y="1625936"/>
                  <a:pt x="4226892" y="1613755"/>
                </a:cubicBezTo>
                <a:cubicBezTo>
                  <a:pt x="4222385" y="1589697"/>
                  <a:pt x="4217133" y="1582337"/>
                  <a:pt x="4204363" y="1582188"/>
                </a:cubicBezTo>
                <a:close/>
                <a:moveTo>
                  <a:pt x="4407219" y="1487128"/>
                </a:moveTo>
                <a:cubicBezTo>
                  <a:pt x="4409624" y="1487128"/>
                  <a:pt x="4411592" y="1491402"/>
                  <a:pt x="4411592" y="1496625"/>
                </a:cubicBezTo>
                <a:cubicBezTo>
                  <a:pt x="4411592" y="1501848"/>
                  <a:pt x="4409624" y="1506120"/>
                  <a:pt x="4407219" y="1506120"/>
                </a:cubicBezTo>
                <a:cubicBezTo>
                  <a:pt x="4404814" y="1506120"/>
                  <a:pt x="4402846" y="1501848"/>
                  <a:pt x="4402846" y="1496625"/>
                </a:cubicBezTo>
                <a:cubicBezTo>
                  <a:pt x="4402846" y="1491402"/>
                  <a:pt x="4404814" y="1487128"/>
                  <a:pt x="4407219" y="1487128"/>
                </a:cubicBezTo>
                <a:close/>
                <a:moveTo>
                  <a:pt x="4317718" y="1474466"/>
                </a:moveTo>
                <a:cubicBezTo>
                  <a:pt x="4321431" y="1474466"/>
                  <a:pt x="4345998" y="1512422"/>
                  <a:pt x="4345998" y="1518157"/>
                </a:cubicBezTo>
                <a:cubicBezTo>
                  <a:pt x="4345998" y="1527487"/>
                  <a:pt x="4336171" y="1526974"/>
                  <a:pt x="4327663" y="1517200"/>
                </a:cubicBezTo>
                <a:cubicBezTo>
                  <a:pt x="4322087" y="1510793"/>
                  <a:pt x="4313633" y="1474466"/>
                  <a:pt x="4317718" y="1474466"/>
                </a:cubicBezTo>
                <a:close/>
                <a:moveTo>
                  <a:pt x="4293987" y="1306730"/>
                </a:moveTo>
                <a:cubicBezTo>
                  <a:pt x="4296786" y="1305175"/>
                  <a:pt x="4300348" y="1306376"/>
                  <a:pt x="4303395" y="1311043"/>
                </a:cubicBezTo>
                <a:cubicBezTo>
                  <a:pt x="4314481" y="1328015"/>
                  <a:pt x="4320345" y="1352557"/>
                  <a:pt x="4318980" y="1376275"/>
                </a:cubicBezTo>
                <a:cubicBezTo>
                  <a:pt x="4317138" y="1408262"/>
                  <a:pt x="4308655" y="1411397"/>
                  <a:pt x="4300491" y="1383107"/>
                </a:cubicBezTo>
                <a:cubicBezTo>
                  <a:pt x="4296020" y="1367613"/>
                  <a:pt x="4291151" y="1360511"/>
                  <a:pt x="4285001" y="1360511"/>
                </a:cubicBezTo>
                <a:cubicBezTo>
                  <a:pt x="4274509" y="1360511"/>
                  <a:pt x="4273177" y="1346499"/>
                  <a:pt x="4282590" y="1335187"/>
                </a:cubicBezTo>
                <a:cubicBezTo>
                  <a:pt x="4286199" y="1330853"/>
                  <a:pt x="4289150" y="1323550"/>
                  <a:pt x="4289150" y="1318959"/>
                </a:cubicBezTo>
                <a:cubicBezTo>
                  <a:pt x="4289150" y="1312598"/>
                  <a:pt x="4291188" y="1308286"/>
                  <a:pt x="4293987" y="1306730"/>
                </a:cubicBezTo>
                <a:close/>
                <a:moveTo>
                  <a:pt x="4289150" y="1180082"/>
                </a:moveTo>
                <a:cubicBezTo>
                  <a:pt x="4291556" y="1177930"/>
                  <a:pt x="4293523" y="1180610"/>
                  <a:pt x="4293523" y="1186038"/>
                </a:cubicBezTo>
                <a:cubicBezTo>
                  <a:pt x="4293523" y="1191467"/>
                  <a:pt x="4291556" y="1195908"/>
                  <a:pt x="4289150" y="1195908"/>
                </a:cubicBezTo>
                <a:cubicBezTo>
                  <a:pt x="4286745" y="1195908"/>
                  <a:pt x="4284778" y="1193228"/>
                  <a:pt x="4284778" y="1189951"/>
                </a:cubicBezTo>
                <a:cubicBezTo>
                  <a:pt x="4284778" y="1186675"/>
                  <a:pt x="4286745" y="1182233"/>
                  <a:pt x="4289150" y="1180082"/>
                </a:cubicBezTo>
                <a:close/>
                <a:moveTo>
                  <a:pt x="4345236" y="1176916"/>
                </a:moveTo>
                <a:cubicBezTo>
                  <a:pt x="4356140" y="1176916"/>
                  <a:pt x="4373988" y="1205488"/>
                  <a:pt x="4370740" y="1217745"/>
                </a:cubicBezTo>
                <a:cubicBezTo>
                  <a:pt x="4367336" y="1230589"/>
                  <a:pt x="4345998" y="1230866"/>
                  <a:pt x="4345998" y="1218067"/>
                </a:cubicBezTo>
                <a:cubicBezTo>
                  <a:pt x="4345998" y="1212843"/>
                  <a:pt x="4344031" y="1208570"/>
                  <a:pt x="4341625" y="1208570"/>
                </a:cubicBezTo>
                <a:cubicBezTo>
                  <a:pt x="4339220" y="1208570"/>
                  <a:pt x="4337253" y="1201448"/>
                  <a:pt x="4337253" y="1192743"/>
                </a:cubicBezTo>
                <a:cubicBezTo>
                  <a:pt x="4337253" y="1181640"/>
                  <a:pt x="4339636" y="1176916"/>
                  <a:pt x="4345236" y="1176916"/>
                </a:cubicBezTo>
                <a:close/>
                <a:moveTo>
                  <a:pt x="4039894" y="1107277"/>
                </a:moveTo>
                <a:cubicBezTo>
                  <a:pt x="4046077" y="1107277"/>
                  <a:pt x="4045347" y="1153828"/>
                  <a:pt x="4039019" y="1162988"/>
                </a:cubicBezTo>
                <a:cubicBezTo>
                  <a:pt x="4031817" y="1173414"/>
                  <a:pt x="4029404" y="1172663"/>
                  <a:pt x="4019800" y="1156998"/>
                </a:cubicBezTo>
                <a:cubicBezTo>
                  <a:pt x="4013808" y="1147226"/>
                  <a:pt x="4013004" y="1142635"/>
                  <a:pt x="4016936" y="1140644"/>
                </a:cubicBezTo>
                <a:cubicBezTo>
                  <a:pt x="4019942" y="1139122"/>
                  <a:pt x="4022402" y="1133840"/>
                  <a:pt x="4022402" y="1128907"/>
                </a:cubicBezTo>
                <a:cubicBezTo>
                  <a:pt x="4022402" y="1123974"/>
                  <a:pt x="4025354" y="1119938"/>
                  <a:pt x="4028961" y="1119938"/>
                </a:cubicBezTo>
                <a:cubicBezTo>
                  <a:pt x="4032569" y="1119938"/>
                  <a:pt x="4035521" y="1117089"/>
                  <a:pt x="4035521" y="1113607"/>
                </a:cubicBezTo>
                <a:cubicBezTo>
                  <a:pt x="4035521" y="1110125"/>
                  <a:pt x="4037488" y="1107277"/>
                  <a:pt x="4039894" y="1107277"/>
                </a:cubicBezTo>
                <a:close/>
                <a:moveTo>
                  <a:pt x="4144916" y="1053528"/>
                </a:moveTo>
                <a:cubicBezTo>
                  <a:pt x="4149806" y="1057904"/>
                  <a:pt x="4146596" y="1069291"/>
                  <a:pt x="4140471" y="1069291"/>
                </a:cubicBezTo>
                <a:cubicBezTo>
                  <a:pt x="4138350" y="1069291"/>
                  <a:pt x="4135483" y="1066639"/>
                  <a:pt x="4134098" y="1063398"/>
                </a:cubicBezTo>
                <a:cubicBezTo>
                  <a:pt x="4130865" y="1055823"/>
                  <a:pt x="4139091" y="1048316"/>
                  <a:pt x="4144916" y="1053528"/>
                </a:cubicBezTo>
                <a:close/>
                <a:moveTo>
                  <a:pt x="3987419" y="990156"/>
                </a:moveTo>
                <a:cubicBezTo>
                  <a:pt x="3985013" y="988004"/>
                  <a:pt x="3983046" y="989260"/>
                  <a:pt x="3983046" y="992947"/>
                </a:cubicBezTo>
                <a:cubicBezTo>
                  <a:pt x="3983046" y="996635"/>
                  <a:pt x="3985013" y="999652"/>
                  <a:pt x="3987419" y="999652"/>
                </a:cubicBezTo>
                <a:cubicBezTo>
                  <a:pt x="3989824" y="999652"/>
                  <a:pt x="3991792" y="998396"/>
                  <a:pt x="3991792" y="996860"/>
                </a:cubicBezTo>
                <a:cubicBezTo>
                  <a:pt x="3991792" y="995325"/>
                  <a:pt x="3989824" y="992307"/>
                  <a:pt x="3987419" y="990156"/>
                </a:cubicBezTo>
                <a:close/>
                <a:moveTo>
                  <a:pt x="4173388" y="892398"/>
                </a:moveTo>
                <a:cubicBezTo>
                  <a:pt x="4176923" y="893423"/>
                  <a:pt x="4180831" y="898778"/>
                  <a:pt x="4182372" y="907667"/>
                </a:cubicBezTo>
                <a:cubicBezTo>
                  <a:pt x="4184110" y="917692"/>
                  <a:pt x="4182681" y="926784"/>
                  <a:pt x="4178395" y="932991"/>
                </a:cubicBezTo>
                <a:cubicBezTo>
                  <a:pt x="4168370" y="947502"/>
                  <a:pt x="4160861" y="945131"/>
                  <a:pt x="4163952" y="928430"/>
                </a:cubicBezTo>
                <a:cubicBezTo>
                  <a:pt x="4165402" y="920596"/>
                  <a:pt x="4166617" y="909200"/>
                  <a:pt x="4166648" y="903107"/>
                </a:cubicBezTo>
                <a:cubicBezTo>
                  <a:pt x="4166694" y="894677"/>
                  <a:pt x="4169854" y="891373"/>
                  <a:pt x="4173388" y="892398"/>
                </a:cubicBezTo>
                <a:close/>
                <a:moveTo>
                  <a:pt x="4006132" y="869101"/>
                </a:moveTo>
                <a:cubicBezTo>
                  <a:pt x="4005672" y="869767"/>
                  <a:pt x="4005361" y="871985"/>
                  <a:pt x="4005256" y="875673"/>
                </a:cubicBezTo>
                <a:cubicBezTo>
                  <a:pt x="4005065" y="882347"/>
                  <a:pt x="4006100" y="886085"/>
                  <a:pt x="4007552" y="883982"/>
                </a:cubicBezTo>
                <a:cubicBezTo>
                  <a:pt x="4009005" y="881878"/>
                  <a:pt x="4009160" y="876418"/>
                  <a:pt x="4007897" y="871848"/>
                </a:cubicBezTo>
                <a:lnTo>
                  <a:pt x="4007897" y="871848"/>
                </a:lnTo>
                <a:cubicBezTo>
                  <a:pt x="4007199" y="869323"/>
                  <a:pt x="4006592" y="868435"/>
                  <a:pt x="4006132" y="869101"/>
                </a:cubicBezTo>
                <a:close/>
                <a:moveTo>
                  <a:pt x="4268481" y="836466"/>
                </a:moveTo>
                <a:cubicBezTo>
                  <a:pt x="4270763" y="838424"/>
                  <a:pt x="4271747" y="843443"/>
                  <a:pt x="4272461" y="852405"/>
                </a:cubicBezTo>
                <a:cubicBezTo>
                  <a:pt x="4274274" y="875150"/>
                  <a:pt x="4288053" y="879265"/>
                  <a:pt x="4298063" y="860052"/>
                </a:cubicBezTo>
                <a:cubicBezTo>
                  <a:pt x="4311044" y="835139"/>
                  <a:pt x="4319761" y="847756"/>
                  <a:pt x="4319761" y="891455"/>
                </a:cubicBezTo>
                <a:cubicBezTo>
                  <a:pt x="4319761" y="912251"/>
                  <a:pt x="4317633" y="931169"/>
                  <a:pt x="4315033" y="933496"/>
                </a:cubicBezTo>
                <a:cubicBezTo>
                  <a:pt x="4312432" y="935823"/>
                  <a:pt x="4304257" y="929581"/>
                  <a:pt x="4296867" y="919625"/>
                </a:cubicBezTo>
                <a:cubicBezTo>
                  <a:pt x="4287877" y="907516"/>
                  <a:pt x="4284326" y="905176"/>
                  <a:pt x="4286139" y="912555"/>
                </a:cubicBezTo>
                <a:cubicBezTo>
                  <a:pt x="4287631" y="918623"/>
                  <a:pt x="4286316" y="927016"/>
                  <a:pt x="4283218" y="931206"/>
                </a:cubicBezTo>
                <a:cubicBezTo>
                  <a:pt x="4278637" y="937401"/>
                  <a:pt x="4278846" y="940959"/>
                  <a:pt x="4284339" y="950245"/>
                </a:cubicBezTo>
                <a:cubicBezTo>
                  <a:pt x="4292546" y="964120"/>
                  <a:pt x="4305993" y="965152"/>
                  <a:pt x="4309434" y="952171"/>
                </a:cubicBezTo>
                <a:cubicBezTo>
                  <a:pt x="4312086" y="942162"/>
                  <a:pt x="4324134" y="938818"/>
                  <a:pt x="4324134" y="948089"/>
                </a:cubicBezTo>
                <a:cubicBezTo>
                  <a:pt x="4324134" y="951068"/>
                  <a:pt x="4330529" y="956148"/>
                  <a:pt x="4338345" y="959380"/>
                </a:cubicBezTo>
                <a:cubicBezTo>
                  <a:pt x="4347889" y="963325"/>
                  <a:pt x="4353004" y="969714"/>
                  <a:pt x="4353914" y="978828"/>
                </a:cubicBezTo>
                <a:cubicBezTo>
                  <a:pt x="4354660" y="986294"/>
                  <a:pt x="4358103" y="995806"/>
                  <a:pt x="4361566" y="999968"/>
                </a:cubicBezTo>
                <a:cubicBezTo>
                  <a:pt x="4365030" y="1004128"/>
                  <a:pt x="4367863" y="1012679"/>
                  <a:pt x="4367863" y="1018968"/>
                </a:cubicBezTo>
                <a:cubicBezTo>
                  <a:pt x="4367863" y="1025256"/>
                  <a:pt x="4370672" y="1034469"/>
                  <a:pt x="4374106" y="1039440"/>
                </a:cubicBezTo>
                <a:cubicBezTo>
                  <a:pt x="4382062" y="1050959"/>
                  <a:pt x="4388092" y="1094615"/>
                  <a:pt x="4381726" y="1094615"/>
                </a:cubicBezTo>
                <a:cubicBezTo>
                  <a:pt x="4379196" y="1094615"/>
                  <a:pt x="4375865" y="1091664"/>
                  <a:pt x="4374326" y="1088058"/>
                </a:cubicBezTo>
                <a:cubicBezTo>
                  <a:pt x="4372787" y="1084452"/>
                  <a:pt x="4364307" y="1081952"/>
                  <a:pt x="4355483" y="1082503"/>
                </a:cubicBezTo>
                <a:cubicBezTo>
                  <a:pt x="4346659" y="1083055"/>
                  <a:pt x="4323735" y="1081281"/>
                  <a:pt x="4304542" y="1078559"/>
                </a:cubicBezTo>
                <a:cubicBezTo>
                  <a:pt x="4271459" y="1073869"/>
                  <a:pt x="4270039" y="1074181"/>
                  <a:pt x="4277212" y="1084565"/>
                </a:cubicBezTo>
                <a:cubicBezTo>
                  <a:pt x="4281373" y="1090590"/>
                  <a:pt x="4284778" y="1098653"/>
                  <a:pt x="4284778" y="1102482"/>
                </a:cubicBezTo>
                <a:cubicBezTo>
                  <a:pt x="4284778" y="1106311"/>
                  <a:pt x="4288045" y="1114672"/>
                  <a:pt x="4292039" y="1121061"/>
                </a:cubicBezTo>
                <a:cubicBezTo>
                  <a:pt x="4301680" y="1136485"/>
                  <a:pt x="4298237" y="1140004"/>
                  <a:pt x="4280650" y="1132702"/>
                </a:cubicBezTo>
                <a:cubicBezTo>
                  <a:pt x="4271423" y="1128871"/>
                  <a:pt x="4263302" y="1128910"/>
                  <a:pt x="4258269" y="1132810"/>
                </a:cubicBezTo>
                <a:cubicBezTo>
                  <a:pt x="4244828" y="1143225"/>
                  <a:pt x="4242260" y="1139931"/>
                  <a:pt x="4239604" y="1108859"/>
                </a:cubicBezTo>
                <a:cubicBezTo>
                  <a:pt x="4238189" y="1092320"/>
                  <a:pt x="4237659" y="1068817"/>
                  <a:pt x="4238427" y="1056630"/>
                </a:cubicBezTo>
                <a:cubicBezTo>
                  <a:pt x="4239195" y="1044443"/>
                  <a:pt x="4238397" y="1013105"/>
                  <a:pt x="4236655" y="986990"/>
                </a:cubicBezTo>
                <a:cubicBezTo>
                  <a:pt x="4234913" y="960875"/>
                  <a:pt x="4235189" y="936803"/>
                  <a:pt x="4237269" y="933495"/>
                </a:cubicBezTo>
                <a:cubicBezTo>
                  <a:pt x="4239347" y="930187"/>
                  <a:pt x="4241048" y="922352"/>
                  <a:pt x="4241048" y="916085"/>
                </a:cubicBezTo>
                <a:cubicBezTo>
                  <a:pt x="4241048" y="909817"/>
                  <a:pt x="4243016" y="904689"/>
                  <a:pt x="4245421" y="904689"/>
                </a:cubicBezTo>
                <a:cubicBezTo>
                  <a:pt x="4247827" y="904689"/>
                  <a:pt x="4249794" y="890749"/>
                  <a:pt x="4249794" y="873712"/>
                </a:cubicBezTo>
                <a:cubicBezTo>
                  <a:pt x="4249794" y="851305"/>
                  <a:pt x="4251707" y="841672"/>
                  <a:pt x="4256711" y="838893"/>
                </a:cubicBezTo>
                <a:cubicBezTo>
                  <a:pt x="4262618" y="835611"/>
                  <a:pt x="4266199" y="834508"/>
                  <a:pt x="4268481" y="836466"/>
                </a:cubicBezTo>
                <a:close/>
                <a:moveTo>
                  <a:pt x="1503102" y="801258"/>
                </a:moveTo>
                <a:cubicBezTo>
                  <a:pt x="1488778" y="800264"/>
                  <a:pt x="1488325" y="800958"/>
                  <a:pt x="1489315" y="822388"/>
                </a:cubicBezTo>
                <a:cubicBezTo>
                  <a:pt x="1489878" y="834575"/>
                  <a:pt x="1490478" y="849818"/>
                  <a:pt x="1490647" y="856262"/>
                </a:cubicBezTo>
                <a:cubicBezTo>
                  <a:pt x="1491505" y="888858"/>
                  <a:pt x="1511509" y="893844"/>
                  <a:pt x="1530226" y="866125"/>
                </a:cubicBezTo>
                <a:cubicBezTo>
                  <a:pt x="1544790" y="844556"/>
                  <a:pt x="1545333" y="830570"/>
                  <a:pt x="1532021" y="819901"/>
                </a:cubicBezTo>
                <a:cubicBezTo>
                  <a:pt x="1527211" y="816046"/>
                  <a:pt x="1522069" y="810505"/>
                  <a:pt x="1520594" y="807589"/>
                </a:cubicBezTo>
                <a:cubicBezTo>
                  <a:pt x="1519119" y="804671"/>
                  <a:pt x="1511248" y="801823"/>
                  <a:pt x="1503102" y="801258"/>
                </a:cubicBezTo>
                <a:close/>
                <a:moveTo>
                  <a:pt x="3729804" y="798436"/>
                </a:moveTo>
                <a:cubicBezTo>
                  <a:pt x="3720308" y="798826"/>
                  <a:pt x="3717720" y="801396"/>
                  <a:pt x="3719615" y="808547"/>
                </a:cubicBezTo>
                <a:cubicBezTo>
                  <a:pt x="3721273" y="814804"/>
                  <a:pt x="3720379" y="816544"/>
                  <a:pt x="3717041" y="813557"/>
                </a:cubicBezTo>
                <a:cubicBezTo>
                  <a:pt x="3709675" y="806967"/>
                  <a:pt x="3710735" y="819762"/>
                  <a:pt x="3718483" y="830980"/>
                </a:cubicBezTo>
                <a:cubicBezTo>
                  <a:pt x="3725695" y="841420"/>
                  <a:pt x="3727207" y="854042"/>
                  <a:pt x="3721246" y="854042"/>
                </a:cubicBezTo>
                <a:cubicBezTo>
                  <a:pt x="3713880" y="854042"/>
                  <a:pt x="3712066" y="907075"/>
                  <a:pt x="3718912" y="922278"/>
                </a:cubicBezTo>
                <a:cubicBezTo>
                  <a:pt x="3722484" y="930211"/>
                  <a:pt x="3724299" y="939297"/>
                  <a:pt x="3722944" y="942470"/>
                </a:cubicBezTo>
                <a:cubicBezTo>
                  <a:pt x="3720559" y="948057"/>
                  <a:pt x="3741606" y="980659"/>
                  <a:pt x="3747598" y="980659"/>
                </a:cubicBezTo>
                <a:cubicBezTo>
                  <a:pt x="3749230" y="980659"/>
                  <a:pt x="3753678" y="978930"/>
                  <a:pt x="3757482" y="976816"/>
                </a:cubicBezTo>
                <a:cubicBezTo>
                  <a:pt x="3765240" y="972507"/>
                  <a:pt x="3767398" y="927111"/>
                  <a:pt x="3760153" y="920630"/>
                </a:cubicBezTo>
                <a:cubicBezTo>
                  <a:pt x="3757818" y="918540"/>
                  <a:pt x="3754613" y="902703"/>
                  <a:pt x="3753030" y="885437"/>
                </a:cubicBezTo>
                <a:cubicBezTo>
                  <a:pt x="3751448" y="868170"/>
                  <a:pt x="3748439" y="854042"/>
                  <a:pt x="3746345" y="854042"/>
                </a:cubicBezTo>
                <a:cubicBezTo>
                  <a:pt x="3744249" y="854042"/>
                  <a:pt x="3742535" y="841413"/>
                  <a:pt x="3742535" y="825977"/>
                </a:cubicBezTo>
                <a:cubicBezTo>
                  <a:pt x="3742535" y="799084"/>
                  <a:pt x="3742003" y="797933"/>
                  <a:pt x="3729804" y="798436"/>
                </a:cubicBezTo>
                <a:close/>
                <a:moveTo>
                  <a:pt x="4044267" y="755914"/>
                </a:moveTo>
                <a:cubicBezTo>
                  <a:pt x="4047874" y="755914"/>
                  <a:pt x="4051454" y="762324"/>
                  <a:pt x="4052223" y="770158"/>
                </a:cubicBezTo>
                <a:cubicBezTo>
                  <a:pt x="4053299" y="781121"/>
                  <a:pt x="4051466" y="784403"/>
                  <a:pt x="4044267" y="784403"/>
                </a:cubicBezTo>
                <a:cubicBezTo>
                  <a:pt x="4037067" y="784403"/>
                  <a:pt x="4035234" y="781121"/>
                  <a:pt x="4036310" y="770158"/>
                </a:cubicBezTo>
                <a:cubicBezTo>
                  <a:pt x="4037079" y="762324"/>
                  <a:pt x="4040659" y="755914"/>
                  <a:pt x="4044267" y="755914"/>
                </a:cubicBezTo>
                <a:close/>
                <a:moveTo>
                  <a:pt x="4191963" y="753633"/>
                </a:moveTo>
                <a:cubicBezTo>
                  <a:pt x="4198131" y="750512"/>
                  <a:pt x="4210791" y="769985"/>
                  <a:pt x="4213395" y="793226"/>
                </a:cubicBezTo>
                <a:cubicBezTo>
                  <a:pt x="4215517" y="812150"/>
                  <a:pt x="4214647" y="816057"/>
                  <a:pt x="4208313" y="816057"/>
                </a:cubicBezTo>
                <a:cubicBezTo>
                  <a:pt x="4202539" y="816057"/>
                  <a:pt x="4201178" y="812225"/>
                  <a:pt x="4202744" y="800369"/>
                </a:cubicBezTo>
                <a:cubicBezTo>
                  <a:pt x="4204246" y="788989"/>
                  <a:pt x="4202585" y="783657"/>
                  <a:pt x="4196694" y="780951"/>
                </a:cubicBezTo>
                <a:cubicBezTo>
                  <a:pt x="4192228" y="778898"/>
                  <a:pt x="4188573" y="771713"/>
                  <a:pt x="4188573" y="764983"/>
                </a:cubicBezTo>
                <a:cubicBezTo>
                  <a:pt x="4188573" y="758225"/>
                  <a:pt x="4189907" y="754674"/>
                  <a:pt x="4191963" y="753633"/>
                </a:cubicBezTo>
                <a:close/>
                <a:moveTo>
                  <a:pt x="2207638" y="740087"/>
                </a:moveTo>
                <a:cubicBezTo>
                  <a:pt x="2205233" y="740087"/>
                  <a:pt x="2203265" y="744151"/>
                  <a:pt x="2203265" y="749119"/>
                </a:cubicBezTo>
                <a:cubicBezTo>
                  <a:pt x="2203265" y="754087"/>
                  <a:pt x="2199821" y="759454"/>
                  <a:pt x="2195613" y="761046"/>
                </a:cubicBezTo>
                <a:cubicBezTo>
                  <a:pt x="2189736" y="763269"/>
                  <a:pt x="2189533" y="764112"/>
                  <a:pt x="2194738" y="764676"/>
                </a:cubicBezTo>
                <a:cubicBezTo>
                  <a:pt x="2198466" y="765080"/>
                  <a:pt x="2203877" y="761992"/>
                  <a:pt x="2206763" y="757813"/>
                </a:cubicBezTo>
                <a:cubicBezTo>
                  <a:pt x="2213149" y="748569"/>
                  <a:pt x="2213567" y="740087"/>
                  <a:pt x="2207638" y="740087"/>
                </a:cubicBezTo>
                <a:close/>
                <a:moveTo>
                  <a:pt x="2492685" y="661279"/>
                </a:moveTo>
                <a:cubicBezTo>
                  <a:pt x="2490926" y="662292"/>
                  <a:pt x="2489272" y="665607"/>
                  <a:pt x="2487033" y="671621"/>
                </a:cubicBezTo>
                <a:cubicBezTo>
                  <a:pt x="2484033" y="679681"/>
                  <a:pt x="2481367" y="692814"/>
                  <a:pt x="2481109" y="700808"/>
                </a:cubicBezTo>
                <a:cubicBezTo>
                  <a:pt x="2480723" y="712774"/>
                  <a:pt x="2482598" y="715011"/>
                  <a:pt x="2491725" y="713470"/>
                </a:cubicBezTo>
                <a:cubicBezTo>
                  <a:pt x="2500563" y="711977"/>
                  <a:pt x="2503077" y="707639"/>
                  <a:pt x="2504127" y="692066"/>
                </a:cubicBezTo>
                <a:cubicBezTo>
                  <a:pt x="2504906" y="680506"/>
                  <a:pt x="2502800" y="669357"/>
                  <a:pt x="2498966" y="664751"/>
                </a:cubicBezTo>
                <a:cubicBezTo>
                  <a:pt x="2496307" y="661557"/>
                  <a:pt x="2494444" y="660267"/>
                  <a:pt x="2492685" y="661279"/>
                </a:cubicBezTo>
                <a:close/>
                <a:moveTo>
                  <a:pt x="1542281" y="646751"/>
                </a:moveTo>
                <a:cubicBezTo>
                  <a:pt x="1544973" y="646195"/>
                  <a:pt x="1547326" y="648503"/>
                  <a:pt x="1547326" y="654093"/>
                </a:cubicBezTo>
                <a:cubicBezTo>
                  <a:pt x="1547326" y="659605"/>
                  <a:pt x="1544211" y="664117"/>
                  <a:pt x="1540402" y="664117"/>
                </a:cubicBezTo>
                <a:cubicBezTo>
                  <a:pt x="1536594" y="664117"/>
                  <a:pt x="1534257" y="660733"/>
                  <a:pt x="1535210" y="656599"/>
                </a:cubicBezTo>
                <a:cubicBezTo>
                  <a:pt x="1536561" y="650729"/>
                  <a:pt x="1539590" y="647308"/>
                  <a:pt x="1542281" y="646751"/>
                </a:cubicBezTo>
                <a:close/>
                <a:moveTo>
                  <a:pt x="4233596" y="626131"/>
                </a:moveTo>
                <a:cubicBezTo>
                  <a:pt x="4240376" y="626131"/>
                  <a:pt x="4297896" y="709201"/>
                  <a:pt x="4297896" y="718993"/>
                </a:cubicBezTo>
                <a:cubicBezTo>
                  <a:pt x="4297896" y="722885"/>
                  <a:pt x="4294945" y="727710"/>
                  <a:pt x="4291336" y="729715"/>
                </a:cubicBezTo>
                <a:cubicBezTo>
                  <a:pt x="4287249" y="731985"/>
                  <a:pt x="4284778" y="741642"/>
                  <a:pt x="4284778" y="755341"/>
                </a:cubicBezTo>
                <a:cubicBezTo>
                  <a:pt x="4284778" y="782795"/>
                  <a:pt x="4281153" y="786183"/>
                  <a:pt x="4266012" y="772883"/>
                </a:cubicBezTo>
                <a:cubicBezTo>
                  <a:pt x="4259427" y="767098"/>
                  <a:pt x="4254990" y="758777"/>
                  <a:pt x="4256152" y="754391"/>
                </a:cubicBezTo>
                <a:cubicBezTo>
                  <a:pt x="4257314" y="750006"/>
                  <a:pt x="4256359" y="746418"/>
                  <a:pt x="4254030" y="746418"/>
                </a:cubicBezTo>
                <a:cubicBezTo>
                  <a:pt x="4251700" y="746418"/>
                  <a:pt x="4249794" y="739206"/>
                  <a:pt x="4249794" y="730392"/>
                </a:cubicBezTo>
                <a:cubicBezTo>
                  <a:pt x="4249794" y="720839"/>
                  <a:pt x="4246703" y="712787"/>
                  <a:pt x="4242141" y="710456"/>
                </a:cubicBezTo>
                <a:cubicBezTo>
                  <a:pt x="4229647" y="704072"/>
                  <a:pt x="4214811" y="681755"/>
                  <a:pt x="4214811" y="669344"/>
                </a:cubicBezTo>
                <a:cubicBezTo>
                  <a:pt x="4214811" y="662987"/>
                  <a:pt x="4216566" y="657786"/>
                  <a:pt x="4218709" y="657786"/>
                </a:cubicBezTo>
                <a:cubicBezTo>
                  <a:pt x="4220854" y="657786"/>
                  <a:pt x="4223843" y="650663"/>
                  <a:pt x="4225352" y="641959"/>
                </a:cubicBezTo>
                <a:cubicBezTo>
                  <a:pt x="4226861" y="633254"/>
                  <a:pt x="4230571" y="626131"/>
                  <a:pt x="4233596" y="626131"/>
                </a:cubicBezTo>
                <a:close/>
                <a:moveTo>
                  <a:pt x="2100311" y="609600"/>
                </a:moveTo>
                <a:cubicBezTo>
                  <a:pt x="2101797" y="608433"/>
                  <a:pt x="2104256" y="608884"/>
                  <a:pt x="2108154" y="610589"/>
                </a:cubicBezTo>
                <a:cubicBezTo>
                  <a:pt x="2121281" y="616331"/>
                  <a:pt x="2126172" y="623548"/>
                  <a:pt x="2122602" y="631911"/>
                </a:cubicBezTo>
                <a:cubicBezTo>
                  <a:pt x="2119357" y="639510"/>
                  <a:pt x="2105807" y="641198"/>
                  <a:pt x="2101230" y="634573"/>
                </a:cubicBezTo>
                <a:cubicBezTo>
                  <a:pt x="2099627" y="632251"/>
                  <a:pt x="2098315" y="624937"/>
                  <a:pt x="2098315" y="618319"/>
                </a:cubicBezTo>
                <a:cubicBezTo>
                  <a:pt x="2098315" y="613552"/>
                  <a:pt x="2098826" y="610767"/>
                  <a:pt x="2100311" y="609600"/>
                </a:cubicBezTo>
                <a:close/>
                <a:moveTo>
                  <a:pt x="4009611" y="608352"/>
                </a:moveTo>
                <a:cubicBezTo>
                  <a:pt x="4012197" y="609600"/>
                  <a:pt x="4014312" y="613327"/>
                  <a:pt x="4014312" y="616635"/>
                </a:cubicBezTo>
                <a:cubicBezTo>
                  <a:pt x="4014312" y="619943"/>
                  <a:pt x="4012197" y="623670"/>
                  <a:pt x="4009611" y="624918"/>
                </a:cubicBezTo>
                <a:cubicBezTo>
                  <a:pt x="4007026" y="626166"/>
                  <a:pt x="4004911" y="622439"/>
                  <a:pt x="4004911" y="616635"/>
                </a:cubicBezTo>
                <a:cubicBezTo>
                  <a:pt x="4004911" y="610832"/>
                  <a:pt x="4007026" y="607104"/>
                  <a:pt x="4009611" y="608352"/>
                </a:cubicBezTo>
                <a:close/>
                <a:moveTo>
                  <a:pt x="4096448" y="583964"/>
                </a:moveTo>
                <a:cubicBezTo>
                  <a:pt x="4099965" y="584780"/>
                  <a:pt x="4102840" y="587903"/>
                  <a:pt x="4107195" y="593827"/>
                </a:cubicBezTo>
                <a:cubicBezTo>
                  <a:pt x="4112580" y="601148"/>
                  <a:pt x="4122107" y="607139"/>
                  <a:pt x="4128369" y="607139"/>
                </a:cubicBezTo>
                <a:cubicBezTo>
                  <a:pt x="4146484" y="607139"/>
                  <a:pt x="4153590" y="613678"/>
                  <a:pt x="4153590" y="630348"/>
                </a:cubicBezTo>
                <a:cubicBezTo>
                  <a:pt x="4153590" y="639262"/>
                  <a:pt x="4151695" y="644176"/>
                  <a:pt x="4149141" y="641890"/>
                </a:cubicBezTo>
                <a:cubicBezTo>
                  <a:pt x="4146693" y="639701"/>
                  <a:pt x="4133816" y="639877"/>
                  <a:pt x="4120525" y="642281"/>
                </a:cubicBezTo>
                <a:cubicBezTo>
                  <a:pt x="4092856" y="647286"/>
                  <a:pt x="4071898" y="671436"/>
                  <a:pt x="4067481" y="703404"/>
                </a:cubicBezTo>
                <a:cubicBezTo>
                  <a:pt x="4064125" y="727699"/>
                  <a:pt x="4035521" y="746365"/>
                  <a:pt x="4035521" y="724260"/>
                </a:cubicBezTo>
                <a:cubicBezTo>
                  <a:pt x="4035521" y="719037"/>
                  <a:pt x="4037488" y="714763"/>
                  <a:pt x="4039894" y="714763"/>
                </a:cubicBezTo>
                <a:cubicBezTo>
                  <a:pt x="4045855" y="714763"/>
                  <a:pt x="4045426" y="685624"/>
                  <a:pt x="4039254" y="671317"/>
                </a:cubicBezTo>
                <a:cubicBezTo>
                  <a:pt x="4033742" y="658539"/>
                  <a:pt x="4037738" y="623455"/>
                  <a:pt x="4044061" y="629112"/>
                </a:cubicBezTo>
                <a:cubicBezTo>
                  <a:pt x="4046212" y="631037"/>
                  <a:pt x="4052090" y="624236"/>
                  <a:pt x="4057125" y="614000"/>
                </a:cubicBezTo>
                <a:cubicBezTo>
                  <a:pt x="4062159" y="603764"/>
                  <a:pt x="4073282" y="592043"/>
                  <a:pt x="4081844" y="587951"/>
                </a:cubicBezTo>
                <a:cubicBezTo>
                  <a:pt x="4088770" y="584642"/>
                  <a:pt x="4092930" y="583149"/>
                  <a:pt x="4096448" y="583964"/>
                </a:cubicBezTo>
                <a:close/>
                <a:moveTo>
                  <a:pt x="3399607" y="565410"/>
                </a:moveTo>
                <a:cubicBezTo>
                  <a:pt x="3391884" y="563769"/>
                  <a:pt x="3387224" y="579464"/>
                  <a:pt x="3390710" y="595369"/>
                </a:cubicBezTo>
                <a:cubicBezTo>
                  <a:pt x="3394209" y="611327"/>
                  <a:pt x="3408911" y="610296"/>
                  <a:pt x="3412518" y="593840"/>
                </a:cubicBezTo>
                <a:cubicBezTo>
                  <a:pt x="3415603" y="579774"/>
                  <a:pt x="3410090" y="567638"/>
                  <a:pt x="3399607" y="565410"/>
                </a:cubicBezTo>
                <a:close/>
                <a:moveTo>
                  <a:pt x="3753272" y="543830"/>
                </a:moveTo>
                <a:cubicBezTo>
                  <a:pt x="3760971" y="543830"/>
                  <a:pt x="3790344" y="587515"/>
                  <a:pt x="3790519" y="599225"/>
                </a:cubicBezTo>
                <a:cubicBezTo>
                  <a:pt x="3790583" y="603578"/>
                  <a:pt x="3792516" y="607139"/>
                  <a:pt x="3794812" y="607139"/>
                </a:cubicBezTo>
                <a:cubicBezTo>
                  <a:pt x="3798720" y="607139"/>
                  <a:pt x="3806586" y="648938"/>
                  <a:pt x="3804642" y="659368"/>
                </a:cubicBezTo>
                <a:cubicBezTo>
                  <a:pt x="3804155" y="661980"/>
                  <a:pt x="3805723" y="664117"/>
                  <a:pt x="3808129" y="664117"/>
                </a:cubicBezTo>
                <a:cubicBezTo>
                  <a:pt x="3810534" y="664117"/>
                  <a:pt x="3812502" y="671239"/>
                  <a:pt x="3812502" y="679944"/>
                </a:cubicBezTo>
                <a:cubicBezTo>
                  <a:pt x="3812502" y="689792"/>
                  <a:pt x="3810023" y="695771"/>
                  <a:pt x="3805943" y="695771"/>
                </a:cubicBezTo>
                <a:cubicBezTo>
                  <a:pt x="3802334" y="695771"/>
                  <a:pt x="3799383" y="691458"/>
                  <a:pt x="3799383" y="686189"/>
                </a:cubicBezTo>
                <a:cubicBezTo>
                  <a:pt x="3799383" y="680918"/>
                  <a:pt x="3797558" y="671660"/>
                  <a:pt x="3795328" y="665613"/>
                </a:cubicBezTo>
                <a:cubicBezTo>
                  <a:pt x="3793100" y="659567"/>
                  <a:pt x="3790199" y="649592"/>
                  <a:pt x="3788882" y="643446"/>
                </a:cubicBezTo>
                <a:cubicBezTo>
                  <a:pt x="3787566" y="637300"/>
                  <a:pt x="3781819" y="629702"/>
                  <a:pt x="3776114" y="626562"/>
                </a:cubicBezTo>
                <a:cubicBezTo>
                  <a:pt x="3770409" y="623421"/>
                  <a:pt x="3762196" y="609932"/>
                  <a:pt x="3757864" y="596585"/>
                </a:cubicBezTo>
                <a:cubicBezTo>
                  <a:pt x="3753532" y="583239"/>
                  <a:pt x="3748025" y="570470"/>
                  <a:pt x="3745624" y="568210"/>
                </a:cubicBezTo>
                <a:cubicBezTo>
                  <a:pt x="3739464" y="562409"/>
                  <a:pt x="3745291" y="543830"/>
                  <a:pt x="3753272" y="543830"/>
                </a:cubicBezTo>
                <a:close/>
                <a:moveTo>
                  <a:pt x="2508411" y="515434"/>
                </a:moveTo>
                <a:cubicBezTo>
                  <a:pt x="2504104" y="514401"/>
                  <a:pt x="2499878" y="515729"/>
                  <a:pt x="2493352" y="518847"/>
                </a:cubicBezTo>
                <a:cubicBezTo>
                  <a:pt x="2482992" y="523798"/>
                  <a:pt x="2476746" y="523968"/>
                  <a:pt x="2472948" y="519406"/>
                </a:cubicBezTo>
                <a:cubicBezTo>
                  <a:pt x="2468354" y="513886"/>
                  <a:pt x="2443606" y="526013"/>
                  <a:pt x="2426655" y="542091"/>
                </a:cubicBezTo>
                <a:cubicBezTo>
                  <a:pt x="2421983" y="546522"/>
                  <a:pt x="2417762" y="622657"/>
                  <a:pt x="2421860" y="628589"/>
                </a:cubicBezTo>
                <a:cubicBezTo>
                  <a:pt x="2424293" y="632112"/>
                  <a:pt x="2426284" y="641221"/>
                  <a:pt x="2426284" y="648832"/>
                </a:cubicBezTo>
                <a:cubicBezTo>
                  <a:pt x="2426284" y="661372"/>
                  <a:pt x="2431239" y="679043"/>
                  <a:pt x="2440777" y="700519"/>
                </a:cubicBezTo>
                <a:cubicBezTo>
                  <a:pt x="2445394" y="710913"/>
                  <a:pt x="2451698" y="710530"/>
                  <a:pt x="2459393" y="699389"/>
                </a:cubicBezTo>
                <a:cubicBezTo>
                  <a:pt x="2467519" y="687625"/>
                  <a:pt x="2467369" y="667744"/>
                  <a:pt x="2459081" y="657786"/>
                </a:cubicBezTo>
                <a:cubicBezTo>
                  <a:pt x="2450414" y="647372"/>
                  <a:pt x="2450672" y="636411"/>
                  <a:pt x="2459470" y="641298"/>
                </a:cubicBezTo>
                <a:cubicBezTo>
                  <a:pt x="2463325" y="643440"/>
                  <a:pt x="2471373" y="639515"/>
                  <a:pt x="2477551" y="632480"/>
                </a:cubicBezTo>
                <a:cubicBezTo>
                  <a:pt x="2483674" y="625506"/>
                  <a:pt x="2486451" y="619800"/>
                  <a:pt x="2483722" y="619800"/>
                </a:cubicBezTo>
                <a:cubicBezTo>
                  <a:pt x="2480682" y="619800"/>
                  <a:pt x="2478759" y="607536"/>
                  <a:pt x="2478759" y="588146"/>
                </a:cubicBezTo>
                <a:cubicBezTo>
                  <a:pt x="2478759" y="564230"/>
                  <a:pt x="2480363" y="556492"/>
                  <a:pt x="2485319" y="556492"/>
                </a:cubicBezTo>
                <a:cubicBezTo>
                  <a:pt x="2488926" y="556492"/>
                  <a:pt x="2491878" y="560167"/>
                  <a:pt x="2491878" y="564659"/>
                </a:cubicBezTo>
                <a:cubicBezTo>
                  <a:pt x="2491878" y="569151"/>
                  <a:pt x="2499398" y="584856"/>
                  <a:pt x="2508588" y="599558"/>
                </a:cubicBezTo>
                <a:lnTo>
                  <a:pt x="2525299" y="626289"/>
                </a:lnTo>
                <a:lnTo>
                  <a:pt x="2539199" y="616250"/>
                </a:lnTo>
                <a:cubicBezTo>
                  <a:pt x="2553351" y="606030"/>
                  <a:pt x="2558554" y="581112"/>
                  <a:pt x="2548428" y="572052"/>
                </a:cubicBezTo>
                <a:cubicBezTo>
                  <a:pt x="2545859" y="569754"/>
                  <a:pt x="2544897" y="563571"/>
                  <a:pt x="2546291" y="558312"/>
                </a:cubicBezTo>
                <a:cubicBezTo>
                  <a:pt x="2548026" y="551769"/>
                  <a:pt x="2546810" y="549871"/>
                  <a:pt x="2542439" y="552299"/>
                </a:cubicBezTo>
                <a:cubicBezTo>
                  <a:pt x="2538651" y="554404"/>
                  <a:pt x="2536783" y="552759"/>
                  <a:pt x="2537847" y="548256"/>
                </a:cubicBezTo>
                <a:cubicBezTo>
                  <a:pt x="2538834" y="544081"/>
                  <a:pt x="2532586" y="534151"/>
                  <a:pt x="2523962" y="526189"/>
                </a:cubicBezTo>
                <a:cubicBezTo>
                  <a:pt x="2517108" y="519862"/>
                  <a:pt x="2512719" y="516468"/>
                  <a:pt x="2508411" y="515434"/>
                </a:cubicBezTo>
                <a:close/>
                <a:moveTo>
                  <a:pt x="3394917" y="499514"/>
                </a:moveTo>
                <a:cubicBezTo>
                  <a:pt x="3385202" y="499514"/>
                  <a:pt x="3378100" y="529260"/>
                  <a:pt x="3385075" y="540733"/>
                </a:cubicBezTo>
                <a:cubicBezTo>
                  <a:pt x="3393394" y="554416"/>
                  <a:pt x="3400986" y="551857"/>
                  <a:pt x="3404022" y="534348"/>
                </a:cubicBezTo>
                <a:cubicBezTo>
                  <a:pt x="3407506" y="514244"/>
                  <a:pt x="3403656" y="499514"/>
                  <a:pt x="3394917" y="499514"/>
                </a:cubicBezTo>
                <a:close/>
                <a:moveTo>
                  <a:pt x="2473972" y="490389"/>
                </a:moveTo>
                <a:cubicBezTo>
                  <a:pt x="2471843" y="492294"/>
                  <a:pt x="2472541" y="497688"/>
                  <a:pt x="2475523" y="502376"/>
                </a:cubicBezTo>
                <a:cubicBezTo>
                  <a:pt x="2482232" y="512920"/>
                  <a:pt x="2484208" y="510938"/>
                  <a:pt x="2480591" y="497291"/>
                </a:cubicBezTo>
                <a:cubicBezTo>
                  <a:pt x="2479079" y="491590"/>
                  <a:pt x="2476101" y="488484"/>
                  <a:pt x="2473972" y="490389"/>
                </a:cubicBezTo>
                <a:close/>
                <a:moveTo>
                  <a:pt x="2576610" y="482359"/>
                </a:moveTo>
                <a:cubicBezTo>
                  <a:pt x="2571620" y="489583"/>
                  <a:pt x="2578946" y="505856"/>
                  <a:pt x="2586852" y="505111"/>
                </a:cubicBezTo>
                <a:cubicBezTo>
                  <a:pt x="2594153" y="504423"/>
                  <a:pt x="2594161" y="504195"/>
                  <a:pt x="2586989" y="501481"/>
                </a:cubicBezTo>
                <a:cubicBezTo>
                  <a:pt x="2582780" y="499888"/>
                  <a:pt x="2579336" y="494047"/>
                  <a:pt x="2579336" y="488499"/>
                </a:cubicBezTo>
                <a:cubicBezTo>
                  <a:pt x="2579336" y="482950"/>
                  <a:pt x="2578110" y="480188"/>
                  <a:pt x="2576610" y="482359"/>
                </a:cubicBezTo>
                <a:close/>
                <a:moveTo>
                  <a:pt x="2585636" y="469292"/>
                </a:moveTo>
                <a:cubicBezTo>
                  <a:pt x="2584175" y="471406"/>
                  <a:pt x="2586588" y="478477"/>
                  <a:pt x="2590998" y="485006"/>
                </a:cubicBezTo>
                <a:cubicBezTo>
                  <a:pt x="2595407" y="491535"/>
                  <a:pt x="2599735" y="494341"/>
                  <a:pt x="2600616" y="491243"/>
                </a:cubicBezTo>
                <a:cubicBezTo>
                  <a:pt x="2601496" y="488144"/>
                  <a:pt x="2599083" y="481073"/>
                  <a:pt x="2595253" y="475529"/>
                </a:cubicBezTo>
                <a:cubicBezTo>
                  <a:pt x="2591424" y="469984"/>
                  <a:pt x="2587096" y="467178"/>
                  <a:pt x="2585636" y="469292"/>
                </a:cubicBezTo>
                <a:close/>
                <a:moveTo>
                  <a:pt x="3422903" y="465059"/>
                </a:moveTo>
                <a:cubicBezTo>
                  <a:pt x="3420722" y="467011"/>
                  <a:pt x="3418939" y="472713"/>
                  <a:pt x="3418939" y="477730"/>
                </a:cubicBezTo>
                <a:cubicBezTo>
                  <a:pt x="3418939" y="490833"/>
                  <a:pt x="3421910" y="488965"/>
                  <a:pt x="3424580" y="474182"/>
                </a:cubicBezTo>
                <a:cubicBezTo>
                  <a:pt x="3425839" y="467213"/>
                  <a:pt x="3425085" y="463108"/>
                  <a:pt x="3422903" y="465059"/>
                </a:cubicBezTo>
                <a:close/>
                <a:moveTo>
                  <a:pt x="3788764" y="436206"/>
                </a:moveTo>
                <a:cubicBezTo>
                  <a:pt x="3792030" y="436206"/>
                  <a:pt x="3797049" y="442616"/>
                  <a:pt x="3799916" y="450450"/>
                </a:cubicBezTo>
                <a:cubicBezTo>
                  <a:pt x="3802782" y="458284"/>
                  <a:pt x="3808936" y="469529"/>
                  <a:pt x="3813589" y="475438"/>
                </a:cubicBezTo>
                <a:cubicBezTo>
                  <a:pt x="3818243" y="481347"/>
                  <a:pt x="3820770" y="489181"/>
                  <a:pt x="3819205" y="492847"/>
                </a:cubicBezTo>
                <a:cubicBezTo>
                  <a:pt x="3815196" y="502237"/>
                  <a:pt x="3802588" y="500707"/>
                  <a:pt x="3796103" y="490044"/>
                </a:cubicBezTo>
                <a:cubicBezTo>
                  <a:pt x="3793097" y="485101"/>
                  <a:pt x="3790637" y="478436"/>
                  <a:pt x="3790637" y="475233"/>
                </a:cubicBezTo>
                <a:cubicBezTo>
                  <a:pt x="3790637" y="472031"/>
                  <a:pt x="3787802" y="466004"/>
                  <a:pt x="3784337" y="461842"/>
                </a:cubicBezTo>
                <a:cubicBezTo>
                  <a:pt x="3777074" y="453114"/>
                  <a:pt x="3779994" y="436206"/>
                  <a:pt x="3788764" y="436206"/>
                </a:cubicBezTo>
                <a:close/>
                <a:moveTo>
                  <a:pt x="2416536" y="393600"/>
                </a:moveTo>
                <a:cubicBezTo>
                  <a:pt x="2419357" y="392997"/>
                  <a:pt x="2421911" y="396309"/>
                  <a:pt x="2421911" y="404024"/>
                </a:cubicBezTo>
                <a:cubicBezTo>
                  <a:pt x="2421911" y="411800"/>
                  <a:pt x="2419088" y="417213"/>
                  <a:pt x="2415031" y="417213"/>
                </a:cubicBezTo>
                <a:cubicBezTo>
                  <a:pt x="2410959" y="417213"/>
                  <a:pt x="2408728" y="412906"/>
                  <a:pt x="2409565" y="406659"/>
                </a:cubicBezTo>
                <a:cubicBezTo>
                  <a:pt x="2410629" y="398718"/>
                  <a:pt x="2413716" y="394202"/>
                  <a:pt x="2416536" y="393600"/>
                </a:cubicBezTo>
                <a:close/>
                <a:moveTo>
                  <a:pt x="3384911" y="341340"/>
                </a:moveTo>
                <a:cubicBezTo>
                  <a:pt x="3374162" y="341236"/>
                  <a:pt x="3368359" y="354420"/>
                  <a:pt x="3372417" y="369731"/>
                </a:cubicBezTo>
                <a:cubicBezTo>
                  <a:pt x="3373802" y="374955"/>
                  <a:pt x="3377455" y="379003"/>
                  <a:pt x="3380538" y="378728"/>
                </a:cubicBezTo>
                <a:cubicBezTo>
                  <a:pt x="3384927" y="378337"/>
                  <a:pt x="3384957" y="377536"/>
                  <a:pt x="3380675" y="375035"/>
                </a:cubicBezTo>
                <a:lnTo>
                  <a:pt x="3380675" y="375035"/>
                </a:lnTo>
                <a:cubicBezTo>
                  <a:pt x="3377669" y="373279"/>
                  <a:pt x="3375209" y="366213"/>
                  <a:pt x="3375209" y="359334"/>
                </a:cubicBezTo>
                <a:cubicBezTo>
                  <a:pt x="3375209" y="352455"/>
                  <a:pt x="3376779" y="348231"/>
                  <a:pt x="3378698" y="349948"/>
                </a:cubicBezTo>
                <a:cubicBezTo>
                  <a:pt x="3380617" y="351665"/>
                  <a:pt x="3385044" y="350452"/>
                  <a:pt x="3388537" y="347252"/>
                </a:cubicBezTo>
                <a:cubicBezTo>
                  <a:pt x="3393480" y="342726"/>
                  <a:pt x="3392677" y="341415"/>
                  <a:pt x="3384911" y="341340"/>
                </a:cubicBezTo>
                <a:close/>
                <a:moveTo>
                  <a:pt x="3481752" y="328581"/>
                </a:moveTo>
                <a:cubicBezTo>
                  <a:pt x="3478562" y="328581"/>
                  <a:pt x="3474719" y="335704"/>
                  <a:pt x="3473209" y="344408"/>
                </a:cubicBezTo>
                <a:cubicBezTo>
                  <a:pt x="3470799" y="358313"/>
                  <a:pt x="3468111" y="360235"/>
                  <a:pt x="3451077" y="360235"/>
                </a:cubicBezTo>
                <a:cubicBezTo>
                  <a:pt x="3440413" y="360235"/>
                  <a:pt x="3429123" y="363704"/>
                  <a:pt x="3425989" y="367943"/>
                </a:cubicBezTo>
                <a:cubicBezTo>
                  <a:pt x="3418508" y="378060"/>
                  <a:pt x="3424306" y="416876"/>
                  <a:pt x="3435239" y="429875"/>
                </a:cubicBezTo>
                <a:cubicBezTo>
                  <a:pt x="3441469" y="437282"/>
                  <a:pt x="3442631" y="444595"/>
                  <a:pt x="3440516" y="463112"/>
                </a:cubicBezTo>
                <a:cubicBezTo>
                  <a:pt x="3438509" y="480705"/>
                  <a:pt x="3439327" y="486853"/>
                  <a:pt x="3443678" y="486853"/>
                </a:cubicBezTo>
                <a:cubicBezTo>
                  <a:pt x="3446913" y="486853"/>
                  <a:pt x="3449549" y="493485"/>
                  <a:pt x="3449549" y="501624"/>
                </a:cubicBezTo>
                <a:cubicBezTo>
                  <a:pt x="3449549" y="520284"/>
                  <a:pt x="3453399" y="525859"/>
                  <a:pt x="3464675" y="523522"/>
                </a:cubicBezTo>
                <a:cubicBezTo>
                  <a:pt x="3472450" y="521910"/>
                  <a:pt x="3473771" y="516371"/>
                  <a:pt x="3474924" y="480522"/>
                </a:cubicBezTo>
                <a:cubicBezTo>
                  <a:pt x="3475653" y="457889"/>
                  <a:pt x="3478112" y="436665"/>
                  <a:pt x="3480390" y="433357"/>
                </a:cubicBezTo>
                <a:cubicBezTo>
                  <a:pt x="3482669" y="430049"/>
                  <a:pt x="3484532" y="420790"/>
                  <a:pt x="3484532" y="412781"/>
                </a:cubicBezTo>
                <a:cubicBezTo>
                  <a:pt x="3484532" y="404214"/>
                  <a:pt x="3487169" y="398220"/>
                  <a:pt x="3490938" y="398220"/>
                </a:cubicBezTo>
                <a:cubicBezTo>
                  <a:pt x="3498511" y="398220"/>
                  <a:pt x="3506292" y="379500"/>
                  <a:pt x="3504808" y="364853"/>
                </a:cubicBezTo>
                <a:cubicBezTo>
                  <a:pt x="3503420" y="351174"/>
                  <a:pt x="3489060" y="328581"/>
                  <a:pt x="3481752" y="328581"/>
                </a:cubicBezTo>
                <a:close/>
                <a:moveTo>
                  <a:pt x="3250209" y="322250"/>
                </a:moveTo>
                <a:cubicBezTo>
                  <a:pt x="3243214" y="322250"/>
                  <a:pt x="3227889" y="333810"/>
                  <a:pt x="3218734" y="345991"/>
                </a:cubicBezTo>
                <a:cubicBezTo>
                  <a:pt x="3215463" y="350343"/>
                  <a:pt x="3210413" y="353905"/>
                  <a:pt x="3207511" y="353905"/>
                </a:cubicBezTo>
                <a:cubicBezTo>
                  <a:pt x="3200783" y="353905"/>
                  <a:pt x="3188954" y="373794"/>
                  <a:pt x="3185026" y="391710"/>
                </a:cubicBezTo>
                <a:cubicBezTo>
                  <a:pt x="3182959" y="401144"/>
                  <a:pt x="3184556" y="409295"/>
                  <a:pt x="3190049" y="417333"/>
                </a:cubicBezTo>
                <a:cubicBezTo>
                  <a:pt x="3198704" y="429998"/>
                  <a:pt x="3209038" y="433607"/>
                  <a:pt x="3209038" y="423965"/>
                </a:cubicBezTo>
                <a:cubicBezTo>
                  <a:pt x="3209038" y="420714"/>
                  <a:pt x="3214450" y="417153"/>
                  <a:pt x="3221064" y="416051"/>
                </a:cubicBezTo>
                <a:cubicBezTo>
                  <a:pt x="3230509" y="414477"/>
                  <a:pt x="3233387" y="410312"/>
                  <a:pt x="3234472" y="396638"/>
                </a:cubicBezTo>
                <a:cubicBezTo>
                  <a:pt x="3236215" y="374710"/>
                  <a:pt x="3252767" y="371301"/>
                  <a:pt x="3252767" y="392871"/>
                </a:cubicBezTo>
                <a:cubicBezTo>
                  <a:pt x="3252767" y="406113"/>
                  <a:pt x="3253025" y="406177"/>
                  <a:pt x="3261513" y="395055"/>
                </a:cubicBezTo>
                <a:cubicBezTo>
                  <a:pt x="3277567" y="374022"/>
                  <a:pt x="3269528" y="322250"/>
                  <a:pt x="3250209" y="322250"/>
                </a:cubicBezTo>
                <a:close/>
                <a:moveTo>
                  <a:pt x="3735611" y="303258"/>
                </a:moveTo>
                <a:cubicBezTo>
                  <a:pt x="3739420" y="303258"/>
                  <a:pt x="3742535" y="307294"/>
                  <a:pt x="3742535" y="312227"/>
                </a:cubicBezTo>
                <a:cubicBezTo>
                  <a:pt x="3742535" y="317159"/>
                  <a:pt x="3744851" y="322313"/>
                  <a:pt x="3747682" y="323679"/>
                </a:cubicBezTo>
                <a:cubicBezTo>
                  <a:pt x="3750513" y="325045"/>
                  <a:pt x="3751381" y="329556"/>
                  <a:pt x="3749611" y="333703"/>
                </a:cubicBezTo>
                <a:cubicBezTo>
                  <a:pt x="3745013" y="344472"/>
                  <a:pt x="3739615" y="343017"/>
                  <a:pt x="3736483" y="330164"/>
                </a:cubicBezTo>
                <a:cubicBezTo>
                  <a:pt x="3734998" y="324070"/>
                  <a:pt x="3732636" y="315524"/>
                  <a:pt x="3731235" y="311171"/>
                </a:cubicBezTo>
                <a:cubicBezTo>
                  <a:pt x="3729770" y="306619"/>
                  <a:pt x="3731629" y="303258"/>
                  <a:pt x="3735611" y="303258"/>
                </a:cubicBezTo>
                <a:close/>
                <a:moveTo>
                  <a:pt x="2667524" y="278974"/>
                </a:moveTo>
                <a:cubicBezTo>
                  <a:pt x="2661560" y="280156"/>
                  <a:pt x="2658185" y="293159"/>
                  <a:pt x="2658117" y="316447"/>
                </a:cubicBezTo>
                <a:cubicBezTo>
                  <a:pt x="2658039" y="342968"/>
                  <a:pt x="2660977" y="348786"/>
                  <a:pt x="2673175" y="346258"/>
                </a:cubicBezTo>
                <a:cubicBezTo>
                  <a:pt x="2680611" y="344717"/>
                  <a:pt x="2682100" y="339770"/>
                  <a:pt x="2682100" y="316609"/>
                </a:cubicBezTo>
                <a:cubicBezTo>
                  <a:pt x="2682100" y="296817"/>
                  <a:pt x="2679861" y="286788"/>
                  <a:pt x="2674323" y="281790"/>
                </a:cubicBezTo>
                <a:cubicBezTo>
                  <a:pt x="2671787" y="279500"/>
                  <a:pt x="2669512" y="278580"/>
                  <a:pt x="2667524" y="278974"/>
                </a:cubicBezTo>
                <a:close/>
                <a:moveTo>
                  <a:pt x="2403748" y="222584"/>
                </a:moveTo>
                <a:cubicBezTo>
                  <a:pt x="2406439" y="222027"/>
                  <a:pt x="2408792" y="224335"/>
                  <a:pt x="2408792" y="229925"/>
                </a:cubicBezTo>
                <a:cubicBezTo>
                  <a:pt x="2408792" y="235438"/>
                  <a:pt x="2405677" y="239949"/>
                  <a:pt x="2401869" y="239949"/>
                </a:cubicBezTo>
                <a:cubicBezTo>
                  <a:pt x="2398060" y="239949"/>
                  <a:pt x="2395724" y="236566"/>
                  <a:pt x="2396676" y="232431"/>
                </a:cubicBezTo>
                <a:cubicBezTo>
                  <a:pt x="2398027" y="226562"/>
                  <a:pt x="2401056" y="223140"/>
                  <a:pt x="2403748" y="222584"/>
                </a:cubicBezTo>
                <a:close/>
                <a:moveTo>
                  <a:pt x="3661635" y="214625"/>
                </a:moveTo>
                <a:cubicBezTo>
                  <a:pt x="3665279" y="214625"/>
                  <a:pt x="3668195" y="220253"/>
                  <a:pt x="3668195" y="227287"/>
                </a:cubicBezTo>
                <a:cubicBezTo>
                  <a:pt x="3668195" y="234321"/>
                  <a:pt x="3665279" y="239949"/>
                  <a:pt x="3661635" y="239949"/>
                </a:cubicBezTo>
                <a:cubicBezTo>
                  <a:pt x="3657991" y="239949"/>
                  <a:pt x="3655077" y="234321"/>
                  <a:pt x="3655077" y="227287"/>
                </a:cubicBezTo>
                <a:cubicBezTo>
                  <a:pt x="3655077" y="220253"/>
                  <a:pt x="3657991" y="214625"/>
                  <a:pt x="3661635" y="214625"/>
                </a:cubicBezTo>
                <a:close/>
                <a:moveTo>
                  <a:pt x="2458546" y="189624"/>
                </a:moveTo>
                <a:cubicBezTo>
                  <a:pt x="2461856" y="188735"/>
                  <a:pt x="2465760" y="190792"/>
                  <a:pt x="2468139" y="196363"/>
                </a:cubicBezTo>
                <a:cubicBezTo>
                  <a:pt x="2469953" y="200613"/>
                  <a:pt x="2478604" y="202209"/>
                  <a:pt x="2489869" y="200371"/>
                </a:cubicBezTo>
                <a:cubicBezTo>
                  <a:pt x="2506662" y="197630"/>
                  <a:pt x="2509560" y="199226"/>
                  <a:pt x="2518076" y="215902"/>
                </a:cubicBezTo>
                <a:cubicBezTo>
                  <a:pt x="2523296" y="226123"/>
                  <a:pt x="2526486" y="238565"/>
                  <a:pt x="2525165" y="243549"/>
                </a:cubicBezTo>
                <a:cubicBezTo>
                  <a:pt x="2521689" y="256664"/>
                  <a:pt x="2516449" y="254691"/>
                  <a:pt x="2511500" y="238403"/>
                </a:cubicBezTo>
                <a:cubicBezTo>
                  <a:pt x="2504650" y="215859"/>
                  <a:pt x="2492282" y="216449"/>
                  <a:pt x="2489102" y="239473"/>
                </a:cubicBezTo>
                <a:cubicBezTo>
                  <a:pt x="2485958" y="262227"/>
                  <a:pt x="2470013" y="267861"/>
                  <a:pt x="2470013" y="246218"/>
                </a:cubicBezTo>
                <a:cubicBezTo>
                  <a:pt x="2470013" y="239220"/>
                  <a:pt x="2466078" y="228616"/>
                  <a:pt x="2461268" y="222653"/>
                </a:cubicBezTo>
                <a:cubicBezTo>
                  <a:pt x="2456458" y="216690"/>
                  <a:pt x="2452522" y="206747"/>
                  <a:pt x="2452522" y="200557"/>
                </a:cubicBezTo>
                <a:cubicBezTo>
                  <a:pt x="2452522" y="194347"/>
                  <a:pt x="2455237" y="190513"/>
                  <a:pt x="2458546" y="189624"/>
                </a:cubicBezTo>
                <a:close/>
                <a:moveTo>
                  <a:pt x="2511298" y="176640"/>
                </a:moveTo>
                <a:cubicBezTo>
                  <a:pt x="2515048" y="176640"/>
                  <a:pt x="2518116" y="179489"/>
                  <a:pt x="2518116" y="182971"/>
                </a:cubicBezTo>
                <a:cubicBezTo>
                  <a:pt x="2518116" y="186454"/>
                  <a:pt x="2516264" y="189302"/>
                  <a:pt x="2514001" y="189302"/>
                </a:cubicBezTo>
                <a:cubicBezTo>
                  <a:pt x="2511738" y="189302"/>
                  <a:pt x="2508670" y="186454"/>
                  <a:pt x="2507183" y="182971"/>
                </a:cubicBezTo>
                <a:cubicBezTo>
                  <a:pt x="2505697" y="179489"/>
                  <a:pt x="2507548" y="176640"/>
                  <a:pt x="2511298" y="176640"/>
                </a:cubicBezTo>
                <a:close/>
                <a:moveTo>
                  <a:pt x="2555929" y="171777"/>
                </a:moveTo>
                <a:cubicBezTo>
                  <a:pt x="2566610" y="171004"/>
                  <a:pt x="2578329" y="172802"/>
                  <a:pt x="2582482" y="177792"/>
                </a:cubicBezTo>
                <a:cubicBezTo>
                  <a:pt x="2587445" y="183755"/>
                  <a:pt x="2586019" y="186637"/>
                  <a:pt x="2574699" y="193528"/>
                </a:cubicBezTo>
                <a:cubicBezTo>
                  <a:pt x="2558114" y="203624"/>
                  <a:pt x="2558671" y="203563"/>
                  <a:pt x="2555286" y="195633"/>
                </a:cubicBezTo>
                <a:cubicBezTo>
                  <a:pt x="2553799" y="192151"/>
                  <a:pt x="2548763" y="189302"/>
                  <a:pt x="2544095" y="189302"/>
                </a:cubicBezTo>
                <a:cubicBezTo>
                  <a:pt x="2539427" y="189302"/>
                  <a:pt x="2535607" y="185648"/>
                  <a:pt x="2535607" y="181183"/>
                </a:cubicBezTo>
                <a:cubicBezTo>
                  <a:pt x="2535607" y="175892"/>
                  <a:pt x="2545249" y="172549"/>
                  <a:pt x="2555929" y="171777"/>
                </a:cubicBezTo>
                <a:close/>
                <a:moveTo>
                  <a:pt x="2651238" y="166688"/>
                </a:moveTo>
                <a:cubicBezTo>
                  <a:pt x="2657528" y="168492"/>
                  <a:pt x="2662423" y="175539"/>
                  <a:pt x="2662423" y="186823"/>
                </a:cubicBezTo>
                <a:cubicBezTo>
                  <a:pt x="2662423" y="195151"/>
                  <a:pt x="2660493" y="201964"/>
                  <a:pt x="2658132" y="201964"/>
                </a:cubicBezTo>
                <a:cubicBezTo>
                  <a:pt x="2655774" y="201964"/>
                  <a:pt x="2652609" y="209086"/>
                  <a:pt x="2651099" y="217791"/>
                </a:cubicBezTo>
                <a:cubicBezTo>
                  <a:pt x="2648579" y="232326"/>
                  <a:pt x="2632643" y="241240"/>
                  <a:pt x="2631294" y="228870"/>
                </a:cubicBezTo>
                <a:cubicBezTo>
                  <a:pt x="2631009" y="226259"/>
                  <a:pt x="2631009" y="221985"/>
                  <a:pt x="2631294" y="219374"/>
                </a:cubicBezTo>
                <a:cubicBezTo>
                  <a:pt x="2631578" y="216762"/>
                  <a:pt x="2629844" y="214625"/>
                  <a:pt x="2627439" y="214625"/>
                </a:cubicBezTo>
                <a:cubicBezTo>
                  <a:pt x="2620291" y="214625"/>
                  <a:pt x="2622736" y="193545"/>
                  <a:pt x="2631687" y="178004"/>
                </a:cubicBezTo>
                <a:cubicBezTo>
                  <a:pt x="2637265" y="168321"/>
                  <a:pt x="2644949" y="164883"/>
                  <a:pt x="2651238" y="166688"/>
                </a:cubicBezTo>
                <a:close/>
                <a:moveTo>
                  <a:pt x="3294675" y="163979"/>
                </a:moveTo>
                <a:cubicBezTo>
                  <a:pt x="3302396" y="163979"/>
                  <a:pt x="3301052" y="177608"/>
                  <a:pt x="3292944" y="181520"/>
                </a:cubicBezTo>
                <a:cubicBezTo>
                  <a:pt x="3290088" y="182899"/>
                  <a:pt x="3287751" y="179516"/>
                  <a:pt x="3287751" y="174003"/>
                </a:cubicBezTo>
                <a:cubicBezTo>
                  <a:pt x="3287751" y="168490"/>
                  <a:pt x="3290866" y="163979"/>
                  <a:pt x="3294675" y="163979"/>
                </a:cubicBezTo>
                <a:close/>
                <a:moveTo>
                  <a:pt x="3593184" y="152944"/>
                </a:moveTo>
                <a:cubicBezTo>
                  <a:pt x="3595875" y="152388"/>
                  <a:pt x="3598229" y="154696"/>
                  <a:pt x="3598229" y="160286"/>
                </a:cubicBezTo>
                <a:cubicBezTo>
                  <a:pt x="3598229" y="165799"/>
                  <a:pt x="3595112" y="170310"/>
                  <a:pt x="3591305" y="170310"/>
                </a:cubicBezTo>
                <a:cubicBezTo>
                  <a:pt x="3587497" y="170310"/>
                  <a:pt x="3585159" y="166926"/>
                  <a:pt x="3586112" y="162792"/>
                </a:cubicBezTo>
                <a:cubicBezTo>
                  <a:pt x="3587463" y="156923"/>
                  <a:pt x="3590492" y="153501"/>
                  <a:pt x="3593184" y="152944"/>
                </a:cubicBezTo>
                <a:close/>
                <a:moveTo>
                  <a:pt x="2447768" y="122488"/>
                </a:moveTo>
                <a:cubicBezTo>
                  <a:pt x="2454976" y="128937"/>
                  <a:pt x="2453468" y="151317"/>
                  <a:pt x="2445825" y="151317"/>
                </a:cubicBezTo>
                <a:cubicBezTo>
                  <a:pt x="2442142" y="151317"/>
                  <a:pt x="2437945" y="146852"/>
                  <a:pt x="2436499" y="141395"/>
                </a:cubicBezTo>
                <a:cubicBezTo>
                  <a:pt x="2433343" y="129488"/>
                  <a:pt x="2441081" y="116504"/>
                  <a:pt x="2447768" y="122488"/>
                </a:cubicBezTo>
                <a:close/>
                <a:moveTo>
                  <a:pt x="2758453" y="113837"/>
                </a:moveTo>
                <a:cubicBezTo>
                  <a:pt x="2758489" y="112848"/>
                  <a:pt x="2756442" y="113310"/>
                  <a:pt x="2752343" y="114355"/>
                </a:cubicBezTo>
                <a:cubicBezTo>
                  <a:pt x="2743193" y="116691"/>
                  <a:pt x="2733150" y="156532"/>
                  <a:pt x="2739995" y="163342"/>
                </a:cubicBezTo>
                <a:cubicBezTo>
                  <a:pt x="2746060" y="169373"/>
                  <a:pt x="2753611" y="202383"/>
                  <a:pt x="2756797" y="236783"/>
                </a:cubicBezTo>
                <a:cubicBezTo>
                  <a:pt x="2760450" y="276217"/>
                  <a:pt x="2765335" y="286290"/>
                  <a:pt x="2776577" y="277579"/>
                </a:cubicBezTo>
                <a:cubicBezTo>
                  <a:pt x="2782786" y="272768"/>
                  <a:pt x="2784864" y="264163"/>
                  <a:pt x="2784864" y="243265"/>
                </a:cubicBezTo>
                <a:cubicBezTo>
                  <a:pt x="2784864" y="227925"/>
                  <a:pt x="2786832" y="213612"/>
                  <a:pt x="2789237" y="211460"/>
                </a:cubicBezTo>
                <a:cubicBezTo>
                  <a:pt x="2796011" y="205400"/>
                  <a:pt x="2794395" y="176679"/>
                  <a:pt x="2787050" y="172599"/>
                </a:cubicBezTo>
                <a:cubicBezTo>
                  <a:pt x="2783443" y="170595"/>
                  <a:pt x="2780492" y="164868"/>
                  <a:pt x="2780492" y="159871"/>
                </a:cubicBezTo>
                <a:cubicBezTo>
                  <a:pt x="2780492" y="143577"/>
                  <a:pt x="2765437" y="126054"/>
                  <a:pt x="2754010" y="129045"/>
                </a:cubicBezTo>
                <a:cubicBezTo>
                  <a:pt x="2743566" y="131779"/>
                  <a:pt x="2743521" y="131619"/>
                  <a:pt x="2752067" y="122018"/>
                </a:cubicBezTo>
                <a:cubicBezTo>
                  <a:pt x="2756299" y="117264"/>
                  <a:pt x="2758418" y="114826"/>
                  <a:pt x="2758453" y="113837"/>
                </a:cubicBezTo>
                <a:close/>
                <a:moveTo>
                  <a:pt x="3208103" y="91897"/>
                </a:moveTo>
                <a:cubicBezTo>
                  <a:pt x="3213281" y="90045"/>
                  <a:pt x="3217784" y="97707"/>
                  <a:pt x="3217784" y="116250"/>
                </a:cubicBezTo>
                <a:cubicBezTo>
                  <a:pt x="3217784" y="127720"/>
                  <a:pt x="3220735" y="140651"/>
                  <a:pt x="3224343" y="144986"/>
                </a:cubicBezTo>
                <a:cubicBezTo>
                  <a:pt x="3227951" y="149321"/>
                  <a:pt x="3230903" y="159844"/>
                  <a:pt x="3230903" y="168372"/>
                </a:cubicBezTo>
                <a:cubicBezTo>
                  <a:pt x="3230903" y="176899"/>
                  <a:pt x="3233854" y="188149"/>
                  <a:pt x="3237462" y="193372"/>
                </a:cubicBezTo>
                <a:cubicBezTo>
                  <a:pt x="3244242" y="203188"/>
                  <a:pt x="3246531" y="221731"/>
                  <a:pt x="3240742" y="219944"/>
                </a:cubicBezTo>
                <a:cubicBezTo>
                  <a:pt x="3238938" y="219386"/>
                  <a:pt x="3231221" y="217798"/>
                  <a:pt x="3223595" y="216414"/>
                </a:cubicBezTo>
                <a:cubicBezTo>
                  <a:pt x="3203557" y="212779"/>
                  <a:pt x="3185757" y="185085"/>
                  <a:pt x="3189004" y="162600"/>
                </a:cubicBezTo>
                <a:cubicBezTo>
                  <a:pt x="3190402" y="152912"/>
                  <a:pt x="3192816" y="135822"/>
                  <a:pt x="3194368" y="124622"/>
                </a:cubicBezTo>
                <a:cubicBezTo>
                  <a:pt x="3197072" y="105112"/>
                  <a:pt x="3202925" y="93748"/>
                  <a:pt x="3208103" y="91897"/>
                </a:cubicBezTo>
                <a:close/>
                <a:moveTo>
                  <a:pt x="3421125" y="62685"/>
                </a:moveTo>
                <a:cubicBezTo>
                  <a:pt x="3424732" y="62685"/>
                  <a:pt x="3427684" y="66958"/>
                  <a:pt x="3427684" y="72181"/>
                </a:cubicBezTo>
                <a:cubicBezTo>
                  <a:pt x="3427684" y="77405"/>
                  <a:pt x="3429221" y="81678"/>
                  <a:pt x="3431098" y="81678"/>
                </a:cubicBezTo>
                <a:cubicBezTo>
                  <a:pt x="3435608" y="81678"/>
                  <a:pt x="3445240" y="118931"/>
                  <a:pt x="3441509" y="121946"/>
                </a:cubicBezTo>
                <a:cubicBezTo>
                  <a:pt x="3439919" y="123233"/>
                  <a:pt x="3436145" y="123001"/>
                  <a:pt x="3433123" y="121434"/>
                </a:cubicBezTo>
                <a:cubicBezTo>
                  <a:pt x="3430102" y="119865"/>
                  <a:pt x="3428743" y="115976"/>
                  <a:pt x="3430102" y="112791"/>
                </a:cubicBezTo>
                <a:cubicBezTo>
                  <a:pt x="3431461" y="109606"/>
                  <a:pt x="3430490" y="107001"/>
                  <a:pt x="3427942" y="107001"/>
                </a:cubicBezTo>
                <a:cubicBezTo>
                  <a:pt x="3425395" y="107001"/>
                  <a:pt x="3423312" y="101303"/>
                  <a:pt x="3423312" y="94339"/>
                </a:cubicBezTo>
                <a:cubicBezTo>
                  <a:pt x="3423312" y="87375"/>
                  <a:pt x="3421344" y="81678"/>
                  <a:pt x="3418939" y="81678"/>
                </a:cubicBezTo>
                <a:cubicBezTo>
                  <a:pt x="3416533" y="81678"/>
                  <a:pt x="3414566" y="77405"/>
                  <a:pt x="3414566" y="72181"/>
                </a:cubicBezTo>
                <a:cubicBezTo>
                  <a:pt x="3414566" y="66958"/>
                  <a:pt x="3417517" y="62685"/>
                  <a:pt x="3421125" y="62685"/>
                </a:cubicBezTo>
                <a:close/>
                <a:moveTo>
                  <a:pt x="3123228" y="39762"/>
                </a:moveTo>
                <a:cubicBezTo>
                  <a:pt x="3124340" y="38590"/>
                  <a:pt x="3126716" y="40562"/>
                  <a:pt x="3129915" y="46141"/>
                </a:cubicBezTo>
                <a:cubicBezTo>
                  <a:pt x="3133020" y="51558"/>
                  <a:pt x="3133456" y="56718"/>
                  <a:pt x="3130996" y="58920"/>
                </a:cubicBezTo>
                <a:cubicBezTo>
                  <a:pt x="3128726" y="60950"/>
                  <a:pt x="3125632" y="57947"/>
                  <a:pt x="3124122" y="52246"/>
                </a:cubicBezTo>
                <a:cubicBezTo>
                  <a:pt x="3122267" y="45250"/>
                  <a:pt x="3122116" y="40934"/>
                  <a:pt x="3123228" y="39762"/>
                </a:cubicBezTo>
                <a:close/>
                <a:moveTo>
                  <a:pt x="3491456" y="6650"/>
                </a:moveTo>
                <a:cubicBezTo>
                  <a:pt x="3493713" y="7680"/>
                  <a:pt x="3496272" y="11147"/>
                  <a:pt x="3502024" y="18369"/>
                </a:cubicBezTo>
                <a:cubicBezTo>
                  <a:pt x="3507571" y="25333"/>
                  <a:pt x="3514759" y="31031"/>
                  <a:pt x="3517999" y="31031"/>
                </a:cubicBezTo>
                <a:cubicBezTo>
                  <a:pt x="3521238" y="31031"/>
                  <a:pt x="3523889" y="33879"/>
                  <a:pt x="3523889" y="37362"/>
                </a:cubicBezTo>
                <a:cubicBezTo>
                  <a:pt x="3523889" y="40844"/>
                  <a:pt x="3526840" y="43693"/>
                  <a:pt x="3530448" y="43693"/>
                </a:cubicBezTo>
                <a:cubicBezTo>
                  <a:pt x="3534146" y="43693"/>
                  <a:pt x="3537008" y="49356"/>
                  <a:pt x="3537008" y="56677"/>
                </a:cubicBezTo>
                <a:cubicBezTo>
                  <a:pt x="3537008" y="68583"/>
                  <a:pt x="3565454" y="113232"/>
                  <a:pt x="3573084" y="113301"/>
                </a:cubicBezTo>
                <a:cubicBezTo>
                  <a:pt x="3574888" y="113318"/>
                  <a:pt x="3576364" y="117914"/>
                  <a:pt x="3576364" y="123514"/>
                </a:cubicBezTo>
                <a:cubicBezTo>
                  <a:pt x="3576364" y="131092"/>
                  <a:pt x="3573688" y="132724"/>
                  <a:pt x="3565906" y="129897"/>
                </a:cubicBezTo>
                <a:cubicBezTo>
                  <a:pt x="3556533" y="126491"/>
                  <a:pt x="3555257" y="128464"/>
                  <a:pt x="3553610" y="148893"/>
                </a:cubicBezTo>
                <a:cubicBezTo>
                  <a:pt x="3552230" y="165993"/>
                  <a:pt x="3553751" y="173479"/>
                  <a:pt x="3559695" y="178853"/>
                </a:cubicBezTo>
                <a:cubicBezTo>
                  <a:pt x="3568675" y="186973"/>
                  <a:pt x="3570011" y="202298"/>
                  <a:pt x="3562664" y="212934"/>
                </a:cubicBezTo>
                <a:cubicBezTo>
                  <a:pt x="3556064" y="222489"/>
                  <a:pt x="3561075" y="239949"/>
                  <a:pt x="3570416" y="239949"/>
                </a:cubicBezTo>
                <a:cubicBezTo>
                  <a:pt x="3574511" y="239949"/>
                  <a:pt x="3581581" y="235077"/>
                  <a:pt x="3586126" y="229122"/>
                </a:cubicBezTo>
                <a:cubicBezTo>
                  <a:pt x="3593093" y="219993"/>
                  <a:pt x="3594988" y="219697"/>
                  <a:pt x="3598207" y="227237"/>
                </a:cubicBezTo>
                <a:cubicBezTo>
                  <a:pt x="3600306" y="232155"/>
                  <a:pt x="3600918" y="238770"/>
                  <a:pt x="3599566" y="241937"/>
                </a:cubicBezTo>
                <a:cubicBezTo>
                  <a:pt x="3596331" y="249514"/>
                  <a:pt x="3606716" y="258723"/>
                  <a:pt x="3618632" y="258845"/>
                </a:cubicBezTo>
                <a:cubicBezTo>
                  <a:pt x="3629513" y="258956"/>
                  <a:pt x="3661535" y="300242"/>
                  <a:pt x="3665357" y="319085"/>
                </a:cubicBezTo>
                <a:cubicBezTo>
                  <a:pt x="3666770" y="326049"/>
                  <a:pt x="3666225" y="342430"/>
                  <a:pt x="3664147" y="355487"/>
                </a:cubicBezTo>
                <a:cubicBezTo>
                  <a:pt x="3661949" y="369306"/>
                  <a:pt x="3662006" y="379228"/>
                  <a:pt x="3664283" y="379228"/>
                </a:cubicBezTo>
                <a:cubicBezTo>
                  <a:pt x="3666434" y="379228"/>
                  <a:pt x="3668196" y="383501"/>
                  <a:pt x="3668196" y="388724"/>
                </a:cubicBezTo>
                <a:cubicBezTo>
                  <a:pt x="3668196" y="393948"/>
                  <a:pt x="3670163" y="398220"/>
                  <a:pt x="3672568" y="398220"/>
                </a:cubicBezTo>
                <a:cubicBezTo>
                  <a:pt x="3674973" y="398220"/>
                  <a:pt x="3676941" y="408680"/>
                  <a:pt x="3676941" y="421463"/>
                </a:cubicBezTo>
                <a:cubicBezTo>
                  <a:pt x="3676941" y="434246"/>
                  <a:pt x="3679674" y="449202"/>
                  <a:pt x="3683014" y="454700"/>
                </a:cubicBezTo>
                <a:cubicBezTo>
                  <a:pt x="3686353" y="460197"/>
                  <a:pt x="3690445" y="473953"/>
                  <a:pt x="3692108" y="485270"/>
                </a:cubicBezTo>
                <a:cubicBezTo>
                  <a:pt x="3694511" y="501645"/>
                  <a:pt x="3693718" y="505845"/>
                  <a:pt x="3688220" y="505845"/>
                </a:cubicBezTo>
                <a:cubicBezTo>
                  <a:pt x="3684422" y="505845"/>
                  <a:pt x="3681806" y="502731"/>
                  <a:pt x="3682407" y="498925"/>
                </a:cubicBezTo>
                <a:cubicBezTo>
                  <a:pt x="3684346" y="486656"/>
                  <a:pt x="3669145" y="476556"/>
                  <a:pt x="3660542" y="484398"/>
                </a:cubicBezTo>
                <a:cubicBezTo>
                  <a:pt x="3649957" y="494048"/>
                  <a:pt x="3648855" y="508671"/>
                  <a:pt x="3656943" y="532140"/>
                </a:cubicBezTo>
                <a:cubicBezTo>
                  <a:pt x="3660727" y="543122"/>
                  <a:pt x="3663823" y="559054"/>
                  <a:pt x="3663823" y="567545"/>
                </a:cubicBezTo>
                <a:cubicBezTo>
                  <a:pt x="3663823" y="576036"/>
                  <a:pt x="3667758" y="590227"/>
                  <a:pt x="3672568" y="599081"/>
                </a:cubicBezTo>
                <a:cubicBezTo>
                  <a:pt x="3677379" y="607934"/>
                  <a:pt x="3681314" y="620323"/>
                  <a:pt x="3681314" y="626611"/>
                </a:cubicBezTo>
                <a:cubicBezTo>
                  <a:pt x="3681314" y="632900"/>
                  <a:pt x="3683281" y="639807"/>
                  <a:pt x="3685687" y="641959"/>
                </a:cubicBezTo>
                <a:cubicBezTo>
                  <a:pt x="3688092" y="644110"/>
                  <a:pt x="3690060" y="652384"/>
                  <a:pt x="3690060" y="660343"/>
                </a:cubicBezTo>
                <a:cubicBezTo>
                  <a:pt x="3690060" y="678177"/>
                  <a:pt x="3704117" y="697639"/>
                  <a:pt x="3714879" y="694706"/>
                </a:cubicBezTo>
                <a:cubicBezTo>
                  <a:pt x="3719266" y="693510"/>
                  <a:pt x="3724799" y="686138"/>
                  <a:pt x="3727174" y="678324"/>
                </a:cubicBezTo>
                <a:cubicBezTo>
                  <a:pt x="3729816" y="669628"/>
                  <a:pt x="3735329" y="664117"/>
                  <a:pt x="3741385" y="664117"/>
                </a:cubicBezTo>
                <a:cubicBezTo>
                  <a:pt x="3756867" y="664117"/>
                  <a:pt x="3753920" y="686819"/>
                  <a:pt x="3736264" y="703575"/>
                </a:cubicBezTo>
                <a:cubicBezTo>
                  <a:pt x="3719509" y="719476"/>
                  <a:pt x="3710769" y="756437"/>
                  <a:pt x="3721445" y="766238"/>
                </a:cubicBezTo>
                <a:cubicBezTo>
                  <a:pt x="3730163" y="774239"/>
                  <a:pt x="3743706" y="772450"/>
                  <a:pt x="3753209" y="762044"/>
                </a:cubicBezTo>
                <a:cubicBezTo>
                  <a:pt x="3769495" y="744212"/>
                  <a:pt x="3785979" y="753179"/>
                  <a:pt x="3792622" y="783484"/>
                </a:cubicBezTo>
                <a:cubicBezTo>
                  <a:pt x="3796816" y="802612"/>
                  <a:pt x="3814112" y="799777"/>
                  <a:pt x="3816087" y="779639"/>
                </a:cubicBezTo>
                <a:cubicBezTo>
                  <a:pt x="3816856" y="771797"/>
                  <a:pt x="3824235" y="757926"/>
                  <a:pt x="3832485" y="748816"/>
                </a:cubicBezTo>
                <a:cubicBezTo>
                  <a:pt x="3844749" y="735275"/>
                  <a:pt x="3847474" y="728059"/>
                  <a:pt x="3847425" y="709264"/>
                </a:cubicBezTo>
                <a:cubicBezTo>
                  <a:pt x="3847352" y="681364"/>
                  <a:pt x="3843200" y="656960"/>
                  <a:pt x="3839142" y="660590"/>
                </a:cubicBezTo>
                <a:cubicBezTo>
                  <a:pt x="3834328" y="664898"/>
                  <a:pt x="3838060" y="573936"/>
                  <a:pt x="3842989" y="566799"/>
                </a:cubicBezTo>
                <a:cubicBezTo>
                  <a:pt x="3845462" y="563219"/>
                  <a:pt x="3847485" y="555512"/>
                  <a:pt x="3847485" y="549670"/>
                </a:cubicBezTo>
                <a:cubicBezTo>
                  <a:pt x="3847485" y="543829"/>
                  <a:pt x="3850200" y="535788"/>
                  <a:pt x="3853517" y="531802"/>
                </a:cubicBezTo>
                <a:cubicBezTo>
                  <a:pt x="3861375" y="522361"/>
                  <a:pt x="3865336" y="492780"/>
                  <a:pt x="3861473" y="472401"/>
                </a:cubicBezTo>
                <a:cubicBezTo>
                  <a:pt x="3859792" y="463537"/>
                  <a:pt x="3851164" y="444615"/>
                  <a:pt x="3842299" y="430355"/>
                </a:cubicBezTo>
                <a:cubicBezTo>
                  <a:pt x="3833435" y="416093"/>
                  <a:pt x="3824791" y="398044"/>
                  <a:pt x="3823090" y="390244"/>
                </a:cubicBezTo>
                <a:cubicBezTo>
                  <a:pt x="3821387" y="382444"/>
                  <a:pt x="3816342" y="371455"/>
                  <a:pt x="3811876" y="365824"/>
                </a:cubicBezTo>
                <a:cubicBezTo>
                  <a:pt x="3807409" y="360192"/>
                  <a:pt x="3803756" y="351137"/>
                  <a:pt x="3803756" y="345701"/>
                </a:cubicBezTo>
                <a:cubicBezTo>
                  <a:pt x="3803756" y="340264"/>
                  <a:pt x="3801296" y="331942"/>
                  <a:pt x="3798290" y="327206"/>
                </a:cubicBezTo>
                <a:cubicBezTo>
                  <a:pt x="3787028" y="309466"/>
                  <a:pt x="3782277" y="290931"/>
                  <a:pt x="3783985" y="271395"/>
                </a:cubicBezTo>
                <a:cubicBezTo>
                  <a:pt x="3786140" y="246750"/>
                  <a:pt x="3789194" y="241660"/>
                  <a:pt x="3795958" y="251450"/>
                </a:cubicBezTo>
                <a:cubicBezTo>
                  <a:pt x="3798804" y="255570"/>
                  <a:pt x="3805835" y="258942"/>
                  <a:pt x="3811582" y="258942"/>
                </a:cubicBezTo>
                <a:cubicBezTo>
                  <a:pt x="3823136" y="258942"/>
                  <a:pt x="3838367" y="281252"/>
                  <a:pt x="3838594" y="298509"/>
                </a:cubicBezTo>
                <a:cubicBezTo>
                  <a:pt x="3838673" y="304603"/>
                  <a:pt x="3840707" y="309588"/>
                  <a:pt x="3843112" y="309588"/>
                </a:cubicBezTo>
                <a:cubicBezTo>
                  <a:pt x="3845518" y="309588"/>
                  <a:pt x="3847485" y="313965"/>
                  <a:pt x="3847485" y="319315"/>
                </a:cubicBezTo>
                <a:cubicBezTo>
                  <a:pt x="3847485" y="324665"/>
                  <a:pt x="3862335" y="350059"/>
                  <a:pt x="3880487" y="375747"/>
                </a:cubicBezTo>
                <a:lnTo>
                  <a:pt x="3913488" y="422452"/>
                </a:lnTo>
                <a:lnTo>
                  <a:pt x="3912190" y="462566"/>
                </a:lnTo>
                <a:lnTo>
                  <a:pt x="3910892" y="502680"/>
                </a:lnTo>
                <a:lnTo>
                  <a:pt x="3924010" y="504823"/>
                </a:lnTo>
                <a:cubicBezTo>
                  <a:pt x="3942999" y="507924"/>
                  <a:pt x="3948063" y="516714"/>
                  <a:pt x="3948063" y="546577"/>
                </a:cubicBezTo>
                <a:cubicBezTo>
                  <a:pt x="3948063" y="564774"/>
                  <a:pt x="3950947" y="577580"/>
                  <a:pt x="3957252" y="587378"/>
                </a:cubicBezTo>
                <a:cubicBezTo>
                  <a:pt x="3963929" y="597753"/>
                  <a:pt x="3965963" y="607602"/>
                  <a:pt x="3964689" y="623392"/>
                </a:cubicBezTo>
                <a:cubicBezTo>
                  <a:pt x="3963726" y="635344"/>
                  <a:pt x="3964510" y="645124"/>
                  <a:pt x="3966432" y="645124"/>
                </a:cubicBezTo>
                <a:cubicBezTo>
                  <a:pt x="3968354" y="645124"/>
                  <a:pt x="3969927" y="653671"/>
                  <a:pt x="3969927" y="664117"/>
                </a:cubicBezTo>
                <a:cubicBezTo>
                  <a:pt x="3969927" y="678989"/>
                  <a:pt x="3967999" y="683109"/>
                  <a:pt x="3961040" y="683109"/>
                </a:cubicBezTo>
                <a:cubicBezTo>
                  <a:pt x="3948054" y="683109"/>
                  <a:pt x="3943151" y="707199"/>
                  <a:pt x="3951373" y="730591"/>
                </a:cubicBezTo>
                <a:cubicBezTo>
                  <a:pt x="3955046" y="741036"/>
                  <a:pt x="3959445" y="753857"/>
                  <a:pt x="3961150" y="759079"/>
                </a:cubicBezTo>
                <a:cubicBezTo>
                  <a:pt x="3962855" y="764302"/>
                  <a:pt x="3969441" y="769474"/>
                  <a:pt x="3975786" y="770572"/>
                </a:cubicBezTo>
                <a:cubicBezTo>
                  <a:pt x="3982132" y="771671"/>
                  <a:pt x="3990139" y="778389"/>
                  <a:pt x="3993580" y="785503"/>
                </a:cubicBezTo>
                <a:cubicBezTo>
                  <a:pt x="3997023" y="792617"/>
                  <a:pt x="4001963" y="796536"/>
                  <a:pt x="4004560" y="794212"/>
                </a:cubicBezTo>
                <a:cubicBezTo>
                  <a:pt x="4014268" y="785527"/>
                  <a:pt x="4018223" y="797801"/>
                  <a:pt x="4011235" y="814926"/>
                </a:cubicBezTo>
                <a:cubicBezTo>
                  <a:pt x="4005848" y="828130"/>
                  <a:pt x="4005321" y="835790"/>
                  <a:pt x="4008872" y="849310"/>
                </a:cubicBezTo>
                <a:cubicBezTo>
                  <a:pt x="4014915" y="872322"/>
                  <a:pt x="4024350" y="871260"/>
                  <a:pt x="4041280" y="845658"/>
                </a:cubicBezTo>
                <a:cubicBezTo>
                  <a:pt x="4048936" y="834083"/>
                  <a:pt x="4058642" y="822777"/>
                  <a:pt x="4062851" y="820534"/>
                </a:cubicBezTo>
                <a:cubicBezTo>
                  <a:pt x="4067060" y="818290"/>
                  <a:pt x="4070504" y="810836"/>
                  <a:pt x="4070504" y="803968"/>
                </a:cubicBezTo>
                <a:cubicBezTo>
                  <a:pt x="4070504" y="797100"/>
                  <a:pt x="4072558" y="789643"/>
                  <a:pt x="4075068" y="787397"/>
                </a:cubicBezTo>
                <a:cubicBezTo>
                  <a:pt x="4082578" y="780678"/>
                  <a:pt x="4092369" y="797337"/>
                  <a:pt x="4092369" y="816832"/>
                </a:cubicBezTo>
                <a:cubicBezTo>
                  <a:pt x="4092369" y="826852"/>
                  <a:pt x="4094336" y="835050"/>
                  <a:pt x="4096742" y="835050"/>
                </a:cubicBezTo>
                <a:cubicBezTo>
                  <a:pt x="4099147" y="835050"/>
                  <a:pt x="4101115" y="838974"/>
                  <a:pt x="4101115" y="843771"/>
                </a:cubicBezTo>
                <a:cubicBezTo>
                  <a:pt x="4101115" y="848568"/>
                  <a:pt x="4103939" y="855887"/>
                  <a:pt x="4107393" y="860036"/>
                </a:cubicBezTo>
                <a:cubicBezTo>
                  <a:pt x="4110846" y="864184"/>
                  <a:pt x="4114938" y="875929"/>
                  <a:pt x="4116486" y="886134"/>
                </a:cubicBezTo>
                <a:cubicBezTo>
                  <a:pt x="4118035" y="896339"/>
                  <a:pt x="4120903" y="904689"/>
                  <a:pt x="4122859" y="904689"/>
                </a:cubicBezTo>
                <a:cubicBezTo>
                  <a:pt x="4129480" y="904689"/>
                  <a:pt x="4132273" y="926431"/>
                  <a:pt x="4126496" y="933011"/>
                </a:cubicBezTo>
                <a:cubicBezTo>
                  <a:pt x="4123360" y="936585"/>
                  <a:pt x="4120164" y="950905"/>
                  <a:pt x="4119395" y="964833"/>
                </a:cubicBezTo>
                <a:cubicBezTo>
                  <a:pt x="4118627" y="978760"/>
                  <a:pt x="4114199" y="996037"/>
                  <a:pt x="4109556" y="1003225"/>
                </a:cubicBezTo>
                <a:cubicBezTo>
                  <a:pt x="4102882" y="1013559"/>
                  <a:pt x="4101223" y="1024826"/>
                  <a:pt x="4101632" y="1057038"/>
                </a:cubicBezTo>
                <a:cubicBezTo>
                  <a:pt x="4102419" y="1118983"/>
                  <a:pt x="4105729" y="1134108"/>
                  <a:pt x="4119684" y="1139507"/>
                </a:cubicBezTo>
                <a:cubicBezTo>
                  <a:pt x="4129383" y="1143260"/>
                  <a:pt x="4133289" y="1141217"/>
                  <a:pt x="4139990" y="1128881"/>
                </a:cubicBezTo>
                <a:cubicBezTo>
                  <a:pt x="4149734" y="1110949"/>
                  <a:pt x="4161440" y="1109019"/>
                  <a:pt x="4165434" y="1124687"/>
                </a:cubicBezTo>
                <a:cubicBezTo>
                  <a:pt x="4166987" y="1130780"/>
                  <a:pt x="4169593" y="1137190"/>
                  <a:pt x="4171225" y="1138931"/>
                </a:cubicBezTo>
                <a:cubicBezTo>
                  <a:pt x="4172858" y="1140671"/>
                  <a:pt x="4175524" y="1152580"/>
                  <a:pt x="4177151" y="1165392"/>
                </a:cubicBezTo>
                <a:cubicBezTo>
                  <a:pt x="4179716" y="1185600"/>
                  <a:pt x="4178500" y="1190847"/>
                  <a:pt x="4167975" y="1204976"/>
                </a:cubicBezTo>
                <a:cubicBezTo>
                  <a:pt x="4149740" y="1229454"/>
                  <a:pt x="4143811" y="1222224"/>
                  <a:pt x="4151601" y="1185009"/>
                </a:cubicBezTo>
                <a:cubicBezTo>
                  <a:pt x="4157255" y="1157992"/>
                  <a:pt x="4122446" y="1148532"/>
                  <a:pt x="4115472" y="1175190"/>
                </a:cubicBezTo>
                <a:cubicBezTo>
                  <a:pt x="4111829" y="1189114"/>
                  <a:pt x="4103120" y="1202239"/>
                  <a:pt x="4097522" y="1202239"/>
                </a:cubicBezTo>
                <a:cubicBezTo>
                  <a:pt x="4090898" y="1202239"/>
                  <a:pt x="4088241" y="1185964"/>
                  <a:pt x="4090938" y="1161908"/>
                </a:cubicBezTo>
                <a:cubicBezTo>
                  <a:pt x="4092778" y="1145484"/>
                  <a:pt x="4091040" y="1135021"/>
                  <a:pt x="4084144" y="1120998"/>
                </a:cubicBezTo>
                <a:cubicBezTo>
                  <a:pt x="4079047" y="1110635"/>
                  <a:pt x="4074877" y="1098965"/>
                  <a:pt x="4074877" y="1095063"/>
                </a:cubicBezTo>
                <a:cubicBezTo>
                  <a:pt x="4074877" y="1091163"/>
                  <a:pt x="4069744" y="1085145"/>
                  <a:pt x="4063469" y="1081691"/>
                </a:cubicBezTo>
                <a:cubicBezTo>
                  <a:pt x="4054637" y="1076829"/>
                  <a:pt x="4053151" y="1073513"/>
                  <a:pt x="4056887" y="1066994"/>
                </a:cubicBezTo>
                <a:cubicBezTo>
                  <a:pt x="4060299" y="1061044"/>
                  <a:pt x="4060487" y="1044568"/>
                  <a:pt x="4057531" y="1010814"/>
                </a:cubicBezTo>
                <a:cubicBezTo>
                  <a:pt x="4055058" y="982581"/>
                  <a:pt x="4054928" y="955081"/>
                  <a:pt x="4057210" y="943558"/>
                </a:cubicBezTo>
                <a:cubicBezTo>
                  <a:pt x="4059334" y="932835"/>
                  <a:pt x="4059619" y="916195"/>
                  <a:pt x="4057842" y="906579"/>
                </a:cubicBezTo>
                <a:cubicBezTo>
                  <a:pt x="4055189" y="892214"/>
                  <a:pt x="4051242" y="888129"/>
                  <a:pt x="4035718" y="883685"/>
                </a:cubicBezTo>
                <a:cubicBezTo>
                  <a:pt x="4015653" y="877940"/>
                  <a:pt x="4009486" y="883293"/>
                  <a:pt x="4009350" y="906575"/>
                </a:cubicBezTo>
                <a:cubicBezTo>
                  <a:pt x="4009314" y="912836"/>
                  <a:pt x="4004078" y="924439"/>
                  <a:pt x="3997719" y="932360"/>
                </a:cubicBezTo>
                <a:cubicBezTo>
                  <a:pt x="3987364" y="945255"/>
                  <a:pt x="3986526" y="949361"/>
                  <a:pt x="3989704" y="971623"/>
                </a:cubicBezTo>
                <a:cubicBezTo>
                  <a:pt x="3991655" y="985298"/>
                  <a:pt x="3992795" y="1000315"/>
                  <a:pt x="3992236" y="1004994"/>
                </a:cubicBezTo>
                <a:cubicBezTo>
                  <a:pt x="3991480" y="1011323"/>
                  <a:pt x="3994652" y="1012410"/>
                  <a:pt x="4004625" y="1009239"/>
                </a:cubicBezTo>
                <a:cubicBezTo>
                  <a:pt x="4014796" y="1006005"/>
                  <a:pt x="4018029" y="1007202"/>
                  <a:pt x="4018029" y="1014201"/>
                </a:cubicBezTo>
                <a:cubicBezTo>
                  <a:pt x="4018029" y="1019274"/>
                  <a:pt x="4020980" y="1026971"/>
                  <a:pt x="4024588" y="1031306"/>
                </a:cubicBezTo>
                <a:cubicBezTo>
                  <a:pt x="4028195" y="1035641"/>
                  <a:pt x="4031148" y="1045961"/>
                  <a:pt x="4031148" y="1054239"/>
                </a:cubicBezTo>
                <a:cubicBezTo>
                  <a:pt x="4031148" y="1062518"/>
                  <a:pt x="4033115" y="1069291"/>
                  <a:pt x="4035521" y="1069291"/>
                </a:cubicBezTo>
                <a:cubicBezTo>
                  <a:pt x="4037926" y="1069291"/>
                  <a:pt x="4039924" y="1074277"/>
                  <a:pt x="4039960" y="1080371"/>
                </a:cubicBezTo>
                <a:cubicBezTo>
                  <a:pt x="4040018" y="1089839"/>
                  <a:pt x="4040644" y="1090069"/>
                  <a:pt x="4044266" y="1081953"/>
                </a:cubicBezTo>
                <a:cubicBezTo>
                  <a:pt x="4046597" y="1076730"/>
                  <a:pt x="4048506" y="1075306"/>
                  <a:pt x="4048506" y="1078788"/>
                </a:cubicBezTo>
                <a:cubicBezTo>
                  <a:pt x="4048506" y="1082270"/>
                  <a:pt x="4046736" y="1089167"/>
                  <a:pt x="4044572" y="1094114"/>
                </a:cubicBezTo>
                <a:cubicBezTo>
                  <a:pt x="4041220" y="1101781"/>
                  <a:pt x="4038992" y="1101547"/>
                  <a:pt x="4029488" y="1092532"/>
                </a:cubicBezTo>
                <a:cubicBezTo>
                  <a:pt x="4015693" y="1079445"/>
                  <a:pt x="4007592" y="1079142"/>
                  <a:pt x="4000537" y="1091450"/>
                </a:cubicBezTo>
                <a:cubicBezTo>
                  <a:pt x="3996171" y="1099065"/>
                  <a:pt x="3996280" y="1103016"/>
                  <a:pt x="4001086" y="1111401"/>
                </a:cubicBezTo>
                <a:cubicBezTo>
                  <a:pt x="4005450" y="1119012"/>
                  <a:pt x="4006701" y="1137522"/>
                  <a:pt x="4005684" y="1179458"/>
                </a:cubicBezTo>
                <a:cubicBezTo>
                  <a:pt x="4004605" y="1223959"/>
                  <a:pt x="4005818" y="1239939"/>
                  <a:pt x="4011018" y="1249721"/>
                </a:cubicBezTo>
                <a:cubicBezTo>
                  <a:pt x="4014722" y="1256685"/>
                  <a:pt x="4017814" y="1270025"/>
                  <a:pt x="4017890" y="1279365"/>
                </a:cubicBezTo>
                <a:cubicBezTo>
                  <a:pt x="4018066" y="1300837"/>
                  <a:pt x="4033415" y="1310120"/>
                  <a:pt x="4041682" y="1293755"/>
                </a:cubicBezTo>
                <a:cubicBezTo>
                  <a:pt x="4047438" y="1282358"/>
                  <a:pt x="4046028" y="1255210"/>
                  <a:pt x="4039371" y="1249254"/>
                </a:cubicBezTo>
                <a:cubicBezTo>
                  <a:pt x="4037254" y="1247358"/>
                  <a:pt x="4035521" y="1236005"/>
                  <a:pt x="4035521" y="1224024"/>
                </a:cubicBezTo>
                <a:cubicBezTo>
                  <a:pt x="4035521" y="1205626"/>
                  <a:pt x="4037056" y="1202239"/>
                  <a:pt x="4045401" y="1202239"/>
                </a:cubicBezTo>
                <a:cubicBezTo>
                  <a:pt x="4057146" y="1202239"/>
                  <a:pt x="4064388" y="1217175"/>
                  <a:pt x="4068670" y="1250220"/>
                </a:cubicBezTo>
                <a:cubicBezTo>
                  <a:pt x="4070396" y="1263538"/>
                  <a:pt x="4073870" y="1277631"/>
                  <a:pt x="4076391" y="1281537"/>
                </a:cubicBezTo>
                <a:cubicBezTo>
                  <a:pt x="4081652" y="1289690"/>
                  <a:pt x="4102235" y="1285958"/>
                  <a:pt x="4098627" y="1277505"/>
                </a:cubicBezTo>
                <a:cubicBezTo>
                  <a:pt x="4097315" y="1274432"/>
                  <a:pt x="4101765" y="1274842"/>
                  <a:pt x="4108517" y="1278416"/>
                </a:cubicBezTo>
                <a:cubicBezTo>
                  <a:pt x="4115269" y="1281992"/>
                  <a:pt x="4123474" y="1286290"/>
                  <a:pt x="4126752" y="1287969"/>
                </a:cubicBezTo>
                <a:cubicBezTo>
                  <a:pt x="4131236" y="1290267"/>
                  <a:pt x="4131496" y="1293137"/>
                  <a:pt x="4127806" y="1299575"/>
                </a:cubicBezTo>
                <a:cubicBezTo>
                  <a:pt x="4123857" y="1306464"/>
                  <a:pt x="4125038" y="1307538"/>
                  <a:pt x="4133874" y="1305093"/>
                </a:cubicBezTo>
                <a:cubicBezTo>
                  <a:pt x="4142564" y="1302688"/>
                  <a:pt x="4144844" y="1298264"/>
                  <a:pt x="4144844" y="1283803"/>
                </a:cubicBezTo>
                <a:cubicBezTo>
                  <a:pt x="4144844" y="1269988"/>
                  <a:pt x="4146897" y="1265548"/>
                  <a:pt x="4153286" y="1265548"/>
                </a:cubicBezTo>
                <a:cubicBezTo>
                  <a:pt x="4158698" y="1265548"/>
                  <a:pt x="4162229" y="1270637"/>
                  <a:pt x="4163125" y="1279728"/>
                </a:cubicBezTo>
                <a:cubicBezTo>
                  <a:pt x="4163894" y="1287527"/>
                  <a:pt x="4168126" y="1294902"/>
                  <a:pt x="4172531" y="1296118"/>
                </a:cubicBezTo>
                <a:cubicBezTo>
                  <a:pt x="4184376" y="1299388"/>
                  <a:pt x="4195852" y="1278682"/>
                  <a:pt x="4193740" y="1257851"/>
                </a:cubicBezTo>
                <a:cubicBezTo>
                  <a:pt x="4192698" y="1247574"/>
                  <a:pt x="4193984" y="1240225"/>
                  <a:pt x="4196823" y="1240225"/>
                </a:cubicBezTo>
                <a:cubicBezTo>
                  <a:pt x="4199501" y="1240225"/>
                  <a:pt x="4201692" y="1235951"/>
                  <a:pt x="4201692" y="1230729"/>
                </a:cubicBezTo>
                <a:cubicBezTo>
                  <a:pt x="4201692" y="1224953"/>
                  <a:pt x="4205761" y="1221232"/>
                  <a:pt x="4212078" y="1221232"/>
                </a:cubicBezTo>
                <a:cubicBezTo>
                  <a:pt x="4220211" y="1221232"/>
                  <a:pt x="4223056" y="1225522"/>
                  <a:pt x="4225197" y="1241016"/>
                </a:cubicBezTo>
                <a:cubicBezTo>
                  <a:pt x="4226700" y="1251897"/>
                  <a:pt x="4227930" y="1266397"/>
                  <a:pt x="4227930" y="1273238"/>
                </a:cubicBezTo>
                <a:cubicBezTo>
                  <a:pt x="4227930" y="1280079"/>
                  <a:pt x="4231767" y="1290406"/>
                  <a:pt x="4236457" y="1296187"/>
                </a:cubicBezTo>
                <a:cubicBezTo>
                  <a:pt x="4245384" y="1307189"/>
                  <a:pt x="4252446" y="1346846"/>
                  <a:pt x="4258151" y="1418012"/>
                </a:cubicBezTo>
                <a:cubicBezTo>
                  <a:pt x="4259989" y="1440933"/>
                  <a:pt x="4262713" y="1462544"/>
                  <a:pt x="4264204" y="1466038"/>
                </a:cubicBezTo>
                <a:cubicBezTo>
                  <a:pt x="4268527" y="1476166"/>
                  <a:pt x="4284247" y="1471595"/>
                  <a:pt x="4291061" y="1458229"/>
                </a:cubicBezTo>
                <a:cubicBezTo>
                  <a:pt x="4295881" y="1448777"/>
                  <a:pt x="4298507" y="1447689"/>
                  <a:pt x="4302556" y="1453466"/>
                </a:cubicBezTo>
                <a:cubicBezTo>
                  <a:pt x="4310667" y="1465041"/>
                  <a:pt x="4304179" y="1479710"/>
                  <a:pt x="4288263" y="1485776"/>
                </a:cubicBezTo>
                <a:lnTo>
                  <a:pt x="4273845" y="1491271"/>
                </a:lnTo>
                <a:lnTo>
                  <a:pt x="4274670" y="1576119"/>
                </a:lnTo>
                <a:cubicBezTo>
                  <a:pt x="4275187" y="1629302"/>
                  <a:pt x="4277226" y="1661803"/>
                  <a:pt x="4280135" y="1663208"/>
                </a:cubicBezTo>
                <a:cubicBezTo>
                  <a:pt x="4282689" y="1664439"/>
                  <a:pt x="4284786" y="1677318"/>
                  <a:pt x="4284796" y="1691826"/>
                </a:cubicBezTo>
                <a:cubicBezTo>
                  <a:pt x="4284805" y="1707440"/>
                  <a:pt x="4289315" y="1731050"/>
                  <a:pt x="4295844" y="1749682"/>
                </a:cubicBezTo>
                <a:cubicBezTo>
                  <a:pt x="4304028" y="1773035"/>
                  <a:pt x="4307579" y="1795505"/>
                  <a:pt x="4309600" y="1836731"/>
                </a:cubicBezTo>
                <a:cubicBezTo>
                  <a:pt x="4311099" y="1867296"/>
                  <a:pt x="4314087" y="1892303"/>
                  <a:pt x="4316241" y="1892303"/>
                </a:cubicBezTo>
                <a:cubicBezTo>
                  <a:pt x="4320687" y="1892303"/>
                  <a:pt x="4317040" y="1930980"/>
                  <a:pt x="4310107" y="1957356"/>
                </a:cubicBezTo>
                <a:cubicBezTo>
                  <a:pt x="4306458" y="1971241"/>
                  <a:pt x="4306914" y="1977217"/>
                  <a:pt x="4312284" y="1985845"/>
                </a:cubicBezTo>
                <a:cubicBezTo>
                  <a:pt x="4316021" y="1991849"/>
                  <a:pt x="4320430" y="2004597"/>
                  <a:pt x="4322081" y="2014172"/>
                </a:cubicBezTo>
                <a:cubicBezTo>
                  <a:pt x="4323731" y="2023747"/>
                  <a:pt x="4326836" y="2031582"/>
                  <a:pt x="4328981" y="2031582"/>
                </a:cubicBezTo>
                <a:cubicBezTo>
                  <a:pt x="4331125" y="2031582"/>
                  <a:pt x="4332880" y="2036931"/>
                  <a:pt x="4332880" y="2043469"/>
                </a:cubicBezTo>
                <a:cubicBezTo>
                  <a:pt x="4332880" y="2063669"/>
                  <a:pt x="4342559" y="2069939"/>
                  <a:pt x="4353651" y="2056924"/>
                </a:cubicBezTo>
                <a:cubicBezTo>
                  <a:pt x="4359063" y="2050574"/>
                  <a:pt x="4363490" y="2040761"/>
                  <a:pt x="4363490" y="2035116"/>
                </a:cubicBezTo>
                <a:cubicBezTo>
                  <a:pt x="4363490" y="2025830"/>
                  <a:pt x="4374965" y="2013985"/>
                  <a:pt x="4378404" y="2019721"/>
                </a:cubicBezTo>
                <a:cubicBezTo>
                  <a:pt x="4382680" y="2026854"/>
                  <a:pt x="4384603" y="2067785"/>
                  <a:pt x="4381043" y="2075898"/>
                </a:cubicBezTo>
                <a:cubicBezTo>
                  <a:pt x="4377629" y="2083677"/>
                  <a:pt x="4375302" y="2083981"/>
                  <a:pt x="4368169" y="2077583"/>
                </a:cubicBezTo>
                <a:cubicBezTo>
                  <a:pt x="4363381" y="2073287"/>
                  <a:pt x="4356207" y="2071582"/>
                  <a:pt x="4352226" y="2073792"/>
                </a:cubicBezTo>
                <a:cubicBezTo>
                  <a:pt x="4346268" y="2077103"/>
                  <a:pt x="4345547" y="2082948"/>
                  <a:pt x="4348141" y="2106926"/>
                </a:cubicBezTo>
                <a:cubicBezTo>
                  <a:pt x="4349873" y="2122939"/>
                  <a:pt x="4351206" y="2141026"/>
                  <a:pt x="4351103" y="2147120"/>
                </a:cubicBezTo>
                <a:cubicBezTo>
                  <a:pt x="4351000" y="2153213"/>
                  <a:pt x="4352761" y="2158199"/>
                  <a:pt x="4355016" y="2158199"/>
                </a:cubicBezTo>
                <a:cubicBezTo>
                  <a:pt x="4357271" y="2158199"/>
                  <a:pt x="4359117" y="2162472"/>
                  <a:pt x="4359117" y="2167695"/>
                </a:cubicBezTo>
                <a:cubicBezTo>
                  <a:pt x="4359117" y="2172918"/>
                  <a:pt x="4361085" y="2177191"/>
                  <a:pt x="4363490" y="2177191"/>
                </a:cubicBezTo>
                <a:cubicBezTo>
                  <a:pt x="4369461" y="2177191"/>
                  <a:pt x="4369033" y="2204620"/>
                  <a:pt x="4362923" y="2213465"/>
                </a:cubicBezTo>
                <a:cubicBezTo>
                  <a:pt x="4360191" y="2217421"/>
                  <a:pt x="4356771" y="2253115"/>
                  <a:pt x="4355271" y="2293337"/>
                </a:cubicBezTo>
                <a:cubicBezTo>
                  <a:pt x="4352827" y="2358834"/>
                  <a:pt x="4353334" y="2366758"/>
                  <a:pt x="4360370" y="2373116"/>
                </a:cubicBezTo>
                <a:cubicBezTo>
                  <a:pt x="4372985" y="2384514"/>
                  <a:pt x="4377570" y="2409853"/>
                  <a:pt x="4371450" y="2434355"/>
                </a:cubicBezTo>
                <a:cubicBezTo>
                  <a:pt x="4368511" y="2446121"/>
                  <a:pt x="4364534" y="2455749"/>
                  <a:pt x="4362612" y="2455749"/>
                </a:cubicBezTo>
                <a:cubicBezTo>
                  <a:pt x="4357631" y="2455749"/>
                  <a:pt x="4358275" y="2489982"/>
                  <a:pt x="4363396" y="2497396"/>
                </a:cubicBezTo>
                <a:cubicBezTo>
                  <a:pt x="4365748" y="2500803"/>
                  <a:pt x="4368713" y="2547510"/>
                  <a:pt x="4369984" y="2601191"/>
                </a:cubicBezTo>
                <a:cubicBezTo>
                  <a:pt x="4371255" y="2654871"/>
                  <a:pt x="4374095" y="2700403"/>
                  <a:pt x="4376297" y="2702374"/>
                </a:cubicBezTo>
                <a:cubicBezTo>
                  <a:pt x="4378499" y="2704344"/>
                  <a:pt x="4381707" y="2733701"/>
                  <a:pt x="4383427" y="2767613"/>
                </a:cubicBezTo>
                <a:cubicBezTo>
                  <a:pt x="4385146" y="2801524"/>
                  <a:pt x="4388251" y="2829270"/>
                  <a:pt x="4390327" y="2829270"/>
                </a:cubicBezTo>
                <a:cubicBezTo>
                  <a:pt x="4392403" y="2829270"/>
                  <a:pt x="4394101" y="2840524"/>
                  <a:pt x="4394101" y="2854279"/>
                </a:cubicBezTo>
                <a:cubicBezTo>
                  <a:pt x="4394101" y="2870956"/>
                  <a:pt x="4396509" y="2881239"/>
                  <a:pt x="4401330" y="2885145"/>
                </a:cubicBezTo>
                <a:cubicBezTo>
                  <a:pt x="4407551" y="2890184"/>
                  <a:pt x="4407887" y="2894843"/>
                  <a:pt x="4403735" y="2918518"/>
                </a:cubicBezTo>
                <a:cubicBezTo>
                  <a:pt x="4401082" y="2933652"/>
                  <a:pt x="4400307" y="2947539"/>
                  <a:pt x="4402014" y="2949378"/>
                </a:cubicBezTo>
                <a:cubicBezTo>
                  <a:pt x="4403720" y="2951217"/>
                  <a:pt x="4408989" y="2963405"/>
                  <a:pt x="4413722" y="2976462"/>
                </a:cubicBezTo>
                <a:cubicBezTo>
                  <a:pt x="4422755" y="3001383"/>
                  <a:pt x="4428254" y="3005204"/>
                  <a:pt x="4436955" y="2992606"/>
                </a:cubicBezTo>
                <a:cubicBezTo>
                  <a:pt x="4443008" y="2983844"/>
                  <a:pt x="4444037" y="2962218"/>
                  <a:pt x="4438402" y="2962218"/>
                </a:cubicBezTo>
                <a:cubicBezTo>
                  <a:pt x="4436311" y="2962218"/>
                  <a:pt x="4433493" y="2952336"/>
                  <a:pt x="4432140" y="2940257"/>
                </a:cubicBezTo>
                <a:cubicBezTo>
                  <a:pt x="4430785" y="2928178"/>
                  <a:pt x="4425583" y="2911933"/>
                  <a:pt x="4420579" y="2904157"/>
                </a:cubicBezTo>
                <a:lnTo>
                  <a:pt x="4411480" y="2890017"/>
                </a:lnTo>
                <a:lnTo>
                  <a:pt x="4423561" y="2875699"/>
                </a:lnTo>
                <a:cubicBezTo>
                  <a:pt x="4437451" y="2859237"/>
                  <a:pt x="4451949" y="2856909"/>
                  <a:pt x="4459419" y="2869941"/>
                </a:cubicBezTo>
                <a:cubicBezTo>
                  <a:pt x="4465644" y="2880798"/>
                  <a:pt x="4461173" y="2922996"/>
                  <a:pt x="4452464" y="2935605"/>
                </a:cubicBezTo>
                <a:cubicBezTo>
                  <a:pt x="4446070" y="2944861"/>
                  <a:pt x="4444467" y="2962218"/>
                  <a:pt x="4450005" y="2962218"/>
                </a:cubicBezTo>
                <a:cubicBezTo>
                  <a:pt x="4451892" y="2962218"/>
                  <a:pt x="4457000" y="2970952"/>
                  <a:pt x="4461356" y="2981627"/>
                </a:cubicBezTo>
                <a:cubicBezTo>
                  <a:pt x="4468620" y="2999432"/>
                  <a:pt x="4468698" y="3001959"/>
                  <a:pt x="4462298" y="3012197"/>
                </a:cubicBezTo>
                <a:cubicBezTo>
                  <a:pt x="4454880" y="3024065"/>
                  <a:pt x="4453231" y="3039382"/>
                  <a:pt x="4458544" y="3047075"/>
                </a:cubicBezTo>
                <a:cubicBezTo>
                  <a:pt x="4460317" y="3049641"/>
                  <a:pt x="4464114" y="3071903"/>
                  <a:pt x="4466982" y="3096545"/>
                </a:cubicBezTo>
                <a:cubicBezTo>
                  <a:pt x="4469850" y="3121186"/>
                  <a:pt x="4474231" y="3143169"/>
                  <a:pt x="4476717" y="3145393"/>
                </a:cubicBezTo>
                <a:cubicBezTo>
                  <a:pt x="4479207" y="3147621"/>
                  <a:pt x="4481629" y="3176354"/>
                  <a:pt x="4482109" y="3209351"/>
                </a:cubicBezTo>
                <a:cubicBezTo>
                  <a:pt x="4482824" y="3258484"/>
                  <a:pt x="4484503" y="3271734"/>
                  <a:pt x="4491442" y="3282990"/>
                </a:cubicBezTo>
                <a:cubicBezTo>
                  <a:pt x="4497783" y="3293278"/>
                  <a:pt x="4499162" y="3301605"/>
                  <a:pt x="4496943" y="3316228"/>
                </a:cubicBezTo>
                <a:cubicBezTo>
                  <a:pt x="4493270" y="3340439"/>
                  <a:pt x="4483514" y="3341615"/>
                  <a:pt x="4479522" y="3318328"/>
                </a:cubicBezTo>
                <a:cubicBezTo>
                  <a:pt x="4476154" y="3298680"/>
                  <a:pt x="4460893" y="3272430"/>
                  <a:pt x="4452840" y="3272430"/>
                </a:cubicBezTo>
                <a:cubicBezTo>
                  <a:pt x="4446154" y="3272430"/>
                  <a:pt x="4442203" y="3286899"/>
                  <a:pt x="4442203" y="3311385"/>
                </a:cubicBezTo>
                <a:cubicBezTo>
                  <a:pt x="4442203" y="3321795"/>
                  <a:pt x="4439184" y="3334682"/>
                  <a:pt x="4435495" y="3340023"/>
                </a:cubicBezTo>
                <a:cubicBezTo>
                  <a:pt x="4431661" y="3345574"/>
                  <a:pt x="4429909" y="3354850"/>
                  <a:pt x="4431405" y="3361676"/>
                </a:cubicBezTo>
                <a:cubicBezTo>
                  <a:pt x="4433651" y="3371920"/>
                  <a:pt x="4432582" y="3372853"/>
                  <a:pt x="4423901" y="3368237"/>
                </a:cubicBezTo>
                <a:cubicBezTo>
                  <a:pt x="4415737" y="3363896"/>
                  <a:pt x="4413356" y="3356944"/>
                  <a:pt x="4411592" y="3332307"/>
                </a:cubicBezTo>
                <a:cubicBezTo>
                  <a:pt x="4409698" y="3305849"/>
                  <a:pt x="4407865" y="3301168"/>
                  <a:pt x="4397896" y="3297338"/>
                </a:cubicBezTo>
                <a:cubicBezTo>
                  <a:pt x="4391566" y="3294906"/>
                  <a:pt x="4384072" y="3294987"/>
                  <a:pt x="4381244" y="3297518"/>
                </a:cubicBezTo>
                <a:cubicBezTo>
                  <a:pt x="4374953" y="3303147"/>
                  <a:pt x="4379280" y="3332143"/>
                  <a:pt x="4387970" y="3342585"/>
                </a:cubicBezTo>
                <a:cubicBezTo>
                  <a:pt x="4395032" y="3351070"/>
                  <a:pt x="4396573" y="3411709"/>
                  <a:pt x="4389728" y="3411709"/>
                </a:cubicBezTo>
                <a:cubicBezTo>
                  <a:pt x="4387322" y="3411709"/>
                  <a:pt x="4385355" y="3423104"/>
                  <a:pt x="4385355" y="3437032"/>
                </a:cubicBezTo>
                <a:cubicBezTo>
                  <a:pt x="4385355" y="3450960"/>
                  <a:pt x="4387322" y="3462355"/>
                  <a:pt x="4389728" y="3462355"/>
                </a:cubicBezTo>
                <a:cubicBezTo>
                  <a:pt x="4392133" y="3462355"/>
                  <a:pt x="4394101" y="3469316"/>
                  <a:pt x="4394101" y="3477824"/>
                </a:cubicBezTo>
                <a:cubicBezTo>
                  <a:pt x="4394101" y="3486331"/>
                  <a:pt x="4398166" y="3497414"/>
                  <a:pt x="4403134" y="3502453"/>
                </a:cubicBezTo>
                <a:cubicBezTo>
                  <a:pt x="4410497" y="3509918"/>
                  <a:pt x="4411638" y="3515708"/>
                  <a:pt x="4409301" y="3533741"/>
                </a:cubicBezTo>
                <a:cubicBezTo>
                  <a:pt x="4407513" y="3547540"/>
                  <a:pt x="4408278" y="3557518"/>
                  <a:pt x="4411334" y="3560252"/>
                </a:cubicBezTo>
                <a:cubicBezTo>
                  <a:pt x="4414360" y="3562961"/>
                  <a:pt x="4415160" y="3572918"/>
                  <a:pt x="4413426" y="3586301"/>
                </a:cubicBezTo>
                <a:cubicBezTo>
                  <a:pt x="4411232" y="3603235"/>
                  <a:pt x="4412068" y="3607965"/>
                  <a:pt x="4417255" y="3607965"/>
                </a:cubicBezTo>
                <a:cubicBezTo>
                  <a:pt x="4421739" y="3607965"/>
                  <a:pt x="4423150" y="3612073"/>
                  <a:pt x="4421605" y="3620627"/>
                </a:cubicBezTo>
                <a:cubicBezTo>
                  <a:pt x="4420347" y="3627590"/>
                  <a:pt x="4416534" y="3633289"/>
                  <a:pt x="4413131" y="3633289"/>
                </a:cubicBezTo>
                <a:cubicBezTo>
                  <a:pt x="4409728" y="3633289"/>
                  <a:pt x="4405812" y="3637562"/>
                  <a:pt x="4404428" y="3642785"/>
                </a:cubicBezTo>
                <a:cubicBezTo>
                  <a:pt x="4403043" y="3648008"/>
                  <a:pt x="4398186" y="3652281"/>
                  <a:pt x="4393632" y="3652281"/>
                </a:cubicBezTo>
                <a:cubicBezTo>
                  <a:pt x="4387073" y="3652281"/>
                  <a:pt x="4385355" y="3647639"/>
                  <a:pt x="4385355" y="3629925"/>
                </a:cubicBezTo>
                <a:cubicBezTo>
                  <a:pt x="4385355" y="3615892"/>
                  <a:pt x="4387797" y="3606211"/>
                  <a:pt x="4391914" y="3603924"/>
                </a:cubicBezTo>
                <a:cubicBezTo>
                  <a:pt x="4395522" y="3601919"/>
                  <a:pt x="4398473" y="3593562"/>
                  <a:pt x="4398473" y="3585352"/>
                </a:cubicBezTo>
                <a:cubicBezTo>
                  <a:pt x="4398473" y="3569607"/>
                  <a:pt x="4387338" y="3557318"/>
                  <a:pt x="4373070" y="3557318"/>
                </a:cubicBezTo>
                <a:cubicBezTo>
                  <a:pt x="4363359" y="3557318"/>
                  <a:pt x="4356613" y="3524686"/>
                  <a:pt x="4362940" y="3508318"/>
                </a:cubicBezTo>
                <a:cubicBezTo>
                  <a:pt x="4365415" y="3501914"/>
                  <a:pt x="4364319" y="3494494"/>
                  <a:pt x="4359759" y="3486782"/>
                </a:cubicBezTo>
                <a:cubicBezTo>
                  <a:pt x="4351128" y="3472190"/>
                  <a:pt x="4342550" y="3471843"/>
                  <a:pt x="4332004" y="3485660"/>
                </a:cubicBezTo>
                <a:cubicBezTo>
                  <a:pt x="4324352" y="3495687"/>
                  <a:pt x="4323493" y="3495504"/>
                  <a:pt x="4317200" y="3482495"/>
                </a:cubicBezTo>
                <a:cubicBezTo>
                  <a:pt x="4308990" y="3465526"/>
                  <a:pt x="4299650" y="3464775"/>
                  <a:pt x="4293795" y="3480613"/>
                </a:cubicBezTo>
                <a:cubicBezTo>
                  <a:pt x="4290442" y="3489683"/>
                  <a:pt x="4291971" y="3499914"/>
                  <a:pt x="4300183" y="3523346"/>
                </a:cubicBezTo>
                <a:cubicBezTo>
                  <a:pt x="4306120" y="3540290"/>
                  <a:pt x="4310987" y="3560395"/>
                  <a:pt x="4310997" y="3568024"/>
                </a:cubicBezTo>
                <a:cubicBezTo>
                  <a:pt x="4311006" y="3575652"/>
                  <a:pt x="4313015" y="3583684"/>
                  <a:pt x="4315459" y="3585871"/>
                </a:cubicBezTo>
                <a:cubicBezTo>
                  <a:pt x="4322971" y="3592592"/>
                  <a:pt x="4315546" y="3601634"/>
                  <a:pt x="4302514" y="3601634"/>
                </a:cubicBezTo>
                <a:cubicBezTo>
                  <a:pt x="4288527" y="3601634"/>
                  <a:pt x="4275275" y="3578803"/>
                  <a:pt x="4271659" y="3548478"/>
                </a:cubicBezTo>
                <a:cubicBezTo>
                  <a:pt x="4269223" y="3528055"/>
                  <a:pt x="4254451" y="3510564"/>
                  <a:pt x="4251054" y="3524081"/>
                </a:cubicBezTo>
                <a:cubicBezTo>
                  <a:pt x="4247155" y="3539593"/>
                  <a:pt x="4236675" y="3532372"/>
                  <a:pt x="4236675" y="3514175"/>
                </a:cubicBezTo>
                <a:cubicBezTo>
                  <a:pt x="4236675" y="3500042"/>
                  <a:pt x="4233508" y="3494168"/>
                  <a:pt x="4221370" y="3485789"/>
                </a:cubicBezTo>
                <a:cubicBezTo>
                  <a:pt x="4212952" y="3479977"/>
                  <a:pt x="4206065" y="3471169"/>
                  <a:pt x="4206065" y="3466216"/>
                </a:cubicBezTo>
                <a:cubicBezTo>
                  <a:pt x="4206065" y="3460319"/>
                  <a:pt x="4203038" y="3458355"/>
                  <a:pt x="4197295" y="3460530"/>
                </a:cubicBezTo>
                <a:cubicBezTo>
                  <a:pt x="4192472" y="3462356"/>
                  <a:pt x="4185586" y="3460316"/>
                  <a:pt x="4181991" y="3455997"/>
                </a:cubicBezTo>
                <a:cubicBezTo>
                  <a:pt x="4176441" y="3449329"/>
                  <a:pt x="4175454" y="3450970"/>
                  <a:pt x="4175454" y="3466856"/>
                </a:cubicBezTo>
                <a:cubicBezTo>
                  <a:pt x="4175454" y="3491796"/>
                  <a:pt x="4172119" y="3495286"/>
                  <a:pt x="4159615" y="3483426"/>
                </a:cubicBezTo>
                <a:cubicBezTo>
                  <a:pt x="4151211" y="3475452"/>
                  <a:pt x="4145688" y="3474774"/>
                  <a:pt x="4131533" y="3479975"/>
                </a:cubicBezTo>
                <a:cubicBezTo>
                  <a:pt x="4114648" y="3486180"/>
                  <a:pt x="4114037" y="3485884"/>
                  <a:pt x="4116891" y="3472870"/>
                </a:cubicBezTo>
                <a:cubicBezTo>
                  <a:pt x="4119527" y="3460840"/>
                  <a:pt x="4119047" y="3460276"/>
                  <a:pt x="4112678" y="3467929"/>
                </a:cubicBezTo>
                <a:cubicBezTo>
                  <a:pt x="4104758" y="3477444"/>
                  <a:pt x="4102969" y="3494010"/>
                  <a:pt x="4109861" y="3494010"/>
                </a:cubicBezTo>
                <a:cubicBezTo>
                  <a:pt x="4116533" y="3494010"/>
                  <a:pt x="4115068" y="3523551"/>
                  <a:pt x="4107881" y="3533957"/>
                </a:cubicBezTo>
                <a:cubicBezTo>
                  <a:pt x="4100407" y="3544778"/>
                  <a:pt x="4102028" y="3595604"/>
                  <a:pt x="4111751" y="3655281"/>
                </a:cubicBezTo>
                <a:cubicBezTo>
                  <a:pt x="4115140" y="3676081"/>
                  <a:pt x="4116973" y="3695300"/>
                  <a:pt x="4115825" y="3697990"/>
                </a:cubicBezTo>
                <a:cubicBezTo>
                  <a:pt x="4114676" y="3700681"/>
                  <a:pt x="4107924" y="3698531"/>
                  <a:pt x="4100821" y="3693212"/>
                </a:cubicBezTo>
                <a:cubicBezTo>
                  <a:pt x="4091076" y="3685916"/>
                  <a:pt x="4088184" y="3685533"/>
                  <a:pt x="4089044" y="3691653"/>
                </a:cubicBezTo>
                <a:cubicBezTo>
                  <a:pt x="4089670" y="3696113"/>
                  <a:pt x="4086739" y="3699367"/>
                  <a:pt x="4082530" y="3698884"/>
                </a:cubicBezTo>
                <a:cubicBezTo>
                  <a:pt x="4073802" y="3697881"/>
                  <a:pt x="4072115" y="3706871"/>
                  <a:pt x="4080291" y="3710817"/>
                </a:cubicBezTo>
                <a:cubicBezTo>
                  <a:pt x="4084569" y="3712881"/>
                  <a:pt x="4084588" y="3716981"/>
                  <a:pt x="4080385" y="3730337"/>
                </a:cubicBezTo>
                <a:cubicBezTo>
                  <a:pt x="4073328" y="3752763"/>
                  <a:pt x="4066131" y="3751823"/>
                  <a:pt x="4066131" y="3728475"/>
                </a:cubicBezTo>
                <a:cubicBezTo>
                  <a:pt x="4066131" y="3716097"/>
                  <a:pt x="4063111" y="3707364"/>
                  <a:pt x="4057262" y="3702834"/>
                </a:cubicBezTo>
                <a:cubicBezTo>
                  <a:pt x="4052386" y="3699054"/>
                  <a:pt x="4049550" y="3693256"/>
                  <a:pt x="4050961" y="3689949"/>
                </a:cubicBezTo>
                <a:cubicBezTo>
                  <a:pt x="4052374" y="3686641"/>
                  <a:pt x="4051925" y="3683935"/>
                  <a:pt x="4049965" y="3683935"/>
                </a:cubicBezTo>
                <a:cubicBezTo>
                  <a:pt x="4048005" y="3683935"/>
                  <a:pt x="4043619" y="3674838"/>
                  <a:pt x="4040220" y="3663718"/>
                </a:cubicBezTo>
                <a:cubicBezTo>
                  <a:pt x="4035659" y="3648798"/>
                  <a:pt x="4035379" y="3642854"/>
                  <a:pt x="4039152" y="3641032"/>
                </a:cubicBezTo>
                <a:cubicBezTo>
                  <a:pt x="4047499" y="3637004"/>
                  <a:pt x="4045039" y="3623665"/>
                  <a:pt x="4032349" y="3604142"/>
                </a:cubicBezTo>
                <a:cubicBezTo>
                  <a:pt x="4025795" y="3594058"/>
                  <a:pt x="4020937" y="3583403"/>
                  <a:pt x="4021554" y="3580466"/>
                </a:cubicBezTo>
                <a:cubicBezTo>
                  <a:pt x="4022171" y="3577528"/>
                  <a:pt x="4020172" y="3576331"/>
                  <a:pt x="4017114" y="3577808"/>
                </a:cubicBezTo>
                <a:cubicBezTo>
                  <a:pt x="4014056" y="3579284"/>
                  <a:pt x="4009389" y="3591658"/>
                  <a:pt x="4006744" y="3605307"/>
                </a:cubicBezTo>
                <a:cubicBezTo>
                  <a:pt x="4004099" y="3618956"/>
                  <a:pt x="3999454" y="3630123"/>
                  <a:pt x="3996422" y="3630123"/>
                </a:cubicBezTo>
                <a:cubicBezTo>
                  <a:pt x="3990802" y="3630123"/>
                  <a:pt x="3981850" y="3596880"/>
                  <a:pt x="3976929" y="3557734"/>
                </a:cubicBezTo>
                <a:cubicBezTo>
                  <a:pt x="3975426" y="3545775"/>
                  <a:pt x="3970962" y="3530818"/>
                  <a:pt x="3967010" y="3524497"/>
                </a:cubicBezTo>
                <a:cubicBezTo>
                  <a:pt x="3958306" y="3510570"/>
                  <a:pt x="3940001" y="3509385"/>
                  <a:pt x="3936518" y="3522521"/>
                </a:cubicBezTo>
                <a:cubicBezTo>
                  <a:pt x="3933561" y="3533681"/>
                  <a:pt x="3950462" y="3588973"/>
                  <a:pt x="3956830" y="3588973"/>
                </a:cubicBezTo>
                <a:cubicBezTo>
                  <a:pt x="3959223" y="3588973"/>
                  <a:pt x="3961181" y="3595657"/>
                  <a:pt x="3961181" y="3603827"/>
                </a:cubicBezTo>
                <a:cubicBezTo>
                  <a:pt x="3961181" y="3619866"/>
                  <a:pt x="3973035" y="3658612"/>
                  <a:pt x="3977941" y="3658612"/>
                </a:cubicBezTo>
                <a:cubicBezTo>
                  <a:pt x="3985899" y="3658612"/>
                  <a:pt x="3992240" y="3686672"/>
                  <a:pt x="3989531" y="3709893"/>
                </a:cubicBezTo>
                <a:cubicBezTo>
                  <a:pt x="3986582" y="3735163"/>
                  <a:pt x="3978673" y="3744302"/>
                  <a:pt x="3978673" y="3722438"/>
                </a:cubicBezTo>
                <a:cubicBezTo>
                  <a:pt x="3978673" y="3700687"/>
                  <a:pt x="3973564" y="3690266"/>
                  <a:pt x="3962900" y="3690266"/>
                </a:cubicBezTo>
                <a:cubicBezTo>
                  <a:pt x="3957144" y="3690266"/>
                  <a:pt x="3952435" y="3687472"/>
                  <a:pt x="3952435" y="3684056"/>
                </a:cubicBezTo>
                <a:cubicBezTo>
                  <a:pt x="3952435" y="3680641"/>
                  <a:pt x="3947777" y="3676154"/>
                  <a:pt x="3942083" y="3674084"/>
                </a:cubicBezTo>
                <a:cubicBezTo>
                  <a:pt x="3934704" y="3671403"/>
                  <a:pt x="3928399" y="3674792"/>
                  <a:pt x="3920131" y="3685884"/>
                </a:cubicBezTo>
                <a:cubicBezTo>
                  <a:pt x="3909683" y="3699904"/>
                  <a:pt x="3909042" y="3703246"/>
                  <a:pt x="3913664" y="3719597"/>
                </a:cubicBezTo>
                <a:cubicBezTo>
                  <a:pt x="3916487" y="3729580"/>
                  <a:pt x="3919379" y="3740597"/>
                  <a:pt x="3920091" y="3744079"/>
                </a:cubicBezTo>
                <a:cubicBezTo>
                  <a:pt x="3920802" y="3747560"/>
                  <a:pt x="3922697" y="3756820"/>
                  <a:pt x="3924301" y="3764654"/>
                </a:cubicBezTo>
                <a:cubicBezTo>
                  <a:pt x="3926643" y="3776090"/>
                  <a:pt x="3925490" y="3778898"/>
                  <a:pt x="3918458" y="3778898"/>
                </a:cubicBezTo>
                <a:cubicBezTo>
                  <a:pt x="3911412" y="3778898"/>
                  <a:pt x="3909114" y="3773252"/>
                  <a:pt x="3906709" y="3750028"/>
                </a:cubicBezTo>
                <a:cubicBezTo>
                  <a:pt x="3904118" y="3725019"/>
                  <a:pt x="3902442" y="3721419"/>
                  <a:pt x="3894186" y="3723122"/>
                </a:cubicBezTo>
                <a:cubicBezTo>
                  <a:pt x="3888079" y="3724380"/>
                  <a:pt x="3884139" y="3730344"/>
                  <a:pt x="3883222" y="3739717"/>
                </a:cubicBezTo>
                <a:cubicBezTo>
                  <a:pt x="3882435" y="3747765"/>
                  <a:pt x="3879004" y="3755896"/>
                  <a:pt x="3875601" y="3757787"/>
                </a:cubicBezTo>
                <a:cubicBezTo>
                  <a:pt x="3871514" y="3760058"/>
                  <a:pt x="3870305" y="3766378"/>
                  <a:pt x="3872041" y="3776393"/>
                </a:cubicBezTo>
                <a:cubicBezTo>
                  <a:pt x="3874722" y="3791853"/>
                  <a:pt x="3867240" y="3798390"/>
                  <a:pt x="3863739" y="3783647"/>
                </a:cubicBezTo>
                <a:cubicBezTo>
                  <a:pt x="3862704" y="3779294"/>
                  <a:pt x="3862320" y="3780006"/>
                  <a:pt x="3862885" y="3785229"/>
                </a:cubicBezTo>
                <a:cubicBezTo>
                  <a:pt x="3865164" y="3806327"/>
                  <a:pt x="3867477" y="3814146"/>
                  <a:pt x="3874122" y="3823214"/>
                </a:cubicBezTo>
                <a:cubicBezTo>
                  <a:pt x="3881165" y="3832827"/>
                  <a:pt x="3889126" y="3899185"/>
                  <a:pt x="3883234" y="3899185"/>
                </a:cubicBezTo>
                <a:cubicBezTo>
                  <a:pt x="3875651" y="3899185"/>
                  <a:pt x="3865380" y="3872580"/>
                  <a:pt x="3862599" y="3845738"/>
                </a:cubicBezTo>
                <a:cubicBezTo>
                  <a:pt x="3860945" y="3829762"/>
                  <a:pt x="3857211" y="3814599"/>
                  <a:pt x="3854301" y="3812039"/>
                </a:cubicBezTo>
                <a:cubicBezTo>
                  <a:pt x="3851392" y="3809480"/>
                  <a:pt x="3847730" y="3802337"/>
                  <a:pt x="3846160" y="3796165"/>
                </a:cubicBezTo>
                <a:cubicBezTo>
                  <a:pt x="3839709" y="3770764"/>
                  <a:pt x="3813703" y="3779786"/>
                  <a:pt x="3819335" y="3805472"/>
                </a:cubicBezTo>
                <a:cubicBezTo>
                  <a:pt x="3821147" y="3813738"/>
                  <a:pt x="3818322" y="3822521"/>
                  <a:pt x="3810462" y="3833067"/>
                </a:cubicBezTo>
                <a:cubicBezTo>
                  <a:pt x="3795842" y="3852685"/>
                  <a:pt x="3792272" y="3852500"/>
                  <a:pt x="3788709" y="3831946"/>
                </a:cubicBezTo>
                <a:cubicBezTo>
                  <a:pt x="3785389" y="3812796"/>
                  <a:pt x="3776330" y="3797899"/>
                  <a:pt x="3767992" y="3797873"/>
                </a:cubicBezTo>
                <a:cubicBezTo>
                  <a:pt x="3761233" y="3797854"/>
                  <a:pt x="3744123" y="3762433"/>
                  <a:pt x="3746015" y="3752380"/>
                </a:cubicBezTo>
                <a:cubicBezTo>
                  <a:pt x="3747342" y="3745323"/>
                  <a:pt x="3717953" y="3702928"/>
                  <a:pt x="3711733" y="3702928"/>
                </a:cubicBezTo>
                <a:cubicBezTo>
                  <a:pt x="3709826" y="3702928"/>
                  <a:pt x="3705154" y="3704657"/>
                  <a:pt x="3701350" y="3706771"/>
                </a:cubicBezTo>
                <a:cubicBezTo>
                  <a:pt x="3693795" y="3710968"/>
                  <a:pt x="3691748" y="3728251"/>
                  <a:pt x="3698806" y="3728251"/>
                </a:cubicBezTo>
                <a:cubicBezTo>
                  <a:pt x="3701211" y="3728251"/>
                  <a:pt x="3703179" y="3736798"/>
                  <a:pt x="3703179" y="3747244"/>
                </a:cubicBezTo>
                <a:cubicBezTo>
                  <a:pt x="3703179" y="3757690"/>
                  <a:pt x="3705146" y="3766237"/>
                  <a:pt x="3707552" y="3766237"/>
                </a:cubicBezTo>
                <a:cubicBezTo>
                  <a:pt x="3709957" y="3766237"/>
                  <a:pt x="3711925" y="3770678"/>
                  <a:pt x="3711925" y="3776107"/>
                </a:cubicBezTo>
                <a:cubicBezTo>
                  <a:pt x="3711925" y="3781535"/>
                  <a:pt x="3713898" y="3784211"/>
                  <a:pt x="3716310" y="3782052"/>
                </a:cubicBezTo>
                <a:cubicBezTo>
                  <a:pt x="3718931" y="3779707"/>
                  <a:pt x="3719941" y="3784017"/>
                  <a:pt x="3718822" y="3792758"/>
                </a:cubicBezTo>
                <a:cubicBezTo>
                  <a:pt x="3717790" y="3800803"/>
                  <a:pt x="3716800" y="3810948"/>
                  <a:pt x="3716622" y="3815301"/>
                </a:cubicBezTo>
                <a:cubicBezTo>
                  <a:pt x="3716443" y="3819653"/>
                  <a:pt x="3713017" y="3823214"/>
                  <a:pt x="3709009" y="3823214"/>
                </a:cubicBezTo>
                <a:cubicBezTo>
                  <a:pt x="3705001" y="3823214"/>
                  <a:pt x="3703040" y="3825124"/>
                  <a:pt x="3704652" y="3827457"/>
                </a:cubicBezTo>
                <a:cubicBezTo>
                  <a:pt x="3706263" y="3829790"/>
                  <a:pt x="3704599" y="3838290"/>
                  <a:pt x="3700954" y="3846344"/>
                </a:cubicBezTo>
                <a:cubicBezTo>
                  <a:pt x="3697308" y="3854399"/>
                  <a:pt x="3692816" y="3871511"/>
                  <a:pt x="3690971" y="3884370"/>
                </a:cubicBezTo>
                <a:cubicBezTo>
                  <a:pt x="3686870" y="3912945"/>
                  <a:pt x="3678481" y="3918531"/>
                  <a:pt x="3672702" y="3896534"/>
                </a:cubicBezTo>
                <a:cubicBezTo>
                  <a:pt x="3670343" y="3887546"/>
                  <a:pt x="3666625" y="3880192"/>
                  <a:pt x="3664440" y="3880192"/>
                </a:cubicBezTo>
                <a:cubicBezTo>
                  <a:pt x="3662255" y="3880192"/>
                  <a:pt x="3659099" y="3861675"/>
                  <a:pt x="3657424" y="3839042"/>
                </a:cubicBezTo>
                <a:cubicBezTo>
                  <a:pt x="3655749" y="3816409"/>
                  <a:pt x="3652569" y="3797891"/>
                  <a:pt x="3650356" y="3797891"/>
                </a:cubicBezTo>
                <a:cubicBezTo>
                  <a:pt x="3648141" y="3797891"/>
                  <a:pt x="3646331" y="3789841"/>
                  <a:pt x="3646331" y="3780002"/>
                </a:cubicBezTo>
                <a:cubicBezTo>
                  <a:pt x="3646331" y="3769489"/>
                  <a:pt x="3642158" y="3756438"/>
                  <a:pt x="3636210" y="3748347"/>
                </a:cubicBezTo>
                <a:cubicBezTo>
                  <a:pt x="3625768" y="3734148"/>
                  <a:pt x="3617509" y="3729740"/>
                  <a:pt x="3622279" y="3740913"/>
                </a:cubicBezTo>
                <a:cubicBezTo>
                  <a:pt x="3623765" y="3744395"/>
                  <a:pt x="3622898" y="3747244"/>
                  <a:pt x="3620351" y="3747244"/>
                </a:cubicBezTo>
                <a:cubicBezTo>
                  <a:pt x="3617803" y="3747244"/>
                  <a:pt x="3615720" y="3743784"/>
                  <a:pt x="3615720" y="3739557"/>
                </a:cubicBezTo>
                <a:cubicBezTo>
                  <a:pt x="3615720" y="3734292"/>
                  <a:pt x="3613677" y="3734828"/>
                  <a:pt x="3609235" y="3741257"/>
                </a:cubicBezTo>
                <a:cubicBezTo>
                  <a:pt x="3600172" y="3754379"/>
                  <a:pt x="3598396" y="3868396"/>
                  <a:pt x="3607022" y="3883441"/>
                </a:cubicBezTo>
                <a:cubicBezTo>
                  <a:pt x="3610343" y="3889233"/>
                  <a:pt x="3616619" y="3908678"/>
                  <a:pt x="3620970" y="3926650"/>
                </a:cubicBezTo>
                <a:cubicBezTo>
                  <a:pt x="3625320" y="3944623"/>
                  <a:pt x="3631822" y="3962491"/>
                  <a:pt x="3635418" y="3966357"/>
                </a:cubicBezTo>
                <a:cubicBezTo>
                  <a:pt x="3639015" y="3970222"/>
                  <a:pt x="3641958" y="3977641"/>
                  <a:pt x="3641958" y="3982842"/>
                </a:cubicBezTo>
                <a:cubicBezTo>
                  <a:pt x="3641958" y="3988043"/>
                  <a:pt x="3647035" y="4000231"/>
                  <a:pt x="3653242" y="4009926"/>
                </a:cubicBezTo>
                <a:cubicBezTo>
                  <a:pt x="3661280" y="4022483"/>
                  <a:pt x="3663686" y="4031399"/>
                  <a:pt x="3661604" y="4040922"/>
                </a:cubicBezTo>
                <a:cubicBezTo>
                  <a:pt x="3655493" y="4068883"/>
                  <a:pt x="3657180" y="4079123"/>
                  <a:pt x="3669309" y="4087671"/>
                </a:cubicBezTo>
                <a:cubicBezTo>
                  <a:pt x="3679320" y="4094727"/>
                  <a:pt x="3680875" y="4098933"/>
                  <a:pt x="3678511" y="4112573"/>
                </a:cubicBezTo>
                <a:cubicBezTo>
                  <a:pt x="3676264" y="4125528"/>
                  <a:pt x="3676951" y="4127890"/>
                  <a:pt x="3681769" y="4123786"/>
                </a:cubicBezTo>
                <a:cubicBezTo>
                  <a:pt x="3685629" y="4120499"/>
                  <a:pt x="3685184" y="4123062"/>
                  <a:pt x="3680561" y="4130756"/>
                </a:cubicBezTo>
                <a:cubicBezTo>
                  <a:pt x="3674333" y="4141118"/>
                  <a:pt x="3673955" y="4147383"/>
                  <a:pt x="3678018" y="4172994"/>
                </a:cubicBezTo>
                <a:cubicBezTo>
                  <a:pt x="3680640" y="4189533"/>
                  <a:pt x="3684423" y="4203066"/>
                  <a:pt x="3686423" y="4203066"/>
                </a:cubicBezTo>
                <a:cubicBezTo>
                  <a:pt x="3690559" y="4203066"/>
                  <a:pt x="3691434" y="4236952"/>
                  <a:pt x="3687445" y="4242725"/>
                </a:cubicBezTo>
                <a:cubicBezTo>
                  <a:pt x="3683663" y="4248200"/>
                  <a:pt x="3672199" y="4240707"/>
                  <a:pt x="3674851" y="4234494"/>
                </a:cubicBezTo>
                <a:cubicBezTo>
                  <a:pt x="3676079" y="4231618"/>
                  <a:pt x="3675083" y="4227475"/>
                  <a:pt x="3672639" y="4225288"/>
                </a:cubicBezTo>
                <a:cubicBezTo>
                  <a:pt x="3670195" y="4223101"/>
                  <a:pt x="3668195" y="4216130"/>
                  <a:pt x="3668195" y="4209798"/>
                </a:cubicBezTo>
                <a:cubicBezTo>
                  <a:pt x="3668195" y="4203466"/>
                  <a:pt x="3665244" y="4194739"/>
                  <a:pt x="3661635" y="4190404"/>
                </a:cubicBezTo>
                <a:cubicBezTo>
                  <a:pt x="3658027" y="4186069"/>
                  <a:pt x="3655077" y="4174325"/>
                  <a:pt x="3655077" y="4164306"/>
                </a:cubicBezTo>
                <a:cubicBezTo>
                  <a:pt x="3655077" y="4154286"/>
                  <a:pt x="3653109" y="4146088"/>
                  <a:pt x="3650704" y="4146088"/>
                </a:cubicBezTo>
                <a:cubicBezTo>
                  <a:pt x="3648298" y="4146088"/>
                  <a:pt x="3646331" y="4137891"/>
                  <a:pt x="3646331" y="4127870"/>
                </a:cubicBezTo>
                <a:cubicBezTo>
                  <a:pt x="3646331" y="4117851"/>
                  <a:pt x="3643578" y="4106346"/>
                  <a:pt x="3640215" y="4102305"/>
                </a:cubicBezTo>
                <a:cubicBezTo>
                  <a:pt x="3634809" y="4095810"/>
                  <a:pt x="3629407" y="4062547"/>
                  <a:pt x="3628573" y="4030629"/>
                </a:cubicBezTo>
                <a:cubicBezTo>
                  <a:pt x="3628416" y="4024579"/>
                  <a:pt x="3624261" y="4015548"/>
                  <a:pt x="3619343" y="4010560"/>
                </a:cubicBezTo>
                <a:cubicBezTo>
                  <a:pt x="3614423" y="4005572"/>
                  <a:pt x="3611608" y="3998657"/>
                  <a:pt x="3613087" y="3995194"/>
                </a:cubicBezTo>
                <a:cubicBezTo>
                  <a:pt x="3614564" y="3991731"/>
                  <a:pt x="3613916" y="3987943"/>
                  <a:pt x="3611643" y="3986775"/>
                </a:cubicBezTo>
                <a:cubicBezTo>
                  <a:pt x="3609371" y="3985607"/>
                  <a:pt x="3606848" y="3977529"/>
                  <a:pt x="3606039" y="3968824"/>
                </a:cubicBezTo>
                <a:cubicBezTo>
                  <a:pt x="3603957" y="3946450"/>
                  <a:pt x="3599028" y="3937170"/>
                  <a:pt x="3589225" y="3937170"/>
                </a:cubicBezTo>
                <a:cubicBezTo>
                  <a:pt x="3583738" y="3937170"/>
                  <a:pt x="3580737" y="3932825"/>
                  <a:pt x="3580737" y="3924882"/>
                </a:cubicBezTo>
                <a:cubicBezTo>
                  <a:pt x="3580737" y="3918123"/>
                  <a:pt x="3579023" y="3911061"/>
                  <a:pt x="3576929" y="3909186"/>
                </a:cubicBezTo>
                <a:cubicBezTo>
                  <a:pt x="3574833" y="3907312"/>
                  <a:pt x="3571988" y="3897885"/>
                  <a:pt x="3570603" y="3888238"/>
                </a:cubicBezTo>
                <a:cubicBezTo>
                  <a:pt x="3569192" y="3878392"/>
                  <a:pt x="3562322" y="3865208"/>
                  <a:pt x="3554944" y="3858187"/>
                </a:cubicBezTo>
                <a:cubicBezTo>
                  <a:pt x="3535458" y="3839642"/>
                  <a:pt x="3529333" y="3819997"/>
                  <a:pt x="3538478" y="3805368"/>
                </a:cubicBezTo>
                <a:cubicBezTo>
                  <a:pt x="3548320" y="3789621"/>
                  <a:pt x="3547733" y="3784929"/>
                  <a:pt x="3533727" y="3767505"/>
                </a:cubicBezTo>
                <a:cubicBezTo>
                  <a:pt x="3523284" y="3754512"/>
                  <a:pt x="3521825" y="3748412"/>
                  <a:pt x="3522632" y="3721158"/>
                </a:cubicBezTo>
                <a:cubicBezTo>
                  <a:pt x="3523455" y="3693358"/>
                  <a:pt x="3522378" y="3689122"/>
                  <a:pt x="3513197" y="3684068"/>
                </a:cubicBezTo>
                <a:cubicBezTo>
                  <a:pt x="3506658" y="3680469"/>
                  <a:pt x="3501749" y="3671213"/>
                  <a:pt x="3499894" y="3658986"/>
                </a:cubicBezTo>
                <a:cubicBezTo>
                  <a:pt x="3496854" y="3638944"/>
                  <a:pt x="3482669" y="3628111"/>
                  <a:pt x="3469237" y="3635573"/>
                </a:cubicBezTo>
                <a:cubicBezTo>
                  <a:pt x="3461766" y="3639723"/>
                  <a:pt x="3460014" y="3680814"/>
                  <a:pt x="3467041" y="3687101"/>
                </a:cubicBezTo>
                <a:cubicBezTo>
                  <a:pt x="3469446" y="3689253"/>
                  <a:pt x="3471414" y="3697826"/>
                  <a:pt x="3471414" y="3706153"/>
                </a:cubicBezTo>
                <a:cubicBezTo>
                  <a:pt x="3471414" y="3714479"/>
                  <a:pt x="3473914" y="3723570"/>
                  <a:pt x="3476971" y="3726354"/>
                </a:cubicBezTo>
                <a:cubicBezTo>
                  <a:pt x="3484344" y="3733069"/>
                  <a:pt x="3494051" y="3765634"/>
                  <a:pt x="3490888" y="3773042"/>
                </a:cubicBezTo>
                <a:cubicBezTo>
                  <a:pt x="3489514" y="3776263"/>
                  <a:pt x="3490473" y="3778898"/>
                  <a:pt x="3493020" y="3778898"/>
                </a:cubicBezTo>
                <a:cubicBezTo>
                  <a:pt x="3495567" y="3778898"/>
                  <a:pt x="3497651" y="3785672"/>
                  <a:pt x="3497651" y="3793950"/>
                </a:cubicBezTo>
                <a:cubicBezTo>
                  <a:pt x="3497651" y="3802229"/>
                  <a:pt x="3500753" y="3812729"/>
                  <a:pt x="3504545" y="3817285"/>
                </a:cubicBezTo>
                <a:cubicBezTo>
                  <a:pt x="3509560" y="3823311"/>
                  <a:pt x="3510707" y="3831717"/>
                  <a:pt x="3508755" y="3848132"/>
                </a:cubicBezTo>
                <a:cubicBezTo>
                  <a:pt x="3506803" y="3864551"/>
                  <a:pt x="3507290" y="3868110"/>
                  <a:pt x="3510540" y="3861199"/>
                </a:cubicBezTo>
                <a:cubicBezTo>
                  <a:pt x="3514556" y="3852664"/>
                  <a:pt x="3517037" y="3856496"/>
                  <a:pt x="3515661" y="3869113"/>
                </a:cubicBezTo>
                <a:cubicBezTo>
                  <a:pt x="3515376" y="3871725"/>
                  <a:pt x="3517110" y="3873861"/>
                  <a:pt x="3519516" y="3873861"/>
                </a:cubicBezTo>
                <a:cubicBezTo>
                  <a:pt x="3521921" y="3873861"/>
                  <a:pt x="3523889" y="3878254"/>
                  <a:pt x="3523889" y="3883622"/>
                </a:cubicBezTo>
                <a:cubicBezTo>
                  <a:pt x="3523889" y="3888991"/>
                  <a:pt x="3527726" y="3899347"/>
                  <a:pt x="3532417" y="3906635"/>
                </a:cubicBezTo>
                <a:cubicBezTo>
                  <a:pt x="3537108" y="3913925"/>
                  <a:pt x="3542129" y="3928762"/>
                  <a:pt x="3543578" y="3939608"/>
                </a:cubicBezTo>
                <a:cubicBezTo>
                  <a:pt x="3550438" y="3991000"/>
                  <a:pt x="3561569" y="4033585"/>
                  <a:pt x="3572787" y="4051368"/>
                </a:cubicBezTo>
                <a:cubicBezTo>
                  <a:pt x="3579565" y="4062111"/>
                  <a:pt x="3585110" y="4076421"/>
                  <a:pt x="3585110" y="4083170"/>
                </a:cubicBezTo>
                <a:cubicBezTo>
                  <a:pt x="3585110" y="4089919"/>
                  <a:pt x="3586586" y="4095464"/>
                  <a:pt x="3588390" y="4095491"/>
                </a:cubicBezTo>
                <a:cubicBezTo>
                  <a:pt x="3593117" y="4095562"/>
                  <a:pt x="3602793" y="4127855"/>
                  <a:pt x="3600027" y="4134333"/>
                </a:cubicBezTo>
                <a:cubicBezTo>
                  <a:pt x="3595593" y="4144721"/>
                  <a:pt x="3580737" y="4126788"/>
                  <a:pt x="3580737" y="4111046"/>
                </a:cubicBezTo>
                <a:cubicBezTo>
                  <a:pt x="3580737" y="4102463"/>
                  <a:pt x="3578988" y="4095441"/>
                  <a:pt x="3576851" y="4095441"/>
                </a:cubicBezTo>
                <a:cubicBezTo>
                  <a:pt x="3574712" y="4095441"/>
                  <a:pt x="3571710" y="4085756"/>
                  <a:pt x="3570176" y="4073920"/>
                </a:cubicBezTo>
                <a:cubicBezTo>
                  <a:pt x="3566607" y="4046379"/>
                  <a:pt x="3557870" y="4035867"/>
                  <a:pt x="3543030" y="4041258"/>
                </a:cubicBezTo>
                <a:cubicBezTo>
                  <a:pt x="3532038" y="4045253"/>
                  <a:pt x="3531584" y="4044483"/>
                  <a:pt x="3534118" y="4026138"/>
                </a:cubicBezTo>
                <a:cubicBezTo>
                  <a:pt x="3536130" y="4011576"/>
                  <a:pt x="3535198" y="4006809"/>
                  <a:pt x="3530338" y="4006809"/>
                </a:cubicBezTo>
                <a:cubicBezTo>
                  <a:pt x="3522512" y="4006809"/>
                  <a:pt x="3522231" y="4000008"/>
                  <a:pt x="3529155" y="3978011"/>
                </a:cubicBezTo>
                <a:cubicBezTo>
                  <a:pt x="3533632" y="3963785"/>
                  <a:pt x="3533304" y="3960374"/>
                  <a:pt x="3526968" y="3955240"/>
                </a:cubicBezTo>
                <a:cubicBezTo>
                  <a:pt x="3522869" y="3951920"/>
                  <a:pt x="3519516" y="3943344"/>
                  <a:pt x="3519516" y="3936183"/>
                </a:cubicBezTo>
                <a:cubicBezTo>
                  <a:pt x="3519516" y="3929024"/>
                  <a:pt x="3514596" y="3917563"/>
                  <a:pt x="3508583" y="3910715"/>
                </a:cubicBezTo>
                <a:cubicBezTo>
                  <a:pt x="3502570" y="3903868"/>
                  <a:pt x="3497651" y="3894641"/>
                  <a:pt x="3497651" y="3890210"/>
                </a:cubicBezTo>
                <a:cubicBezTo>
                  <a:pt x="3497651" y="3878020"/>
                  <a:pt x="3482873" y="3861199"/>
                  <a:pt x="3472162" y="3861199"/>
                </a:cubicBezTo>
                <a:cubicBezTo>
                  <a:pt x="3465679" y="3861199"/>
                  <a:pt x="3462668" y="3857303"/>
                  <a:pt x="3462668" y="3848911"/>
                </a:cubicBezTo>
                <a:cubicBezTo>
                  <a:pt x="3462668" y="3842153"/>
                  <a:pt x="3460700" y="3834862"/>
                  <a:pt x="3458295" y="3832711"/>
                </a:cubicBezTo>
                <a:cubicBezTo>
                  <a:pt x="3455889" y="3830559"/>
                  <a:pt x="3453922" y="3822414"/>
                  <a:pt x="3453922" y="3814611"/>
                </a:cubicBezTo>
                <a:cubicBezTo>
                  <a:pt x="3453922" y="3806808"/>
                  <a:pt x="3452191" y="3797717"/>
                  <a:pt x="3450078" y="3794409"/>
                </a:cubicBezTo>
                <a:cubicBezTo>
                  <a:pt x="3447963" y="3791101"/>
                  <a:pt x="3443875" y="3777711"/>
                  <a:pt x="3440992" y="3764654"/>
                </a:cubicBezTo>
                <a:cubicBezTo>
                  <a:pt x="3438110" y="3751597"/>
                  <a:pt x="3433937" y="3740913"/>
                  <a:pt x="3431719" y="3740913"/>
                </a:cubicBezTo>
                <a:cubicBezTo>
                  <a:pt x="3429500" y="3740913"/>
                  <a:pt x="3427684" y="3734140"/>
                  <a:pt x="3427684" y="3725861"/>
                </a:cubicBezTo>
                <a:cubicBezTo>
                  <a:pt x="3427684" y="3717583"/>
                  <a:pt x="3424364" y="3706899"/>
                  <a:pt x="3420306" y="3702120"/>
                </a:cubicBezTo>
                <a:cubicBezTo>
                  <a:pt x="3413761" y="3694412"/>
                  <a:pt x="3413294" y="3694839"/>
                  <a:pt x="3416164" y="3705901"/>
                </a:cubicBezTo>
                <a:cubicBezTo>
                  <a:pt x="3417944" y="3712758"/>
                  <a:pt x="3418110" y="3716502"/>
                  <a:pt x="3416533" y="3714219"/>
                </a:cubicBezTo>
                <a:cubicBezTo>
                  <a:pt x="3414956" y="3711935"/>
                  <a:pt x="3408725" y="3712788"/>
                  <a:pt x="3402685" y="3716112"/>
                </a:cubicBezTo>
                <a:cubicBezTo>
                  <a:pt x="3394139" y="3720816"/>
                  <a:pt x="3392198" y="3720288"/>
                  <a:pt x="3393935" y="3713735"/>
                </a:cubicBezTo>
                <a:cubicBezTo>
                  <a:pt x="3395162" y="3709103"/>
                  <a:pt x="3392479" y="3698366"/>
                  <a:pt x="3387971" y="3689876"/>
                </a:cubicBezTo>
                <a:cubicBezTo>
                  <a:pt x="3382841" y="3680212"/>
                  <a:pt x="3379715" y="3663786"/>
                  <a:pt x="3379613" y="3645950"/>
                </a:cubicBezTo>
                <a:cubicBezTo>
                  <a:pt x="3379417" y="3612135"/>
                  <a:pt x="3374880" y="3599578"/>
                  <a:pt x="3363957" y="3602624"/>
                </a:cubicBezTo>
                <a:cubicBezTo>
                  <a:pt x="3358653" y="3604103"/>
                  <a:pt x="3354165" y="3614495"/>
                  <a:pt x="3350698" y="3633318"/>
                </a:cubicBezTo>
                <a:cubicBezTo>
                  <a:pt x="3347816" y="3648971"/>
                  <a:pt x="3345264" y="3656792"/>
                  <a:pt x="3345028" y="3650699"/>
                </a:cubicBezTo>
                <a:cubicBezTo>
                  <a:pt x="3344440" y="3635538"/>
                  <a:pt x="3332715" y="3636676"/>
                  <a:pt x="3329305" y="3652225"/>
                </a:cubicBezTo>
                <a:cubicBezTo>
                  <a:pt x="3325712" y="3668622"/>
                  <a:pt x="3329813" y="3677605"/>
                  <a:pt x="3340893" y="3677605"/>
                </a:cubicBezTo>
                <a:cubicBezTo>
                  <a:pt x="3346112" y="3677605"/>
                  <a:pt x="3350736" y="3682839"/>
                  <a:pt x="3352077" y="3690266"/>
                </a:cubicBezTo>
                <a:cubicBezTo>
                  <a:pt x="3353336" y="3697231"/>
                  <a:pt x="3355857" y="3702928"/>
                  <a:pt x="3357681" y="3702928"/>
                </a:cubicBezTo>
                <a:cubicBezTo>
                  <a:pt x="3359504" y="3702928"/>
                  <a:pt x="3362178" y="3711475"/>
                  <a:pt x="3363620" y="3721921"/>
                </a:cubicBezTo>
                <a:cubicBezTo>
                  <a:pt x="3365160" y="3733060"/>
                  <a:pt x="3369002" y="3740913"/>
                  <a:pt x="3372913" y="3740913"/>
                </a:cubicBezTo>
                <a:cubicBezTo>
                  <a:pt x="3380073" y="3740913"/>
                  <a:pt x="3380926" y="3749508"/>
                  <a:pt x="3375688" y="3768853"/>
                </a:cubicBezTo>
                <a:cubicBezTo>
                  <a:pt x="3370945" y="3786368"/>
                  <a:pt x="3327107" y="3789068"/>
                  <a:pt x="3327107" y="3771846"/>
                </a:cubicBezTo>
                <a:cubicBezTo>
                  <a:pt x="3327107" y="3765561"/>
                  <a:pt x="3321806" y="3753303"/>
                  <a:pt x="3315329" y="3744607"/>
                </a:cubicBezTo>
                <a:cubicBezTo>
                  <a:pt x="3304846" y="3730535"/>
                  <a:pt x="3304392" y="3728327"/>
                  <a:pt x="3311207" y="3724541"/>
                </a:cubicBezTo>
                <a:cubicBezTo>
                  <a:pt x="3315417" y="3722201"/>
                  <a:pt x="3317867" y="3716526"/>
                  <a:pt x="3316649" y="3711929"/>
                </a:cubicBezTo>
                <a:cubicBezTo>
                  <a:pt x="3315240" y="3706616"/>
                  <a:pt x="3316740" y="3704855"/>
                  <a:pt x="3320770" y="3707093"/>
                </a:cubicBezTo>
                <a:cubicBezTo>
                  <a:pt x="3324708" y="3709281"/>
                  <a:pt x="3327107" y="3706703"/>
                  <a:pt x="3327107" y="3700282"/>
                </a:cubicBezTo>
                <a:cubicBezTo>
                  <a:pt x="3327107" y="3693867"/>
                  <a:pt x="3322133" y="3688510"/>
                  <a:pt x="3313988" y="3686151"/>
                </a:cubicBezTo>
                <a:cubicBezTo>
                  <a:pt x="3306772" y="3684062"/>
                  <a:pt x="3300870" y="3678824"/>
                  <a:pt x="3300870" y="3674511"/>
                </a:cubicBezTo>
                <a:cubicBezTo>
                  <a:pt x="3300870" y="3670198"/>
                  <a:pt x="3295555" y="3658976"/>
                  <a:pt x="3289059" y="3649571"/>
                </a:cubicBezTo>
                <a:cubicBezTo>
                  <a:pt x="3277057" y="3632197"/>
                  <a:pt x="3272152" y="3614296"/>
                  <a:pt x="3279392" y="3614296"/>
                </a:cubicBezTo>
                <a:cubicBezTo>
                  <a:pt x="3281584" y="3614296"/>
                  <a:pt x="3283312" y="3610735"/>
                  <a:pt x="3283232" y="3606383"/>
                </a:cubicBezTo>
                <a:cubicBezTo>
                  <a:pt x="3283152" y="3602030"/>
                  <a:pt x="3279168" y="3605283"/>
                  <a:pt x="3274377" y="3613610"/>
                </a:cubicBezTo>
                <a:cubicBezTo>
                  <a:pt x="3264430" y="3630902"/>
                  <a:pt x="3262685" y="3630064"/>
                  <a:pt x="3260548" y="3606968"/>
                </a:cubicBezTo>
                <a:cubicBezTo>
                  <a:pt x="3259704" y="3597841"/>
                  <a:pt x="3256227" y="3585072"/>
                  <a:pt x="3252822" y="3578594"/>
                </a:cubicBezTo>
                <a:cubicBezTo>
                  <a:pt x="3248580" y="3570523"/>
                  <a:pt x="3248452" y="3569150"/>
                  <a:pt x="3252417" y="3574234"/>
                </a:cubicBezTo>
                <a:cubicBezTo>
                  <a:pt x="3255601" y="3578314"/>
                  <a:pt x="3260918" y="3580146"/>
                  <a:pt x="3264232" y="3578304"/>
                </a:cubicBezTo>
                <a:cubicBezTo>
                  <a:pt x="3267951" y="3576238"/>
                  <a:pt x="3270426" y="3579458"/>
                  <a:pt x="3270698" y="3586713"/>
                </a:cubicBezTo>
                <a:cubicBezTo>
                  <a:pt x="3270940" y="3593178"/>
                  <a:pt x="3272955" y="3587243"/>
                  <a:pt x="3275175" y="3573523"/>
                </a:cubicBezTo>
                <a:cubicBezTo>
                  <a:pt x="3278336" y="3554003"/>
                  <a:pt x="3277792" y="3546520"/>
                  <a:pt x="3272678" y="3539117"/>
                </a:cubicBezTo>
                <a:cubicBezTo>
                  <a:pt x="3267122" y="3531072"/>
                  <a:pt x="3264510" y="3530922"/>
                  <a:pt x="3255231" y="3538110"/>
                </a:cubicBezTo>
                <a:cubicBezTo>
                  <a:pt x="3246422" y="3544936"/>
                  <a:pt x="3243037" y="3545025"/>
                  <a:pt x="3237667" y="3538572"/>
                </a:cubicBezTo>
                <a:cubicBezTo>
                  <a:pt x="3225463" y="3523909"/>
                  <a:pt x="3218426" y="3535666"/>
                  <a:pt x="3215276" y="3575977"/>
                </a:cubicBezTo>
                <a:cubicBezTo>
                  <a:pt x="3212800" y="3607649"/>
                  <a:pt x="3210861" y="3614296"/>
                  <a:pt x="3204100" y="3614296"/>
                </a:cubicBezTo>
                <a:cubicBezTo>
                  <a:pt x="3198994" y="3614296"/>
                  <a:pt x="3195919" y="3609800"/>
                  <a:pt x="3195919" y="3602335"/>
                </a:cubicBezTo>
                <a:cubicBezTo>
                  <a:pt x="3195919" y="3595757"/>
                  <a:pt x="3192107" y="3583650"/>
                  <a:pt x="3187447" y="3575429"/>
                </a:cubicBezTo>
                <a:cubicBezTo>
                  <a:pt x="3180562" y="3563282"/>
                  <a:pt x="3177492" y="3561790"/>
                  <a:pt x="3171048" y="3567461"/>
                </a:cubicBezTo>
                <a:cubicBezTo>
                  <a:pt x="3161705" y="3575686"/>
                  <a:pt x="3158183" y="3600182"/>
                  <a:pt x="3164938" y="3609962"/>
                </a:cubicBezTo>
                <a:cubicBezTo>
                  <a:pt x="3171801" y="3619898"/>
                  <a:pt x="3170760" y="3633289"/>
                  <a:pt x="3163122" y="3633289"/>
                </a:cubicBezTo>
                <a:cubicBezTo>
                  <a:pt x="3159514" y="3633289"/>
                  <a:pt x="3156563" y="3630442"/>
                  <a:pt x="3156563" y="3626962"/>
                </a:cubicBezTo>
                <a:cubicBezTo>
                  <a:pt x="3156563" y="3618894"/>
                  <a:pt x="3124818" y="3621686"/>
                  <a:pt x="3120606" y="3630123"/>
                </a:cubicBezTo>
                <a:cubicBezTo>
                  <a:pt x="3116868" y="3637611"/>
                  <a:pt x="3121487" y="3704672"/>
                  <a:pt x="3126056" y="3709259"/>
                </a:cubicBezTo>
                <a:cubicBezTo>
                  <a:pt x="3130096" y="3713313"/>
                  <a:pt x="3144041" y="3803333"/>
                  <a:pt x="3143221" y="3820049"/>
                </a:cubicBezTo>
                <a:cubicBezTo>
                  <a:pt x="3142879" y="3827013"/>
                  <a:pt x="3142831" y="3854789"/>
                  <a:pt x="3143117" y="3881775"/>
                </a:cubicBezTo>
                <a:cubicBezTo>
                  <a:pt x="3143628" y="3930201"/>
                  <a:pt x="3143491" y="3930839"/>
                  <a:pt x="3132608" y="3930839"/>
                </a:cubicBezTo>
                <a:cubicBezTo>
                  <a:pt x="3122920" y="3930839"/>
                  <a:pt x="3121580" y="3928147"/>
                  <a:pt x="3121580" y="3908681"/>
                </a:cubicBezTo>
                <a:cubicBezTo>
                  <a:pt x="3121580" y="3896494"/>
                  <a:pt x="3119831" y="3886523"/>
                  <a:pt x="3117693" y="3886523"/>
                </a:cubicBezTo>
                <a:cubicBezTo>
                  <a:pt x="3115555" y="3886523"/>
                  <a:pt x="3112514" y="3876552"/>
                  <a:pt x="3110936" y="3864365"/>
                </a:cubicBezTo>
                <a:cubicBezTo>
                  <a:pt x="3109357" y="3852178"/>
                  <a:pt x="3106436" y="3842207"/>
                  <a:pt x="3104446" y="3842207"/>
                </a:cubicBezTo>
                <a:cubicBezTo>
                  <a:pt x="3102456" y="3842207"/>
                  <a:pt x="3099843" y="3827371"/>
                  <a:pt x="3098639" y="3809238"/>
                </a:cubicBezTo>
                <a:cubicBezTo>
                  <a:pt x="3097436" y="3791105"/>
                  <a:pt x="3094234" y="3775198"/>
                  <a:pt x="3091524" y="3773890"/>
                </a:cubicBezTo>
                <a:cubicBezTo>
                  <a:pt x="3088687" y="3772521"/>
                  <a:pt x="3086596" y="3757124"/>
                  <a:pt x="3086596" y="3737594"/>
                </a:cubicBezTo>
                <a:cubicBezTo>
                  <a:pt x="3086596" y="3718939"/>
                  <a:pt x="3084596" y="3701886"/>
                  <a:pt x="3082151" y="3699699"/>
                </a:cubicBezTo>
                <a:cubicBezTo>
                  <a:pt x="3079708" y="3697512"/>
                  <a:pt x="3078840" y="3693070"/>
                  <a:pt x="3080224" y="3689829"/>
                </a:cubicBezTo>
                <a:cubicBezTo>
                  <a:pt x="3081607" y="3686588"/>
                  <a:pt x="3080656" y="3683935"/>
                  <a:pt x="3078108" y="3683935"/>
                </a:cubicBezTo>
                <a:cubicBezTo>
                  <a:pt x="3075477" y="3683935"/>
                  <a:pt x="3073478" y="3670496"/>
                  <a:pt x="3073478" y="3652809"/>
                </a:cubicBezTo>
                <a:cubicBezTo>
                  <a:pt x="3073478" y="3634097"/>
                  <a:pt x="3071369" y="3620664"/>
                  <a:pt x="3068189" y="3619131"/>
                </a:cubicBezTo>
                <a:cubicBezTo>
                  <a:pt x="3065282" y="3617728"/>
                  <a:pt x="3062584" y="3609655"/>
                  <a:pt x="3062193" y="3601193"/>
                </a:cubicBezTo>
                <a:cubicBezTo>
                  <a:pt x="3061803" y="3592731"/>
                  <a:pt x="3060036" y="3580822"/>
                  <a:pt x="3058266" y="3574728"/>
                </a:cubicBezTo>
                <a:cubicBezTo>
                  <a:pt x="3056498" y="3568635"/>
                  <a:pt x="3056158" y="3559467"/>
                  <a:pt x="3057514" y="3554356"/>
                </a:cubicBezTo>
                <a:cubicBezTo>
                  <a:pt x="3058868" y="3549245"/>
                  <a:pt x="3058250" y="3543517"/>
                  <a:pt x="3056138" y="3541627"/>
                </a:cubicBezTo>
                <a:cubicBezTo>
                  <a:pt x="3054026" y="3539738"/>
                  <a:pt x="3050926" y="3519628"/>
                  <a:pt x="3049247" y="3496938"/>
                </a:cubicBezTo>
                <a:cubicBezTo>
                  <a:pt x="3045966" y="3452577"/>
                  <a:pt x="3037781" y="3437032"/>
                  <a:pt x="3017705" y="3437032"/>
                </a:cubicBezTo>
                <a:cubicBezTo>
                  <a:pt x="3004148" y="3437032"/>
                  <a:pt x="3001872" y="3448804"/>
                  <a:pt x="3009991" y="3476935"/>
                </a:cubicBezTo>
                <a:cubicBezTo>
                  <a:pt x="3016478" y="3499410"/>
                  <a:pt x="3016397" y="3500341"/>
                  <a:pt x="3007942" y="3500341"/>
                </a:cubicBezTo>
                <a:cubicBezTo>
                  <a:pt x="3002380" y="3500341"/>
                  <a:pt x="2999138" y="3504536"/>
                  <a:pt x="2999138" y="3511736"/>
                </a:cubicBezTo>
                <a:cubicBezTo>
                  <a:pt x="2999138" y="3518004"/>
                  <a:pt x="2996925" y="3526335"/>
                  <a:pt x="2994221" y="3530249"/>
                </a:cubicBezTo>
                <a:cubicBezTo>
                  <a:pt x="2990581" y="3535519"/>
                  <a:pt x="2990581" y="3542668"/>
                  <a:pt x="2994221" y="3557784"/>
                </a:cubicBezTo>
                <a:cubicBezTo>
                  <a:pt x="3005745" y="3605645"/>
                  <a:pt x="2994002" y="3637728"/>
                  <a:pt x="2981646" y="3592138"/>
                </a:cubicBezTo>
                <a:cubicBezTo>
                  <a:pt x="2978343" y="3579951"/>
                  <a:pt x="2974233" y="3569980"/>
                  <a:pt x="2972514" y="3569980"/>
                </a:cubicBezTo>
                <a:cubicBezTo>
                  <a:pt x="2970793" y="3569980"/>
                  <a:pt x="2968015" y="3552882"/>
                  <a:pt x="2966340" y="3531984"/>
                </a:cubicBezTo>
                <a:cubicBezTo>
                  <a:pt x="2964664" y="3511085"/>
                  <a:pt x="2961519" y="3492400"/>
                  <a:pt x="2959351" y="3490460"/>
                </a:cubicBezTo>
                <a:cubicBezTo>
                  <a:pt x="2957183" y="3488520"/>
                  <a:pt x="2955409" y="3469018"/>
                  <a:pt x="2955409" y="3447123"/>
                </a:cubicBezTo>
                <a:cubicBezTo>
                  <a:pt x="2955409" y="3416502"/>
                  <a:pt x="2953405" y="3403971"/>
                  <a:pt x="2946728" y="3392826"/>
                </a:cubicBezTo>
                <a:cubicBezTo>
                  <a:pt x="2941102" y="3383435"/>
                  <a:pt x="2938925" y="3373276"/>
                  <a:pt x="2940541" y="3363958"/>
                </a:cubicBezTo>
                <a:cubicBezTo>
                  <a:pt x="2943882" y="3344684"/>
                  <a:pt x="2934299" y="3317725"/>
                  <a:pt x="2928518" y="3330135"/>
                </a:cubicBezTo>
                <a:cubicBezTo>
                  <a:pt x="2925129" y="3337412"/>
                  <a:pt x="2924581" y="3337288"/>
                  <a:pt x="2925305" y="3329407"/>
                </a:cubicBezTo>
                <a:cubicBezTo>
                  <a:pt x="2925785" y="3324185"/>
                  <a:pt x="2924596" y="3314638"/>
                  <a:pt x="2922663" y="3308194"/>
                </a:cubicBezTo>
                <a:cubicBezTo>
                  <a:pt x="2920387" y="3300601"/>
                  <a:pt x="2921177" y="3294662"/>
                  <a:pt x="2924908" y="3291324"/>
                </a:cubicBezTo>
                <a:cubicBezTo>
                  <a:pt x="2932964" y="3284116"/>
                  <a:pt x="2918867" y="3253437"/>
                  <a:pt x="2907500" y="3253437"/>
                </a:cubicBezTo>
                <a:cubicBezTo>
                  <a:pt x="2894479" y="3253437"/>
                  <a:pt x="2891108" y="3278834"/>
                  <a:pt x="2902377" y="3292044"/>
                </a:cubicBezTo>
                <a:cubicBezTo>
                  <a:pt x="2918941" y="3311461"/>
                  <a:pt x="2910064" y="3321581"/>
                  <a:pt x="2888666" y="3307676"/>
                </a:cubicBezTo>
                <a:cubicBezTo>
                  <a:pt x="2873988" y="3298139"/>
                  <a:pt x="2866652" y="3315701"/>
                  <a:pt x="2869372" y="3353858"/>
                </a:cubicBezTo>
                <a:cubicBezTo>
                  <a:pt x="2871207" y="3379599"/>
                  <a:pt x="2870569" y="3386379"/>
                  <a:pt x="2866824" y="3380956"/>
                </a:cubicBezTo>
                <a:cubicBezTo>
                  <a:pt x="2853092" y="3361076"/>
                  <a:pt x="2836282" y="3385189"/>
                  <a:pt x="2845843" y="3411053"/>
                </a:cubicBezTo>
                <a:cubicBezTo>
                  <a:pt x="2853035" y="3430512"/>
                  <a:pt x="2851394" y="3443363"/>
                  <a:pt x="2841712" y="3443363"/>
                </a:cubicBezTo>
                <a:cubicBezTo>
                  <a:pt x="2836902" y="3443363"/>
                  <a:pt x="2832967" y="3439439"/>
                  <a:pt x="2832967" y="3434642"/>
                </a:cubicBezTo>
                <a:cubicBezTo>
                  <a:pt x="2832967" y="3429845"/>
                  <a:pt x="2829865" y="3422194"/>
                  <a:pt x="2826073" y="3417638"/>
                </a:cubicBezTo>
                <a:cubicBezTo>
                  <a:pt x="2821062" y="3411617"/>
                  <a:pt x="2819944" y="3403452"/>
                  <a:pt x="2821980" y="3387738"/>
                </a:cubicBezTo>
                <a:cubicBezTo>
                  <a:pt x="2824031" y="3371916"/>
                  <a:pt x="2822766" y="3362898"/>
                  <a:pt x="2817264" y="3354095"/>
                </a:cubicBezTo>
                <a:cubicBezTo>
                  <a:pt x="2813129" y="3347481"/>
                  <a:pt x="2811336" y="3342069"/>
                  <a:pt x="2813279" y="3342069"/>
                </a:cubicBezTo>
                <a:cubicBezTo>
                  <a:pt x="2815223" y="3342069"/>
                  <a:pt x="2812891" y="3337084"/>
                  <a:pt x="2808098" y="3330990"/>
                </a:cubicBezTo>
                <a:cubicBezTo>
                  <a:pt x="2803304" y="3324897"/>
                  <a:pt x="2798045" y="3312077"/>
                  <a:pt x="2796413" y="3302501"/>
                </a:cubicBezTo>
                <a:cubicBezTo>
                  <a:pt x="2794577" y="3291741"/>
                  <a:pt x="2790552" y="3285165"/>
                  <a:pt x="2785874" y="3285284"/>
                </a:cubicBezTo>
                <a:cubicBezTo>
                  <a:pt x="2778749" y="3285465"/>
                  <a:pt x="2778754" y="3285855"/>
                  <a:pt x="2785958" y="3291929"/>
                </a:cubicBezTo>
                <a:cubicBezTo>
                  <a:pt x="2793394" y="3298200"/>
                  <a:pt x="2796910" y="3323174"/>
                  <a:pt x="2790331" y="3322979"/>
                </a:cubicBezTo>
                <a:cubicBezTo>
                  <a:pt x="2784980" y="3322821"/>
                  <a:pt x="2777557" y="3314142"/>
                  <a:pt x="2775681" y="3305853"/>
                </a:cubicBezTo>
                <a:cubicBezTo>
                  <a:pt x="2774304" y="3299772"/>
                  <a:pt x="2771665" y="3299772"/>
                  <a:pt x="2763282" y="3305853"/>
                </a:cubicBezTo>
                <a:cubicBezTo>
                  <a:pt x="2753453" y="3312984"/>
                  <a:pt x="2752721" y="3316706"/>
                  <a:pt x="2753779" y="3354086"/>
                </a:cubicBezTo>
                <a:cubicBezTo>
                  <a:pt x="2754450" y="3377814"/>
                  <a:pt x="2757397" y="3398171"/>
                  <a:pt x="2760892" y="3403232"/>
                </a:cubicBezTo>
                <a:cubicBezTo>
                  <a:pt x="2764856" y="3408971"/>
                  <a:pt x="2766580" y="3424957"/>
                  <a:pt x="2766023" y="3450840"/>
                </a:cubicBezTo>
                <a:cubicBezTo>
                  <a:pt x="2765115" y="3493128"/>
                  <a:pt x="2757353" y="3506636"/>
                  <a:pt x="2750015" y="3478697"/>
                </a:cubicBezTo>
                <a:cubicBezTo>
                  <a:pt x="2747655" y="3469710"/>
                  <a:pt x="2742724" y="3462355"/>
                  <a:pt x="2739057" y="3462355"/>
                </a:cubicBezTo>
                <a:cubicBezTo>
                  <a:pt x="2735389" y="3462355"/>
                  <a:pt x="2732389" y="3458387"/>
                  <a:pt x="2732389" y="3453537"/>
                </a:cubicBezTo>
                <a:cubicBezTo>
                  <a:pt x="2732389" y="3444483"/>
                  <a:pt x="2723344" y="3437032"/>
                  <a:pt x="2712353" y="3437032"/>
                </a:cubicBezTo>
                <a:cubicBezTo>
                  <a:pt x="2708267" y="3437032"/>
                  <a:pt x="2706152" y="3444077"/>
                  <a:pt x="2706152" y="3457689"/>
                </a:cubicBezTo>
                <a:cubicBezTo>
                  <a:pt x="2706152" y="3473038"/>
                  <a:pt x="2703623" y="3479951"/>
                  <a:pt x="2696312" y="3484595"/>
                </a:cubicBezTo>
                <a:cubicBezTo>
                  <a:pt x="2688688" y="3489438"/>
                  <a:pt x="2686788" y="3495120"/>
                  <a:pt x="2687868" y="3509837"/>
                </a:cubicBezTo>
                <a:cubicBezTo>
                  <a:pt x="2688637" y="3520283"/>
                  <a:pt x="2689620" y="3541650"/>
                  <a:pt x="2690056" y="3557318"/>
                </a:cubicBezTo>
                <a:cubicBezTo>
                  <a:pt x="2690491" y="3572988"/>
                  <a:pt x="2692544" y="3589617"/>
                  <a:pt x="2694620" y="3594273"/>
                </a:cubicBezTo>
                <a:cubicBezTo>
                  <a:pt x="2699065" y="3604246"/>
                  <a:pt x="2694360" y="3612158"/>
                  <a:pt x="2682100" y="3615329"/>
                </a:cubicBezTo>
                <a:cubicBezTo>
                  <a:pt x="2672226" y="3617883"/>
                  <a:pt x="2667680" y="3643432"/>
                  <a:pt x="2675171" y="3654278"/>
                </a:cubicBezTo>
                <a:cubicBezTo>
                  <a:pt x="2677779" y="3658054"/>
                  <a:pt x="2680146" y="3672683"/>
                  <a:pt x="2680432" y="3686784"/>
                </a:cubicBezTo>
                <a:cubicBezTo>
                  <a:pt x="2680908" y="3710451"/>
                  <a:pt x="2681163" y="3710963"/>
                  <a:pt x="2683731" y="3693432"/>
                </a:cubicBezTo>
                <a:cubicBezTo>
                  <a:pt x="2685938" y="3678378"/>
                  <a:pt x="2689133" y="3674006"/>
                  <a:pt x="2699137" y="3672350"/>
                </a:cubicBezTo>
                <a:cubicBezTo>
                  <a:pt x="2710910" y="3670401"/>
                  <a:pt x="2711590" y="3671476"/>
                  <a:pt x="2709257" y="3688362"/>
                </a:cubicBezTo>
                <a:cubicBezTo>
                  <a:pt x="2707217" y="3703131"/>
                  <a:pt x="2709128" y="3709197"/>
                  <a:pt x="2719638" y="3721312"/>
                </a:cubicBezTo>
                <a:cubicBezTo>
                  <a:pt x="2726725" y="3729479"/>
                  <a:pt x="2732182" y="3739367"/>
                  <a:pt x="2731766" y="3743285"/>
                </a:cubicBezTo>
                <a:cubicBezTo>
                  <a:pt x="2731350" y="3747203"/>
                  <a:pt x="2732566" y="3755587"/>
                  <a:pt x="2734466" y="3761914"/>
                </a:cubicBezTo>
                <a:cubicBezTo>
                  <a:pt x="2736409" y="3768377"/>
                  <a:pt x="2735991" y="3776216"/>
                  <a:pt x="2733513" y="3779804"/>
                </a:cubicBezTo>
                <a:cubicBezTo>
                  <a:pt x="2730548" y="3784097"/>
                  <a:pt x="2727529" y="3779653"/>
                  <a:pt x="2724300" y="3766243"/>
                </a:cubicBezTo>
                <a:cubicBezTo>
                  <a:pt x="2721659" y="3755272"/>
                  <a:pt x="2714863" y="3738325"/>
                  <a:pt x="2709200" y="3728581"/>
                </a:cubicBezTo>
                <a:lnTo>
                  <a:pt x="2698904" y="3710865"/>
                </a:lnTo>
                <a:lnTo>
                  <a:pt x="2694804" y="3727472"/>
                </a:lnTo>
                <a:cubicBezTo>
                  <a:pt x="2690816" y="3743619"/>
                  <a:pt x="2695578" y="3792599"/>
                  <a:pt x="2703659" y="3818561"/>
                </a:cubicBezTo>
                <a:cubicBezTo>
                  <a:pt x="2705572" y="3824706"/>
                  <a:pt x="2706116" y="3835387"/>
                  <a:pt x="2704869" y="3842295"/>
                </a:cubicBezTo>
                <a:cubicBezTo>
                  <a:pt x="2703621" y="3849204"/>
                  <a:pt x="2704382" y="3856451"/>
                  <a:pt x="2706562" y="3858401"/>
                </a:cubicBezTo>
                <a:cubicBezTo>
                  <a:pt x="2713294" y="3864424"/>
                  <a:pt x="2711151" y="3892854"/>
                  <a:pt x="2703965" y="3892854"/>
                </a:cubicBezTo>
                <a:cubicBezTo>
                  <a:pt x="2700358" y="3892854"/>
                  <a:pt x="2697406" y="3889150"/>
                  <a:pt x="2697406" y="3884624"/>
                </a:cubicBezTo>
                <a:cubicBezTo>
                  <a:pt x="2697406" y="3880097"/>
                  <a:pt x="2695225" y="3873236"/>
                  <a:pt x="2692559" y="3869377"/>
                </a:cubicBezTo>
                <a:cubicBezTo>
                  <a:pt x="2689893" y="3865517"/>
                  <a:pt x="2686903" y="3847367"/>
                  <a:pt x="2685914" y="3829043"/>
                </a:cubicBezTo>
                <a:cubicBezTo>
                  <a:pt x="2684926" y="3810719"/>
                  <a:pt x="2682458" y="3792652"/>
                  <a:pt x="2680432" y="3788895"/>
                </a:cubicBezTo>
                <a:cubicBezTo>
                  <a:pt x="2678405" y="3785138"/>
                  <a:pt x="2675339" y="3773517"/>
                  <a:pt x="2673617" y="3763071"/>
                </a:cubicBezTo>
                <a:cubicBezTo>
                  <a:pt x="2671896" y="3752626"/>
                  <a:pt x="2667953" y="3739805"/>
                  <a:pt x="2664856" y="3734582"/>
                </a:cubicBezTo>
                <a:cubicBezTo>
                  <a:pt x="2661758" y="3729359"/>
                  <a:pt x="2657917" y="3717130"/>
                  <a:pt x="2656320" y="3707405"/>
                </a:cubicBezTo>
                <a:cubicBezTo>
                  <a:pt x="2652637" y="3684989"/>
                  <a:pt x="2642017" y="3678717"/>
                  <a:pt x="2633990" y="3694220"/>
                </a:cubicBezTo>
                <a:cubicBezTo>
                  <a:pt x="2628693" y="3704451"/>
                  <a:pt x="2628722" y="3707066"/>
                  <a:pt x="2634199" y="3713122"/>
                </a:cubicBezTo>
                <a:cubicBezTo>
                  <a:pt x="2637696" y="3716988"/>
                  <a:pt x="2640557" y="3728020"/>
                  <a:pt x="2640557" y="3737638"/>
                </a:cubicBezTo>
                <a:cubicBezTo>
                  <a:pt x="2640557" y="3752464"/>
                  <a:pt x="2639560" y="3753926"/>
                  <a:pt x="2633998" y="3747244"/>
                </a:cubicBezTo>
                <a:cubicBezTo>
                  <a:pt x="2630390" y="3742909"/>
                  <a:pt x="2627438" y="3735528"/>
                  <a:pt x="2627438" y="3730840"/>
                </a:cubicBezTo>
                <a:cubicBezTo>
                  <a:pt x="2627438" y="3726153"/>
                  <a:pt x="2624695" y="3723842"/>
                  <a:pt x="2621342" y="3725705"/>
                </a:cubicBezTo>
                <a:cubicBezTo>
                  <a:pt x="2616724" y="3728271"/>
                  <a:pt x="2614499" y="3719780"/>
                  <a:pt x="2612167" y="3690686"/>
                </a:cubicBezTo>
                <a:cubicBezTo>
                  <a:pt x="2610474" y="3669564"/>
                  <a:pt x="2607314" y="3652281"/>
                  <a:pt x="2605145" y="3652281"/>
                </a:cubicBezTo>
                <a:cubicBezTo>
                  <a:pt x="2602976" y="3652281"/>
                  <a:pt x="2601158" y="3644447"/>
                  <a:pt x="2601104" y="3634871"/>
                </a:cubicBezTo>
                <a:cubicBezTo>
                  <a:pt x="2600974" y="3611715"/>
                  <a:pt x="2587069" y="3585752"/>
                  <a:pt x="2577610" y="3591006"/>
                </a:cubicBezTo>
                <a:cubicBezTo>
                  <a:pt x="2566765" y="3597032"/>
                  <a:pt x="2564271" y="3613351"/>
                  <a:pt x="2572247" y="3626110"/>
                </a:cubicBezTo>
                <a:cubicBezTo>
                  <a:pt x="2580831" y="3639841"/>
                  <a:pt x="2581612" y="3664943"/>
                  <a:pt x="2573455" y="3664943"/>
                </a:cubicBezTo>
                <a:cubicBezTo>
                  <a:pt x="2565487" y="3664943"/>
                  <a:pt x="2553099" y="3644289"/>
                  <a:pt x="2553099" y="3631003"/>
                </a:cubicBezTo>
                <a:cubicBezTo>
                  <a:pt x="2553099" y="3625072"/>
                  <a:pt x="2548671" y="3617809"/>
                  <a:pt x="2543260" y="3614862"/>
                </a:cubicBezTo>
                <a:cubicBezTo>
                  <a:pt x="2530755" y="3608056"/>
                  <a:pt x="2523216" y="3623383"/>
                  <a:pt x="2530623" y="3640554"/>
                </a:cubicBezTo>
                <a:cubicBezTo>
                  <a:pt x="2539261" y="3660579"/>
                  <a:pt x="2536826" y="3698781"/>
                  <a:pt x="2526305" y="3708293"/>
                </a:cubicBezTo>
                <a:cubicBezTo>
                  <a:pt x="2518040" y="3715766"/>
                  <a:pt x="2517311" y="3720509"/>
                  <a:pt x="2519771" y="3750816"/>
                </a:cubicBezTo>
                <a:lnTo>
                  <a:pt x="2522540" y="3784928"/>
                </a:lnTo>
                <a:lnTo>
                  <a:pt x="2509726" y="3781217"/>
                </a:lnTo>
                <a:cubicBezTo>
                  <a:pt x="2491618" y="3775974"/>
                  <a:pt x="2485001" y="3787442"/>
                  <a:pt x="2486852" y="3820858"/>
                </a:cubicBezTo>
                <a:cubicBezTo>
                  <a:pt x="2488027" y="3842062"/>
                  <a:pt x="2486874" y="3848538"/>
                  <a:pt x="2481921" y="3848538"/>
                </a:cubicBezTo>
                <a:cubicBezTo>
                  <a:pt x="2473028" y="3848538"/>
                  <a:pt x="2466210" y="3835250"/>
                  <a:pt x="2462933" y="3811532"/>
                </a:cubicBezTo>
                <a:cubicBezTo>
                  <a:pt x="2461416" y="3800547"/>
                  <a:pt x="2458645" y="3791560"/>
                  <a:pt x="2456776" y="3791560"/>
                </a:cubicBezTo>
                <a:cubicBezTo>
                  <a:pt x="2454907" y="3791560"/>
                  <a:pt x="2451266" y="3782791"/>
                  <a:pt x="2448685" y="3772074"/>
                </a:cubicBezTo>
                <a:cubicBezTo>
                  <a:pt x="2443551" y="3750749"/>
                  <a:pt x="2429132" y="3747939"/>
                  <a:pt x="2427873" y="3768017"/>
                </a:cubicBezTo>
                <a:cubicBezTo>
                  <a:pt x="2427379" y="3775892"/>
                  <a:pt x="2427778" y="3776333"/>
                  <a:pt x="2429236" y="3769526"/>
                </a:cubicBezTo>
                <a:cubicBezTo>
                  <a:pt x="2431510" y="3758919"/>
                  <a:pt x="2443776" y="3756143"/>
                  <a:pt x="2443776" y="3766237"/>
                </a:cubicBezTo>
                <a:cubicBezTo>
                  <a:pt x="2443776" y="3769719"/>
                  <a:pt x="2442301" y="3772585"/>
                  <a:pt x="2440496" y="3772608"/>
                </a:cubicBezTo>
                <a:cubicBezTo>
                  <a:pt x="2438692" y="3772627"/>
                  <a:pt x="2433773" y="3781407"/>
                  <a:pt x="2429564" y="3792113"/>
                </a:cubicBezTo>
                <a:cubicBezTo>
                  <a:pt x="2419134" y="3818643"/>
                  <a:pt x="2419508" y="3859863"/>
                  <a:pt x="2430302" y="3873416"/>
                </a:cubicBezTo>
                <a:cubicBezTo>
                  <a:pt x="2435288" y="3879676"/>
                  <a:pt x="2440996" y="3900531"/>
                  <a:pt x="2444369" y="3924805"/>
                </a:cubicBezTo>
                <a:cubicBezTo>
                  <a:pt x="2447491" y="3947274"/>
                  <a:pt x="2451793" y="3967437"/>
                  <a:pt x="2453931" y="3969610"/>
                </a:cubicBezTo>
                <a:cubicBezTo>
                  <a:pt x="2456068" y="3971784"/>
                  <a:pt x="2454718" y="3980410"/>
                  <a:pt x="2450930" y="3988781"/>
                </a:cubicBezTo>
                <a:cubicBezTo>
                  <a:pt x="2443890" y="4004334"/>
                  <a:pt x="2442745" y="4083398"/>
                  <a:pt x="2449419" y="4093060"/>
                </a:cubicBezTo>
                <a:cubicBezTo>
                  <a:pt x="2454210" y="4099996"/>
                  <a:pt x="2453085" y="4138506"/>
                  <a:pt x="2447957" y="4143094"/>
                </a:cubicBezTo>
                <a:cubicBezTo>
                  <a:pt x="2441139" y="4149195"/>
                  <a:pt x="2430657" y="4133852"/>
                  <a:pt x="2430657" y="4117769"/>
                </a:cubicBezTo>
                <a:cubicBezTo>
                  <a:pt x="2430657" y="4094995"/>
                  <a:pt x="2421562" y="4063787"/>
                  <a:pt x="2414924" y="4063787"/>
                </a:cubicBezTo>
                <a:cubicBezTo>
                  <a:pt x="2411552" y="4063787"/>
                  <a:pt x="2408547" y="4060938"/>
                  <a:pt x="2408246" y="4057456"/>
                </a:cubicBezTo>
                <a:cubicBezTo>
                  <a:pt x="2407945" y="4053974"/>
                  <a:pt x="2407207" y="4048276"/>
                  <a:pt x="2406606" y="4044794"/>
                </a:cubicBezTo>
                <a:cubicBezTo>
                  <a:pt x="2406005" y="4041312"/>
                  <a:pt x="2405267" y="4017301"/>
                  <a:pt x="2404966" y="3991434"/>
                </a:cubicBezTo>
                <a:cubicBezTo>
                  <a:pt x="2404557" y="3956255"/>
                  <a:pt x="2402534" y="3941674"/>
                  <a:pt x="2396933" y="3933567"/>
                </a:cubicBezTo>
                <a:cubicBezTo>
                  <a:pt x="2392816" y="3927605"/>
                  <a:pt x="2389152" y="3919568"/>
                  <a:pt x="2388791" y="3915705"/>
                </a:cubicBezTo>
                <a:cubicBezTo>
                  <a:pt x="2388431" y="3911842"/>
                  <a:pt x="2386709" y="3884465"/>
                  <a:pt x="2384965" y="3854869"/>
                </a:cubicBezTo>
                <a:cubicBezTo>
                  <a:pt x="2381682" y="3799164"/>
                  <a:pt x="2376003" y="3782877"/>
                  <a:pt x="2358125" y="3777893"/>
                </a:cubicBezTo>
                <a:cubicBezTo>
                  <a:pt x="2353578" y="3776624"/>
                  <a:pt x="2349153" y="3769923"/>
                  <a:pt x="2348290" y="3762998"/>
                </a:cubicBezTo>
                <a:cubicBezTo>
                  <a:pt x="2346031" y="3744853"/>
                  <a:pt x="2340915" y="3739100"/>
                  <a:pt x="2331066" y="3743626"/>
                </a:cubicBezTo>
                <a:cubicBezTo>
                  <a:pt x="2323601" y="3747056"/>
                  <a:pt x="2322418" y="3753375"/>
                  <a:pt x="2322362" y="3790153"/>
                </a:cubicBezTo>
                <a:cubicBezTo>
                  <a:pt x="2322327" y="3813559"/>
                  <a:pt x="2323776" y="3835560"/>
                  <a:pt x="2325585" y="3839042"/>
                </a:cubicBezTo>
                <a:cubicBezTo>
                  <a:pt x="2330367" y="3848252"/>
                  <a:pt x="2334803" y="3904455"/>
                  <a:pt x="2331015" y="3907844"/>
                </a:cubicBezTo>
                <a:cubicBezTo>
                  <a:pt x="2325179" y="3913065"/>
                  <a:pt x="2314097" y="3896350"/>
                  <a:pt x="2310583" y="3877027"/>
                </a:cubicBezTo>
                <a:cubicBezTo>
                  <a:pt x="2308684" y="3866581"/>
                  <a:pt x="2307525" y="3841244"/>
                  <a:pt x="2308008" y="3820722"/>
                </a:cubicBezTo>
                <a:cubicBezTo>
                  <a:pt x="2308911" y="3782312"/>
                  <a:pt x="2305309" y="3772864"/>
                  <a:pt x="2289689" y="3772664"/>
                </a:cubicBezTo>
                <a:cubicBezTo>
                  <a:pt x="2281272" y="3772557"/>
                  <a:pt x="2267066" y="3813894"/>
                  <a:pt x="2271750" y="3824865"/>
                </a:cubicBezTo>
                <a:cubicBezTo>
                  <a:pt x="2273403" y="3828737"/>
                  <a:pt x="2272480" y="3829620"/>
                  <a:pt x="2269535" y="3826984"/>
                </a:cubicBezTo>
                <a:cubicBezTo>
                  <a:pt x="2266543" y="3824308"/>
                  <a:pt x="2264486" y="3826489"/>
                  <a:pt x="2264486" y="3832337"/>
                </a:cubicBezTo>
                <a:cubicBezTo>
                  <a:pt x="2264486" y="3837766"/>
                  <a:pt x="2262362" y="3842207"/>
                  <a:pt x="2259765" y="3842207"/>
                </a:cubicBezTo>
                <a:cubicBezTo>
                  <a:pt x="2256796" y="3842207"/>
                  <a:pt x="2256114" y="3835164"/>
                  <a:pt x="2257927" y="3823214"/>
                </a:cubicBezTo>
                <a:cubicBezTo>
                  <a:pt x="2259826" y="3810697"/>
                  <a:pt x="2259092" y="3804222"/>
                  <a:pt x="2255775" y="3804222"/>
                </a:cubicBezTo>
                <a:cubicBezTo>
                  <a:pt x="2253007" y="3804222"/>
                  <a:pt x="2247538" y="3799582"/>
                  <a:pt x="2243620" y="3793911"/>
                </a:cubicBezTo>
                <a:cubicBezTo>
                  <a:pt x="2237039" y="3784383"/>
                  <a:pt x="2237259" y="3782707"/>
                  <a:pt x="2246518" y="3771854"/>
                </a:cubicBezTo>
                <a:cubicBezTo>
                  <a:pt x="2255048" y="3761853"/>
                  <a:pt x="2256154" y="3756142"/>
                  <a:pt x="2253959" y="3733428"/>
                </a:cubicBezTo>
                <a:cubicBezTo>
                  <a:pt x="2252542" y="3718753"/>
                  <a:pt x="2249411" y="3703894"/>
                  <a:pt x="2247002" y="3700406"/>
                </a:cubicBezTo>
                <a:cubicBezTo>
                  <a:pt x="2244592" y="3696919"/>
                  <a:pt x="2242621" y="3689474"/>
                  <a:pt x="2242621" y="3683863"/>
                </a:cubicBezTo>
                <a:cubicBezTo>
                  <a:pt x="2242621" y="3678252"/>
                  <a:pt x="2238686" y="3667546"/>
                  <a:pt x="2233875" y="3660071"/>
                </a:cubicBezTo>
                <a:cubicBezTo>
                  <a:pt x="2229065" y="3652596"/>
                  <a:pt x="2225130" y="3640663"/>
                  <a:pt x="2225130" y="3633553"/>
                </a:cubicBezTo>
                <a:cubicBezTo>
                  <a:pt x="2225130" y="3626444"/>
                  <a:pt x="2223654" y="3620376"/>
                  <a:pt x="2221850" y="3620071"/>
                </a:cubicBezTo>
                <a:cubicBezTo>
                  <a:pt x="2220046" y="3619765"/>
                  <a:pt x="2211683" y="3619052"/>
                  <a:pt x="2203265" y="3618488"/>
                </a:cubicBezTo>
                <a:cubicBezTo>
                  <a:pt x="2188217" y="3617479"/>
                  <a:pt x="2187981" y="3617853"/>
                  <a:pt x="2189200" y="3640708"/>
                </a:cubicBezTo>
                <a:cubicBezTo>
                  <a:pt x="2190210" y="3659648"/>
                  <a:pt x="2188734" y="3664739"/>
                  <a:pt x="2181231" y="3668186"/>
                </a:cubicBezTo>
                <a:cubicBezTo>
                  <a:pt x="2175294" y="3670914"/>
                  <a:pt x="2172929" y="3675839"/>
                  <a:pt x="2174574" y="3682047"/>
                </a:cubicBezTo>
                <a:cubicBezTo>
                  <a:pt x="2176448" y="3689115"/>
                  <a:pt x="2175143" y="3690574"/>
                  <a:pt x="2169669" y="3687533"/>
                </a:cubicBezTo>
                <a:cubicBezTo>
                  <a:pt x="2163315" y="3684003"/>
                  <a:pt x="2163466" y="3685395"/>
                  <a:pt x="2170689" y="3696951"/>
                </a:cubicBezTo>
                <a:cubicBezTo>
                  <a:pt x="2177398" y="3707683"/>
                  <a:pt x="2182591" y="3709846"/>
                  <a:pt x="2195588" y="3707322"/>
                </a:cubicBezTo>
                <a:cubicBezTo>
                  <a:pt x="2211612" y="3704211"/>
                  <a:pt x="2212011" y="3704626"/>
                  <a:pt x="2212011" y="3724422"/>
                </a:cubicBezTo>
                <a:cubicBezTo>
                  <a:pt x="2212011" y="3735582"/>
                  <a:pt x="2214256" y="3747962"/>
                  <a:pt x="2216999" y="3751934"/>
                </a:cubicBezTo>
                <a:cubicBezTo>
                  <a:pt x="2223416" y="3761224"/>
                  <a:pt x="2224997" y="3835911"/>
                  <a:pt x="2218775" y="3835779"/>
                </a:cubicBezTo>
                <a:cubicBezTo>
                  <a:pt x="2208830" y="3835568"/>
                  <a:pt x="2204344" y="3825044"/>
                  <a:pt x="2201276" y="3794726"/>
                </a:cubicBezTo>
                <a:cubicBezTo>
                  <a:pt x="2197020" y="3752657"/>
                  <a:pt x="2193267" y="3746638"/>
                  <a:pt x="2176875" y="3755596"/>
                </a:cubicBezTo>
                <a:cubicBezTo>
                  <a:pt x="2161020" y="3764261"/>
                  <a:pt x="2155873" y="3758069"/>
                  <a:pt x="2138525" y="3709464"/>
                </a:cubicBezTo>
                <a:cubicBezTo>
                  <a:pt x="2123766" y="3668115"/>
                  <a:pt x="2115171" y="3658627"/>
                  <a:pt x="2105352" y="3672844"/>
                </a:cubicBezTo>
                <a:cubicBezTo>
                  <a:pt x="2098301" y="3683051"/>
                  <a:pt x="2099961" y="3702928"/>
                  <a:pt x="2107864" y="3702928"/>
                </a:cubicBezTo>
                <a:cubicBezTo>
                  <a:pt x="2110196" y="3702928"/>
                  <a:pt x="2111495" y="3713164"/>
                  <a:pt x="2110750" y="3725675"/>
                </a:cubicBezTo>
                <a:cubicBezTo>
                  <a:pt x="2109802" y="3741608"/>
                  <a:pt x="2111666" y="3750826"/>
                  <a:pt x="2116974" y="3756445"/>
                </a:cubicBezTo>
                <a:cubicBezTo>
                  <a:pt x="2121142" y="3760857"/>
                  <a:pt x="2124552" y="3770563"/>
                  <a:pt x="2124552" y="3778014"/>
                </a:cubicBezTo>
                <a:cubicBezTo>
                  <a:pt x="2124552" y="3788826"/>
                  <a:pt x="2121921" y="3791560"/>
                  <a:pt x="2111517" y="3791560"/>
                </a:cubicBezTo>
                <a:cubicBezTo>
                  <a:pt x="2101338" y="3791560"/>
                  <a:pt x="2097893" y="3794952"/>
                  <a:pt x="2095798" y="3807039"/>
                </a:cubicBezTo>
                <a:cubicBezTo>
                  <a:pt x="2094322" y="3815551"/>
                  <a:pt x="2089857" y="3823768"/>
                  <a:pt x="2085876" y="3825297"/>
                </a:cubicBezTo>
                <a:cubicBezTo>
                  <a:pt x="2080764" y="3827259"/>
                  <a:pt x="2081441" y="3828292"/>
                  <a:pt x="2088181" y="3828811"/>
                </a:cubicBezTo>
                <a:cubicBezTo>
                  <a:pt x="2093433" y="3829215"/>
                  <a:pt x="2098918" y="3834985"/>
                  <a:pt x="2100377" y="3841641"/>
                </a:cubicBezTo>
                <a:cubicBezTo>
                  <a:pt x="2101836" y="3848293"/>
                  <a:pt x="2107979" y="3858432"/>
                  <a:pt x="2114029" y="3864171"/>
                </a:cubicBezTo>
                <a:cubicBezTo>
                  <a:pt x="2123352" y="3873014"/>
                  <a:pt x="2124827" y="3878655"/>
                  <a:pt x="2123698" y="3901140"/>
                </a:cubicBezTo>
                <a:cubicBezTo>
                  <a:pt x="2122193" y="3931115"/>
                  <a:pt x="2110223" y="3939232"/>
                  <a:pt x="2107910" y="3911846"/>
                </a:cubicBezTo>
                <a:cubicBezTo>
                  <a:pt x="2104476" y="3871189"/>
                  <a:pt x="2098711" y="3858131"/>
                  <a:pt x="2080582" y="3849939"/>
                </a:cubicBezTo>
                <a:cubicBezTo>
                  <a:pt x="2061553" y="3841341"/>
                  <a:pt x="2054585" y="3843688"/>
                  <a:pt x="2054585" y="3858695"/>
                </a:cubicBezTo>
                <a:cubicBezTo>
                  <a:pt x="2054585" y="3866014"/>
                  <a:pt x="2051196" y="3867184"/>
                  <a:pt x="2039326" y="3863960"/>
                </a:cubicBezTo>
                <a:cubicBezTo>
                  <a:pt x="2027534" y="3860757"/>
                  <a:pt x="2023454" y="3862131"/>
                  <a:pt x="2021367" y="3870003"/>
                </a:cubicBezTo>
                <a:cubicBezTo>
                  <a:pt x="2017577" y="3884301"/>
                  <a:pt x="2006483" y="3882736"/>
                  <a:pt x="2006483" y="3867904"/>
                </a:cubicBezTo>
                <a:cubicBezTo>
                  <a:pt x="2006483" y="3861146"/>
                  <a:pt x="2004483" y="3853826"/>
                  <a:pt x="2002040" y="3851640"/>
                </a:cubicBezTo>
                <a:cubicBezTo>
                  <a:pt x="1999595" y="3849452"/>
                  <a:pt x="1998824" y="3844783"/>
                  <a:pt x="2000327" y="3841264"/>
                </a:cubicBezTo>
                <a:cubicBezTo>
                  <a:pt x="2001829" y="3837744"/>
                  <a:pt x="1998909" y="3830657"/>
                  <a:pt x="1993839" y="3825515"/>
                </a:cubicBezTo>
                <a:cubicBezTo>
                  <a:pt x="1987608" y="3819197"/>
                  <a:pt x="1984619" y="3809349"/>
                  <a:pt x="1984619" y="3795142"/>
                </a:cubicBezTo>
                <a:cubicBezTo>
                  <a:pt x="1984619" y="3769202"/>
                  <a:pt x="1974654" y="3754565"/>
                  <a:pt x="1964941" y="3766237"/>
                </a:cubicBezTo>
                <a:cubicBezTo>
                  <a:pt x="1961333" y="3770571"/>
                  <a:pt x="1958381" y="3778042"/>
                  <a:pt x="1958381" y="3782839"/>
                </a:cubicBezTo>
                <a:cubicBezTo>
                  <a:pt x="1958381" y="3787636"/>
                  <a:pt x="1955430" y="3791560"/>
                  <a:pt x="1951822" y="3791560"/>
                </a:cubicBezTo>
                <a:cubicBezTo>
                  <a:pt x="1948214" y="3791560"/>
                  <a:pt x="1945262" y="3788711"/>
                  <a:pt x="1945262" y="3785229"/>
                </a:cubicBezTo>
                <a:cubicBezTo>
                  <a:pt x="1945262" y="3781747"/>
                  <a:pt x="1939359" y="3778898"/>
                  <a:pt x="1932144" y="3778898"/>
                </a:cubicBezTo>
                <a:cubicBezTo>
                  <a:pt x="1921186" y="3778898"/>
                  <a:pt x="1919025" y="3776378"/>
                  <a:pt x="1919025" y="3763599"/>
                </a:cubicBezTo>
                <a:cubicBezTo>
                  <a:pt x="1919025" y="3755184"/>
                  <a:pt x="1921033" y="3747330"/>
                  <a:pt x="1923488" y="3746145"/>
                </a:cubicBezTo>
                <a:cubicBezTo>
                  <a:pt x="1930205" y="3742904"/>
                  <a:pt x="1918350" y="3709947"/>
                  <a:pt x="1908872" y="3705513"/>
                </a:cubicBezTo>
                <a:cubicBezTo>
                  <a:pt x="1899063" y="3700925"/>
                  <a:pt x="1884041" y="3719355"/>
                  <a:pt x="1884041" y="3735980"/>
                </a:cubicBezTo>
                <a:cubicBezTo>
                  <a:pt x="1884041" y="3742633"/>
                  <a:pt x="1886078" y="3753587"/>
                  <a:pt x="1888568" y="3760322"/>
                </a:cubicBezTo>
                <a:cubicBezTo>
                  <a:pt x="1893887" y="3774711"/>
                  <a:pt x="1885030" y="3777798"/>
                  <a:pt x="1875988" y="3764707"/>
                </a:cubicBezTo>
                <a:cubicBezTo>
                  <a:pt x="1871664" y="3758447"/>
                  <a:pt x="1869719" y="3758769"/>
                  <a:pt x="1866434" y="3766290"/>
                </a:cubicBezTo>
                <a:cubicBezTo>
                  <a:pt x="1861190" y="3778299"/>
                  <a:pt x="1860967" y="3797891"/>
                  <a:pt x="1866075" y="3797891"/>
                </a:cubicBezTo>
                <a:cubicBezTo>
                  <a:pt x="1868220" y="3797891"/>
                  <a:pt x="1871209" y="3805013"/>
                  <a:pt x="1872718" y="3813718"/>
                </a:cubicBezTo>
                <a:cubicBezTo>
                  <a:pt x="1874227" y="3822423"/>
                  <a:pt x="1877392" y="3829545"/>
                  <a:pt x="1879752" y="3829545"/>
                </a:cubicBezTo>
                <a:cubicBezTo>
                  <a:pt x="1882111" y="3829545"/>
                  <a:pt x="1884041" y="3836499"/>
                  <a:pt x="1884041" y="3844998"/>
                </a:cubicBezTo>
                <a:cubicBezTo>
                  <a:pt x="1884041" y="3853498"/>
                  <a:pt x="1886113" y="3862306"/>
                  <a:pt x="1888645" y="3864572"/>
                </a:cubicBezTo>
                <a:cubicBezTo>
                  <a:pt x="1891177" y="3866837"/>
                  <a:pt x="1892520" y="3871854"/>
                  <a:pt x="1891630" y="3875720"/>
                </a:cubicBezTo>
                <a:cubicBezTo>
                  <a:pt x="1889035" y="3886993"/>
                  <a:pt x="1902591" y="3905515"/>
                  <a:pt x="1913437" y="3905515"/>
                </a:cubicBezTo>
                <a:cubicBezTo>
                  <a:pt x="1919375" y="3905515"/>
                  <a:pt x="1923398" y="3909350"/>
                  <a:pt x="1923398" y="3915012"/>
                </a:cubicBezTo>
                <a:cubicBezTo>
                  <a:pt x="1923398" y="3920235"/>
                  <a:pt x="1925365" y="3924508"/>
                  <a:pt x="1927771" y="3924508"/>
                </a:cubicBezTo>
                <a:cubicBezTo>
                  <a:pt x="1930176" y="3924508"/>
                  <a:pt x="1932144" y="3930106"/>
                  <a:pt x="1932144" y="3936947"/>
                </a:cubicBezTo>
                <a:cubicBezTo>
                  <a:pt x="1932144" y="3943788"/>
                  <a:pt x="1936079" y="3952436"/>
                  <a:pt x="1940889" y="3956162"/>
                </a:cubicBezTo>
                <a:cubicBezTo>
                  <a:pt x="1954852" y="3966980"/>
                  <a:pt x="1951574" y="3977299"/>
                  <a:pt x="1935640" y="3972686"/>
                </a:cubicBezTo>
                <a:cubicBezTo>
                  <a:pt x="1927944" y="3970457"/>
                  <a:pt x="1920564" y="3966474"/>
                  <a:pt x="1919242" y="3963834"/>
                </a:cubicBezTo>
                <a:cubicBezTo>
                  <a:pt x="1917920" y="3961195"/>
                  <a:pt x="1911339" y="3953967"/>
                  <a:pt x="1904617" y="3947772"/>
                </a:cubicBezTo>
                <a:cubicBezTo>
                  <a:pt x="1897896" y="3941576"/>
                  <a:pt x="1890509" y="3929320"/>
                  <a:pt x="1888202" y="3920535"/>
                </a:cubicBezTo>
                <a:cubicBezTo>
                  <a:pt x="1883345" y="3902041"/>
                  <a:pt x="1873609" y="3886523"/>
                  <a:pt x="1866862" y="3886523"/>
                </a:cubicBezTo>
                <a:cubicBezTo>
                  <a:pt x="1864285" y="3886523"/>
                  <a:pt x="1862177" y="3881029"/>
                  <a:pt x="1862177" y="3874314"/>
                </a:cubicBezTo>
                <a:cubicBezTo>
                  <a:pt x="1862177" y="3867598"/>
                  <a:pt x="1859607" y="3858339"/>
                  <a:pt x="1856466" y="3853739"/>
                </a:cubicBezTo>
                <a:cubicBezTo>
                  <a:pt x="1853325" y="3849137"/>
                  <a:pt x="1849451" y="3840387"/>
                  <a:pt x="1847857" y="3834293"/>
                </a:cubicBezTo>
                <a:cubicBezTo>
                  <a:pt x="1844203" y="3820320"/>
                  <a:pt x="1827822" y="3819806"/>
                  <a:pt x="1824179" y="3833550"/>
                </a:cubicBezTo>
                <a:cubicBezTo>
                  <a:pt x="1822673" y="3839234"/>
                  <a:pt x="1823855" y="3849482"/>
                  <a:pt x="1826806" y="3856324"/>
                </a:cubicBezTo>
                <a:cubicBezTo>
                  <a:pt x="1829757" y="3863165"/>
                  <a:pt x="1830945" y="3870540"/>
                  <a:pt x="1829445" y="3872712"/>
                </a:cubicBezTo>
                <a:cubicBezTo>
                  <a:pt x="1827945" y="3874883"/>
                  <a:pt x="1825077" y="3872816"/>
                  <a:pt x="1823072" y="3868119"/>
                </a:cubicBezTo>
                <a:cubicBezTo>
                  <a:pt x="1818209" y="3856728"/>
                  <a:pt x="1809702" y="3865026"/>
                  <a:pt x="1809702" y="3881158"/>
                </a:cubicBezTo>
                <a:cubicBezTo>
                  <a:pt x="1809702" y="3888715"/>
                  <a:pt x="1813317" y="3895408"/>
                  <a:pt x="1818447" y="3897350"/>
                </a:cubicBezTo>
                <a:cubicBezTo>
                  <a:pt x="1824168" y="3899516"/>
                  <a:pt x="1827193" y="3905986"/>
                  <a:pt x="1827193" y="3916052"/>
                </a:cubicBezTo>
                <a:cubicBezTo>
                  <a:pt x="1827193" y="3932239"/>
                  <a:pt x="1846127" y="3962493"/>
                  <a:pt x="1856256" y="3962493"/>
                </a:cubicBezTo>
                <a:cubicBezTo>
                  <a:pt x="1859512" y="3962493"/>
                  <a:pt x="1862177" y="3968191"/>
                  <a:pt x="1862177" y="3975155"/>
                </a:cubicBezTo>
                <a:cubicBezTo>
                  <a:pt x="1862177" y="3984267"/>
                  <a:pt x="1859262" y="3987817"/>
                  <a:pt x="1851780" y="3987817"/>
                </a:cubicBezTo>
                <a:cubicBezTo>
                  <a:pt x="1846061" y="3987817"/>
                  <a:pt x="1838933" y="3992090"/>
                  <a:pt x="1835939" y="3997313"/>
                </a:cubicBezTo>
                <a:cubicBezTo>
                  <a:pt x="1832945" y="4002536"/>
                  <a:pt x="1828768" y="4006809"/>
                  <a:pt x="1826658" y="4006809"/>
                </a:cubicBezTo>
                <a:cubicBezTo>
                  <a:pt x="1824547" y="4006809"/>
                  <a:pt x="1822820" y="4002536"/>
                  <a:pt x="1822820" y="3997313"/>
                </a:cubicBezTo>
                <a:cubicBezTo>
                  <a:pt x="1822820" y="3992090"/>
                  <a:pt x="1820853" y="3987817"/>
                  <a:pt x="1818447" y="3987817"/>
                </a:cubicBezTo>
                <a:cubicBezTo>
                  <a:pt x="1816042" y="3987817"/>
                  <a:pt x="1814075" y="3983167"/>
                  <a:pt x="1814075" y="3977485"/>
                </a:cubicBezTo>
                <a:cubicBezTo>
                  <a:pt x="1814075" y="3964980"/>
                  <a:pt x="1797850" y="3925247"/>
                  <a:pt x="1786969" y="3911104"/>
                </a:cubicBezTo>
                <a:cubicBezTo>
                  <a:pt x="1782636" y="3905473"/>
                  <a:pt x="1779091" y="3894814"/>
                  <a:pt x="1779091" y="3887418"/>
                </a:cubicBezTo>
                <a:cubicBezTo>
                  <a:pt x="1779091" y="3875266"/>
                  <a:pt x="1765017" y="3844344"/>
                  <a:pt x="1741945" y="3805804"/>
                </a:cubicBezTo>
                <a:cubicBezTo>
                  <a:pt x="1737256" y="3797970"/>
                  <a:pt x="1729920" y="3791560"/>
                  <a:pt x="1725644" y="3791560"/>
                </a:cubicBezTo>
                <a:cubicBezTo>
                  <a:pt x="1721369" y="3791560"/>
                  <a:pt x="1717870" y="3787082"/>
                  <a:pt x="1717870" y="3781609"/>
                </a:cubicBezTo>
                <a:cubicBezTo>
                  <a:pt x="1717870" y="3769873"/>
                  <a:pt x="1697380" y="3717614"/>
                  <a:pt x="1690111" y="3710809"/>
                </a:cubicBezTo>
                <a:cubicBezTo>
                  <a:pt x="1687340" y="3708215"/>
                  <a:pt x="1682895" y="3700396"/>
                  <a:pt x="1680232" y="3693432"/>
                </a:cubicBezTo>
                <a:cubicBezTo>
                  <a:pt x="1677569" y="3686468"/>
                  <a:pt x="1671979" y="3679799"/>
                  <a:pt x="1667809" y="3678612"/>
                </a:cubicBezTo>
                <a:cubicBezTo>
                  <a:pt x="1659247" y="3676176"/>
                  <a:pt x="1643530" y="3655329"/>
                  <a:pt x="1643530" y="3646410"/>
                </a:cubicBezTo>
                <a:cubicBezTo>
                  <a:pt x="1643530" y="3643181"/>
                  <a:pt x="1638611" y="3634936"/>
                  <a:pt x="1632598" y="3628089"/>
                </a:cubicBezTo>
                <a:cubicBezTo>
                  <a:pt x="1626078" y="3620663"/>
                  <a:pt x="1621666" y="3609167"/>
                  <a:pt x="1621666" y="3599604"/>
                </a:cubicBezTo>
                <a:cubicBezTo>
                  <a:pt x="1621666" y="3587944"/>
                  <a:pt x="1617908" y="3580855"/>
                  <a:pt x="1607892" y="3573621"/>
                </a:cubicBezTo>
                <a:cubicBezTo>
                  <a:pt x="1592334" y="3562385"/>
                  <a:pt x="1582310" y="3568877"/>
                  <a:pt x="1582310" y="3590188"/>
                </a:cubicBezTo>
                <a:cubicBezTo>
                  <a:pt x="1582310" y="3608936"/>
                  <a:pt x="1563990" y="3602336"/>
                  <a:pt x="1556968" y="3581059"/>
                </a:cubicBezTo>
                <a:cubicBezTo>
                  <a:pt x="1553808" y="3571483"/>
                  <a:pt x="1549853" y="3563286"/>
                  <a:pt x="1548180" y="3562841"/>
                </a:cubicBezTo>
                <a:cubicBezTo>
                  <a:pt x="1534416" y="3559184"/>
                  <a:pt x="1525461" y="3559990"/>
                  <a:pt x="1525461" y="3564887"/>
                </a:cubicBezTo>
                <a:cubicBezTo>
                  <a:pt x="1525461" y="3568100"/>
                  <a:pt x="1523850" y="3569285"/>
                  <a:pt x="1521880" y="3567523"/>
                </a:cubicBezTo>
                <a:cubicBezTo>
                  <a:pt x="1515780" y="3562065"/>
                  <a:pt x="1521675" y="3600788"/>
                  <a:pt x="1528124" y="3608537"/>
                </a:cubicBezTo>
                <a:cubicBezTo>
                  <a:pt x="1531470" y="3612557"/>
                  <a:pt x="1534207" y="3621363"/>
                  <a:pt x="1534207" y="3628104"/>
                </a:cubicBezTo>
                <a:cubicBezTo>
                  <a:pt x="1534207" y="3634846"/>
                  <a:pt x="1540440" y="3651589"/>
                  <a:pt x="1548057" y="3665312"/>
                </a:cubicBezTo>
                <a:cubicBezTo>
                  <a:pt x="1555674" y="3679035"/>
                  <a:pt x="1562260" y="3695249"/>
                  <a:pt x="1562692" y="3701343"/>
                </a:cubicBezTo>
                <a:cubicBezTo>
                  <a:pt x="1563458" y="3712152"/>
                  <a:pt x="1570563" y="3739304"/>
                  <a:pt x="1578407" y="3761403"/>
                </a:cubicBezTo>
                <a:cubicBezTo>
                  <a:pt x="1580554" y="3767449"/>
                  <a:pt x="1582310" y="3778174"/>
                  <a:pt x="1582310" y="3785236"/>
                </a:cubicBezTo>
                <a:cubicBezTo>
                  <a:pt x="1582310" y="3792808"/>
                  <a:pt x="1587872" y="3802974"/>
                  <a:pt x="1595866" y="3810012"/>
                </a:cubicBezTo>
                <a:lnTo>
                  <a:pt x="1609422" y="3821947"/>
                </a:lnTo>
                <a:lnTo>
                  <a:pt x="1599783" y="3835903"/>
                </a:lnTo>
                <a:cubicBezTo>
                  <a:pt x="1592444" y="3846528"/>
                  <a:pt x="1590770" y="3854389"/>
                  <a:pt x="1592769" y="3868858"/>
                </a:cubicBezTo>
                <a:cubicBezTo>
                  <a:pt x="1594782" y="3883425"/>
                  <a:pt x="1593985" y="3887076"/>
                  <a:pt x="1589357" y="3884504"/>
                </a:cubicBezTo>
                <a:cubicBezTo>
                  <a:pt x="1584420" y="3881763"/>
                  <a:pt x="1584200" y="3884530"/>
                  <a:pt x="1588146" y="3899664"/>
                </a:cubicBezTo>
                <a:cubicBezTo>
                  <a:pt x="1591360" y="3911992"/>
                  <a:pt x="1596026" y="3918177"/>
                  <a:pt x="1602110" y="3918177"/>
                </a:cubicBezTo>
                <a:cubicBezTo>
                  <a:pt x="1615135" y="3918177"/>
                  <a:pt x="1626341" y="3931870"/>
                  <a:pt x="1628191" y="3950044"/>
                </a:cubicBezTo>
                <a:cubicBezTo>
                  <a:pt x="1629067" y="3958632"/>
                  <a:pt x="1631165" y="3976342"/>
                  <a:pt x="1632855" y="3989399"/>
                </a:cubicBezTo>
                <a:cubicBezTo>
                  <a:pt x="1634574" y="4002674"/>
                  <a:pt x="1634178" y="4013140"/>
                  <a:pt x="1631957" y="4013140"/>
                </a:cubicBezTo>
                <a:cubicBezTo>
                  <a:pt x="1622428" y="4013140"/>
                  <a:pt x="1608547" y="3992280"/>
                  <a:pt x="1608547" y="3977962"/>
                </a:cubicBezTo>
                <a:cubicBezTo>
                  <a:pt x="1608547" y="3969454"/>
                  <a:pt x="1606463" y="3962493"/>
                  <a:pt x="1603916" y="3962493"/>
                </a:cubicBezTo>
                <a:cubicBezTo>
                  <a:pt x="1601369" y="3962493"/>
                  <a:pt x="1600693" y="3959196"/>
                  <a:pt x="1602413" y="3955165"/>
                </a:cubicBezTo>
                <a:cubicBezTo>
                  <a:pt x="1604547" y="3950166"/>
                  <a:pt x="1602608" y="3948948"/>
                  <a:pt x="1596313" y="3951331"/>
                </a:cubicBezTo>
                <a:cubicBezTo>
                  <a:pt x="1589579" y="3953881"/>
                  <a:pt x="1585069" y="3950297"/>
                  <a:pt x="1579635" y="3938084"/>
                </a:cubicBezTo>
                <a:cubicBezTo>
                  <a:pt x="1575539" y="3928876"/>
                  <a:pt x="1569545" y="3919064"/>
                  <a:pt x="1566316" y="3916280"/>
                </a:cubicBezTo>
                <a:cubicBezTo>
                  <a:pt x="1563087" y="3913495"/>
                  <a:pt x="1560382" y="3903524"/>
                  <a:pt x="1560307" y="3894122"/>
                </a:cubicBezTo>
                <a:cubicBezTo>
                  <a:pt x="1560115" y="3870440"/>
                  <a:pt x="1542195" y="3842024"/>
                  <a:pt x="1530293" y="3846530"/>
                </a:cubicBezTo>
                <a:cubicBezTo>
                  <a:pt x="1517387" y="3851416"/>
                  <a:pt x="1518670" y="3838281"/>
                  <a:pt x="1532819" y="3820661"/>
                </a:cubicBezTo>
                <a:cubicBezTo>
                  <a:pt x="1544538" y="3806067"/>
                  <a:pt x="1544542" y="3806029"/>
                  <a:pt x="1536987" y="3782979"/>
                </a:cubicBezTo>
                <a:cubicBezTo>
                  <a:pt x="1530753" y="3763960"/>
                  <a:pt x="1527108" y="3759906"/>
                  <a:pt x="1516242" y="3759906"/>
                </a:cubicBezTo>
                <a:cubicBezTo>
                  <a:pt x="1503186" y="3759906"/>
                  <a:pt x="1503088" y="3759648"/>
                  <a:pt x="1505885" y="3732637"/>
                </a:cubicBezTo>
                <a:cubicBezTo>
                  <a:pt x="1509108" y="3701524"/>
                  <a:pt x="1501545" y="3686337"/>
                  <a:pt x="1486312" y="3693337"/>
                </a:cubicBezTo>
                <a:cubicBezTo>
                  <a:pt x="1477958" y="3697175"/>
                  <a:pt x="1451344" y="3676788"/>
                  <a:pt x="1447478" y="3663589"/>
                </a:cubicBezTo>
                <a:cubicBezTo>
                  <a:pt x="1446676" y="3660852"/>
                  <a:pt x="1443232" y="3658612"/>
                  <a:pt x="1439825" y="3658612"/>
                </a:cubicBezTo>
                <a:cubicBezTo>
                  <a:pt x="1429673" y="3658612"/>
                  <a:pt x="1432795" y="3646096"/>
                  <a:pt x="1444562" y="3639619"/>
                </a:cubicBezTo>
                <a:cubicBezTo>
                  <a:pt x="1450575" y="3636310"/>
                  <a:pt x="1455495" y="3629090"/>
                  <a:pt x="1455495" y="3623575"/>
                </a:cubicBezTo>
                <a:cubicBezTo>
                  <a:pt x="1455495" y="3617656"/>
                  <a:pt x="1457734" y="3615176"/>
                  <a:pt x="1460961" y="3617522"/>
                </a:cubicBezTo>
                <a:cubicBezTo>
                  <a:pt x="1463968" y="3619706"/>
                  <a:pt x="1460312" y="3613464"/>
                  <a:pt x="1452837" y="3603651"/>
                </a:cubicBezTo>
                <a:cubicBezTo>
                  <a:pt x="1442928" y="3590641"/>
                  <a:pt x="1438581" y="3578327"/>
                  <a:pt x="1436789" y="3558195"/>
                </a:cubicBezTo>
                <a:cubicBezTo>
                  <a:pt x="1433074" y="3516449"/>
                  <a:pt x="1404079" y="3477046"/>
                  <a:pt x="1396928" y="3504024"/>
                </a:cubicBezTo>
                <a:cubicBezTo>
                  <a:pt x="1392375" y="3521202"/>
                  <a:pt x="1393960" y="3531540"/>
                  <a:pt x="1403198" y="3544914"/>
                </a:cubicBezTo>
                <a:cubicBezTo>
                  <a:pt x="1410061" y="3554850"/>
                  <a:pt x="1412379" y="3567442"/>
                  <a:pt x="1413240" y="3599452"/>
                </a:cubicBezTo>
                <a:cubicBezTo>
                  <a:pt x="1414062" y="3630005"/>
                  <a:pt x="1416340" y="3643168"/>
                  <a:pt x="1421808" y="3648957"/>
                </a:cubicBezTo>
                <a:cubicBezTo>
                  <a:pt x="1429750" y="3657364"/>
                  <a:pt x="1431902" y="3671274"/>
                  <a:pt x="1425263" y="3671274"/>
                </a:cubicBezTo>
                <a:cubicBezTo>
                  <a:pt x="1423045" y="3671274"/>
                  <a:pt x="1422690" y="3679020"/>
                  <a:pt x="1424464" y="3688684"/>
                </a:cubicBezTo>
                <a:cubicBezTo>
                  <a:pt x="1426515" y="3699859"/>
                  <a:pt x="1431077" y="3706818"/>
                  <a:pt x="1437204" y="3708117"/>
                </a:cubicBezTo>
                <a:cubicBezTo>
                  <a:pt x="1444851" y="3709737"/>
                  <a:pt x="1446749" y="3714383"/>
                  <a:pt x="1446749" y="3731484"/>
                </a:cubicBezTo>
                <a:cubicBezTo>
                  <a:pt x="1446749" y="3743223"/>
                  <a:pt x="1448948" y="3754796"/>
                  <a:pt x="1451637" y="3757202"/>
                </a:cubicBezTo>
                <a:cubicBezTo>
                  <a:pt x="1454723" y="3759963"/>
                  <a:pt x="1455559" y="3771776"/>
                  <a:pt x="1453905" y="3789250"/>
                </a:cubicBezTo>
                <a:cubicBezTo>
                  <a:pt x="1451711" y="3812432"/>
                  <a:pt x="1452692" y="3818195"/>
                  <a:pt x="1459949" y="3824758"/>
                </a:cubicBezTo>
                <a:cubicBezTo>
                  <a:pt x="1464715" y="3829066"/>
                  <a:pt x="1468613" y="3835830"/>
                  <a:pt x="1468613" y="3839789"/>
                </a:cubicBezTo>
                <a:cubicBezTo>
                  <a:pt x="1468613" y="3843748"/>
                  <a:pt x="1471702" y="3850699"/>
                  <a:pt x="1475477" y="3855234"/>
                </a:cubicBezTo>
                <a:cubicBezTo>
                  <a:pt x="1479252" y="3859769"/>
                  <a:pt x="1481517" y="3868037"/>
                  <a:pt x="1480511" y="3873606"/>
                </a:cubicBezTo>
                <a:cubicBezTo>
                  <a:pt x="1478594" y="3884222"/>
                  <a:pt x="1486874" y="3899185"/>
                  <a:pt x="1494666" y="3899185"/>
                </a:cubicBezTo>
                <a:cubicBezTo>
                  <a:pt x="1497173" y="3899185"/>
                  <a:pt x="1499224" y="3909090"/>
                  <a:pt x="1499224" y="3921197"/>
                </a:cubicBezTo>
                <a:cubicBezTo>
                  <a:pt x="1499224" y="3937382"/>
                  <a:pt x="1501973" y="3945817"/>
                  <a:pt x="1509610" y="3953061"/>
                </a:cubicBezTo>
                <a:cubicBezTo>
                  <a:pt x="1519932" y="3962853"/>
                  <a:pt x="1524025" y="3990773"/>
                  <a:pt x="1516169" y="3997802"/>
                </a:cubicBezTo>
                <a:cubicBezTo>
                  <a:pt x="1514065" y="3999685"/>
                  <a:pt x="1512343" y="3998208"/>
                  <a:pt x="1512343" y="3994521"/>
                </a:cubicBezTo>
                <a:cubicBezTo>
                  <a:pt x="1512343" y="3990833"/>
                  <a:pt x="1509604" y="3987817"/>
                  <a:pt x="1506257" y="3987817"/>
                </a:cubicBezTo>
                <a:cubicBezTo>
                  <a:pt x="1502911" y="3987817"/>
                  <a:pt x="1499039" y="3981284"/>
                  <a:pt x="1497656" y="3973300"/>
                </a:cubicBezTo>
                <a:cubicBezTo>
                  <a:pt x="1496096" y="3964303"/>
                  <a:pt x="1488706" y="3954673"/>
                  <a:pt x="1478220" y="3947976"/>
                </a:cubicBezTo>
                <a:cubicBezTo>
                  <a:pt x="1456305" y="3933979"/>
                  <a:pt x="1452330" y="3934348"/>
                  <a:pt x="1448741" y="3950719"/>
                </a:cubicBezTo>
                <a:cubicBezTo>
                  <a:pt x="1446440" y="3961216"/>
                  <a:pt x="1449383" y="3969058"/>
                  <a:pt x="1461808" y="3985538"/>
                </a:cubicBezTo>
                <a:cubicBezTo>
                  <a:pt x="1470629" y="3997237"/>
                  <a:pt x="1479463" y="4006809"/>
                  <a:pt x="1481440" y="4006809"/>
                </a:cubicBezTo>
                <a:cubicBezTo>
                  <a:pt x="1487212" y="4006809"/>
                  <a:pt x="1493425" y="4021174"/>
                  <a:pt x="1496501" y="4041629"/>
                </a:cubicBezTo>
                <a:cubicBezTo>
                  <a:pt x="1499066" y="4058676"/>
                  <a:pt x="1498736" y="4059475"/>
                  <a:pt x="1493287" y="4049433"/>
                </a:cubicBezTo>
                <a:cubicBezTo>
                  <a:pt x="1482027" y="4028678"/>
                  <a:pt x="1472986" y="4042419"/>
                  <a:pt x="1472986" y="4080292"/>
                </a:cubicBezTo>
                <a:cubicBezTo>
                  <a:pt x="1472986" y="4117150"/>
                  <a:pt x="1471933" y="4118339"/>
                  <a:pt x="1442104" y="4115143"/>
                </a:cubicBezTo>
                <a:cubicBezTo>
                  <a:pt x="1435256" y="4114409"/>
                  <a:pt x="1426158" y="4120305"/>
                  <a:pt x="1418702" y="4130309"/>
                </a:cubicBezTo>
                <a:lnTo>
                  <a:pt x="1406504" y="4146676"/>
                </a:lnTo>
                <a:lnTo>
                  <a:pt x="1417881" y="4160828"/>
                </a:lnTo>
                <a:cubicBezTo>
                  <a:pt x="1424138" y="4168612"/>
                  <a:pt x="1429257" y="4177765"/>
                  <a:pt x="1429257" y="4181169"/>
                </a:cubicBezTo>
                <a:cubicBezTo>
                  <a:pt x="1429257" y="4184573"/>
                  <a:pt x="1433193" y="4190917"/>
                  <a:pt x="1438003" y="4195266"/>
                </a:cubicBezTo>
                <a:cubicBezTo>
                  <a:pt x="1447662" y="4204000"/>
                  <a:pt x="1449888" y="4222114"/>
                  <a:pt x="1441283" y="4221961"/>
                </a:cubicBezTo>
                <a:cubicBezTo>
                  <a:pt x="1432591" y="4221807"/>
                  <a:pt x="1426304" y="4213680"/>
                  <a:pt x="1422992" y="4198318"/>
                </a:cubicBezTo>
                <a:cubicBezTo>
                  <a:pt x="1421198" y="4189993"/>
                  <a:pt x="1416410" y="4184073"/>
                  <a:pt x="1411471" y="4184073"/>
                </a:cubicBezTo>
                <a:cubicBezTo>
                  <a:pt x="1406287" y="4184073"/>
                  <a:pt x="1403020" y="4179722"/>
                  <a:pt x="1403020" y="4172819"/>
                </a:cubicBezTo>
                <a:cubicBezTo>
                  <a:pt x="1403020" y="4161295"/>
                  <a:pt x="1385964" y="4135643"/>
                  <a:pt x="1380062" y="4138288"/>
                </a:cubicBezTo>
                <a:cubicBezTo>
                  <a:pt x="1378258" y="4139096"/>
                  <a:pt x="1376782" y="4135484"/>
                  <a:pt x="1376782" y="4130261"/>
                </a:cubicBezTo>
                <a:cubicBezTo>
                  <a:pt x="1376782" y="4125038"/>
                  <a:pt x="1373179" y="4120765"/>
                  <a:pt x="1368775" y="4120765"/>
                </a:cubicBezTo>
                <a:cubicBezTo>
                  <a:pt x="1356373" y="4120765"/>
                  <a:pt x="1348483" y="4094119"/>
                  <a:pt x="1354046" y="4071017"/>
                </a:cubicBezTo>
                <a:cubicBezTo>
                  <a:pt x="1357615" y="4056193"/>
                  <a:pt x="1357295" y="4050278"/>
                  <a:pt x="1352620" y="4044661"/>
                </a:cubicBezTo>
                <a:cubicBezTo>
                  <a:pt x="1342683" y="4032721"/>
                  <a:pt x="1331004" y="4040005"/>
                  <a:pt x="1329483" y="4059093"/>
                </a:cubicBezTo>
                <a:cubicBezTo>
                  <a:pt x="1328273" y="4074272"/>
                  <a:pt x="1324663" y="4078966"/>
                  <a:pt x="1315264" y="4077582"/>
                </a:cubicBezTo>
                <a:cubicBezTo>
                  <a:pt x="1310380" y="4076864"/>
                  <a:pt x="1316632" y="4114170"/>
                  <a:pt x="1322597" y="4121336"/>
                </a:cubicBezTo>
                <a:cubicBezTo>
                  <a:pt x="1325942" y="4125357"/>
                  <a:pt x="1328680" y="4133646"/>
                  <a:pt x="1328680" y="4139757"/>
                </a:cubicBezTo>
                <a:cubicBezTo>
                  <a:pt x="1328680" y="4145869"/>
                  <a:pt x="1331631" y="4154415"/>
                  <a:pt x="1335239" y="4158750"/>
                </a:cubicBezTo>
                <a:cubicBezTo>
                  <a:pt x="1338847" y="4163085"/>
                  <a:pt x="1341799" y="4173405"/>
                  <a:pt x="1341799" y="4181683"/>
                </a:cubicBezTo>
                <a:cubicBezTo>
                  <a:pt x="1341799" y="4189961"/>
                  <a:pt x="1343766" y="4196735"/>
                  <a:pt x="1346172" y="4196735"/>
                </a:cubicBezTo>
                <a:cubicBezTo>
                  <a:pt x="1348577" y="4196735"/>
                  <a:pt x="1350544" y="4201008"/>
                  <a:pt x="1350544" y="4206232"/>
                </a:cubicBezTo>
                <a:cubicBezTo>
                  <a:pt x="1350544" y="4211454"/>
                  <a:pt x="1352242" y="4215728"/>
                  <a:pt x="1354316" y="4215728"/>
                </a:cubicBezTo>
                <a:cubicBezTo>
                  <a:pt x="1359967" y="4215728"/>
                  <a:pt x="1364711" y="4286383"/>
                  <a:pt x="1359560" y="4293840"/>
                </a:cubicBezTo>
                <a:cubicBezTo>
                  <a:pt x="1356667" y="4298027"/>
                  <a:pt x="1354165" y="4296068"/>
                  <a:pt x="1352111" y="4288008"/>
                </a:cubicBezTo>
                <a:cubicBezTo>
                  <a:pt x="1350410" y="4281333"/>
                  <a:pt x="1346409" y="4273593"/>
                  <a:pt x="1343221" y="4270808"/>
                </a:cubicBezTo>
                <a:cubicBezTo>
                  <a:pt x="1340034" y="4268023"/>
                  <a:pt x="1337426" y="4260357"/>
                  <a:pt x="1337426" y="4253772"/>
                </a:cubicBezTo>
                <a:cubicBezTo>
                  <a:pt x="1337426" y="4247186"/>
                  <a:pt x="1335458" y="4240037"/>
                  <a:pt x="1333053" y="4237886"/>
                </a:cubicBezTo>
                <a:cubicBezTo>
                  <a:pt x="1330648" y="4235734"/>
                  <a:pt x="1328680" y="4228841"/>
                  <a:pt x="1328680" y="4222568"/>
                </a:cubicBezTo>
                <a:cubicBezTo>
                  <a:pt x="1328680" y="4216296"/>
                  <a:pt x="1323647" y="4200428"/>
                  <a:pt x="1317496" y="4187305"/>
                </a:cubicBezTo>
                <a:cubicBezTo>
                  <a:pt x="1311345" y="4174183"/>
                  <a:pt x="1307348" y="4159541"/>
                  <a:pt x="1308613" y="4154767"/>
                </a:cubicBezTo>
                <a:cubicBezTo>
                  <a:pt x="1309878" y="4149994"/>
                  <a:pt x="1309150" y="4146088"/>
                  <a:pt x="1306994" y="4146088"/>
                </a:cubicBezTo>
                <a:cubicBezTo>
                  <a:pt x="1304839" y="4146088"/>
                  <a:pt x="1299602" y="4134692"/>
                  <a:pt x="1295358" y="4120765"/>
                </a:cubicBezTo>
                <a:cubicBezTo>
                  <a:pt x="1291113" y="4106837"/>
                  <a:pt x="1286051" y="4095441"/>
                  <a:pt x="1284109" y="4095441"/>
                </a:cubicBezTo>
                <a:cubicBezTo>
                  <a:pt x="1282167" y="4095441"/>
                  <a:pt x="1280578" y="4091517"/>
                  <a:pt x="1280578" y="4086720"/>
                </a:cubicBezTo>
                <a:cubicBezTo>
                  <a:pt x="1280578" y="4081923"/>
                  <a:pt x="1277627" y="4074453"/>
                  <a:pt x="1274018" y="4070118"/>
                </a:cubicBezTo>
                <a:cubicBezTo>
                  <a:pt x="1270410" y="4065783"/>
                  <a:pt x="1267425" y="4054751"/>
                  <a:pt x="1267383" y="4045602"/>
                </a:cubicBezTo>
                <a:cubicBezTo>
                  <a:pt x="1267307" y="4028781"/>
                  <a:pt x="1254172" y="4006148"/>
                  <a:pt x="1240129" y="3998638"/>
                </a:cubicBezTo>
                <a:cubicBezTo>
                  <a:pt x="1235919" y="3996387"/>
                  <a:pt x="1232476" y="3988961"/>
                  <a:pt x="1232476" y="3982137"/>
                </a:cubicBezTo>
                <a:cubicBezTo>
                  <a:pt x="1232476" y="3962494"/>
                  <a:pt x="1220354" y="3949831"/>
                  <a:pt x="1201553" y="3949831"/>
                </a:cubicBezTo>
                <a:cubicBezTo>
                  <a:pt x="1183145" y="3949831"/>
                  <a:pt x="1179938" y="3942097"/>
                  <a:pt x="1191004" y="3924394"/>
                </a:cubicBezTo>
                <a:cubicBezTo>
                  <a:pt x="1196019" y="3916371"/>
                  <a:pt x="1196776" y="3907769"/>
                  <a:pt x="1194112" y="3889076"/>
                </a:cubicBezTo>
                <a:cubicBezTo>
                  <a:pt x="1191174" y="3868470"/>
                  <a:pt x="1188620" y="3864032"/>
                  <a:pt x="1178736" y="3862362"/>
                </a:cubicBezTo>
                <a:cubicBezTo>
                  <a:pt x="1167843" y="3860521"/>
                  <a:pt x="1166882" y="3862153"/>
                  <a:pt x="1166882" y="3882485"/>
                </a:cubicBezTo>
                <a:cubicBezTo>
                  <a:pt x="1166882" y="3894654"/>
                  <a:pt x="1169833" y="3908885"/>
                  <a:pt x="1173441" y="3914107"/>
                </a:cubicBezTo>
                <a:cubicBezTo>
                  <a:pt x="1181913" y="3926373"/>
                  <a:pt x="1181753" y="3928302"/>
                  <a:pt x="1170962" y="3943924"/>
                </a:cubicBezTo>
                <a:cubicBezTo>
                  <a:pt x="1163777" y="3954326"/>
                  <a:pt x="1162990" y="3958870"/>
                  <a:pt x="1167124" y="3966082"/>
                </a:cubicBezTo>
                <a:cubicBezTo>
                  <a:pt x="1169985" y="3971072"/>
                  <a:pt x="1175922" y="3975155"/>
                  <a:pt x="1180319" y="3975155"/>
                </a:cubicBezTo>
                <a:cubicBezTo>
                  <a:pt x="1184715" y="3975155"/>
                  <a:pt x="1189885" y="3978721"/>
                  <a:pt x="1191809" y="3983079"/>
                </a:cubicBezTo>
                <a:cubicBezTo>
                  <a:pt x="1193732" y="3987437"/>
                  <a:pt x="1200405" y="3994799"/>
                  <a:pt x="1206636" y="3999437"/>
                </a:cubicBezTo>
                <a:cubicBezTo>
                  <a:pt x="1215472" y="4006015"/>
                  <a:pt x="1218100" y="4012974"/>
                  <a:pt x="1218569" y="4031037"/>
                </a:cubicBezTo>
                <a:cubicBezTo>
                  <a:pt x="1218899" y="4043777"/>
                  <a:pt x="1221215" y="4055188"/>
                  <a:pt x="1223715" y="4056394"/>
                </a:cubicBezTo>
                <a:cubicBezTo>
                  <a:pt x="1226214" y="4057600"/>
                  <a:pt x="1231175" y="4062809"/>
                  <a:pt x="1234740" y="4067970"/>
                </a:cubicBezTo>
                <a:cubicBezTo>
                  <a:pt x="1240530" y="4076353"/>
                  <a:pt x="1241690" y="4084387"/>
                  <a:pt x="1243044" y="4125505"/>
                </a:cubicBezTo>
                <a:cubicBezTo>
                  <a:pt x="1243268" y="4132318"/>
                  <a:pt x="1240234" y="4136578"/>
                  <a:pt x="1235153" y="4136583"/>
                </a:cubicBezTo>
                <a:cubicBezTo>
                  <a:pt x="1223754" y="4136596"/>
                  <a:pt x="1215032" y="4157179"/>
                  <a:pt x="1223274" y="4164622"/>
                </a:cubicBezTo>
                <a:cubicBezTo>
                  <a:pt x="1233075" y="4173473"/>
                  <a:pt x="1225614" y="4192124"/>
                  <a:pt x="1214344" y="4186944"/>
                </a:cubicBezTo>
                <a:cubicBezTo>
                  <a:pt x="1206748" y="4183454"/>
                  <a:pt x="1205459" y="4184665"/>
                  <a:pt x="1207713" y="4193168"/>
                </a:cubicBezTo>
                <a:cubicBezTo>
                  <a:pt x="1209359" y="4199378"/>
                  <a:pt x="1208731" y="4202131"/>
                  <a:pt x="1206188" y="4199856"/>
                </a:cubicBezTo>
                <a:cubicBezTo>
                  <a:pt x="1203811" y="4197729"/>
                  <a:pt x="1201865" y="4200711"/>
                  <a:pt x="1201865" y="4206484"/>
                </a:cubicBezTo>
                <a:cubicBezTo>
                  <a:pt x="1201865" y="4219051"/>
                  <a:pt x="1226414" y="4253713"/>
                  <a:pt x="1235316" y="4253713"/>
                </a:cubicBezTo>
                <a:cubicBezTo>
                  <a:pt x="1238775" y="4253713"/>
                  <a:pt x="1241285" y="4257274"/>
                  <a:pt x="1240895" y="4261626"/>
                </a:cubicBezTo>
                <a:cubicBezTo>
                  <a:pt x="1239252" y="4279944"/>
                  <a:pt x="1241824" y="4285367"/>
                  <a:pt x="1252153" y="4285367"/>
                </a:cubicBezTo>
                <a:cubicBezTo>
                  <a:pt x="1259084" y="4285367"/>
                  <a:pt x="1263086" y="4288938"/>
                  <a:pt x="1263086" y="4295120"/>
                </a:cubicBezTo>
                <a:cubicBezTo>
                  <a:pt x="1263086" y="4302596"/>
                  <a:pt x="1258748" y="4304541"/>
                  <a:pt x="1244501" y="4303451"/>
                </a:cubicBezTo>
                <a:cubicBezTo>
                  <a:pt x="1223712" y="4301861"/>
                  <a:pt x="1210611" y="4292883"/>
                  <a:pt x="1210611" y="4280227"/>
                </a:cubicBezTo>
                <a:cubicBezTo>
                  <a:pt x="1210611" y="4275593"/>
                  <a:pt x="1207641" y="4267502"/>
                  <a:pt x="1204011" y="4262246"/>
                </a:cubicBezTo>
                <a:cubicBezTo>
                  <a:pt x="1200382" y="4256991"/>
                  <a:pt x="1198357" y="4250477"/>
                  <a:pt x="1199513" y="4247770"/>
                </a:cubicBezTo>
                <a:cubicBezTo>
                  <a:pt x="1200669" y="4245063"/>
                  <a:pt x="1192991" y="4229251"/>
                  <a:pt x="1182452" y="4212632"/>
                </a:cubicBezTo>
                <a:cubicBezTo>
                  <a:pt x="1165571" y="4186013"/>
                  <a:pt x="1161818" y="4182951"/>
                  <a:pt x="1150918" y="4186912"/>
                </a:cubicBezTo>
                <a:cubicBezTo>
                  <a:pt x="1144113" y="4189385"/>
                  <a:pt x="1137080" y="4194744"/>
                  <a:pt x="1135289" y="4198820"/>
                </a:cubicBezTo>
                <a:cubicBezTo>
                  <a:pt x="1129071" y="4212971"/>
                  <a:pt x="1131844" y="4240278"/>
                  <a:pt x="1140378" y="4248933"/>
                </a:cubicBezTo>
                <a:cubicBezTo>
                  <a:pt x="1145042" y="4253662"/>
                  <a:pt x="1149578" y="4265309"/>
                  <a:pt x="1150457" y="4274815"/>
                </a:cubicBezTo>
                <a:cubicBezTo>
                  <a:pt x="1151337" y="4284321"/>
                  <a:pt x="1155392" y="4297739"/>
                  <a:pt x="1159469" y="4304632"/>
                </a:cubicBezTo>
                <a:cubicBezTo>
                  <a:pt x="1163546" y="4311526"/>
                  <a:pt x="1166882" y="4321153"/>
                  <a:pt x="1166882" y="4326027"/>
                </a:cubicBezTo>
                <a:cubicBezTo>
                  <a:pt x="1166882" y="4330901"/>
                  <a:pt x="1172786" y="4342080"/>
                  <a:pt x="1180000" y="4350870"/>
                </a:cubicBezTo>
                <a:cubicBezTo>
                  <a:pt x="1187216" y="4359659"/>
                  <a:pt x="1193119" y="4369015"/>
                  <a:pt x="1193119" y="4371661"/>
                </a:cubicBezTo>
                <a:cubicBezTo>
                  <a:pt x="1193119" y="4374307"/>
                  <a:pt x="1198254" y="4384231"/>
                  <a:pt x="1204529" y="4393713"/>
                </a:cubicBezTo>
                <a:cubicBezTo>
                  <a:pt x="1215886" y="4410876"/>
                  <a:pt x="1215312" y="4428613"/>
                  <a:pt x="1203609" y="4422111"/>
                </a:cubicBezTo>
                <a:cubicBezTo>
                  <a:pt x="1200245" y="4420242"/>
                  <a:pt x="1197492" y="4421472"/>
                  <a:pt x="1197492" y="4424845"/>
                </a:cubicBezTo>
                <a:cubicBezTo>
                  <a:pt x="1197492" y="4432023"/>
                  <a:pt x="1181420" y="4433200"/>
                  <a:pt x="1178586" y="4426228"/>
                </a:cubicBezTo>
                <a:cubicBezTo>
                  <a:pt x="1177525" y="4423618"/>
                  <a:pt x="1175285" y="4412222"/>
                  <a:pt x="1173608" y="4400905"/>
                </a:cubicBezTo>
                <a:cubicBezTo>
                  <a:pt x="1171931" y="4389589"/>
                  <a:pt x="1169196" y="4380330"/>
                  <a:pt x="1167529" y="4380330"/>
                </a:cubicBezTo>
                <a:cubicBezTo>
                  <a:pt x="1165862" y="4380330"/>
                  <a:pt x="1160820" y="4370440"/>
                  <a:pt x="1156323" y="4358354"/>
                </a:cubicBezTo>
                <a:cubicBezTo>
                  <a:pt x="1151827" y="4346267"/>
                  <a:pt x="1146459" y="4337888"/>
                  <a:pt x="1144396" y="4339735"/>
                </a:cubicBezTo>
                <a:cubicBezTo>
                  <a:pt x="1142333" y="4341581"/>
                  <a:pt x="1140644" y="4340248"/>
                  <a:pt x="1140644" y="4336772"/>
                </a:cubicBezTo>
                <a:cubicBezTo>
                  <a:pt x="1140644" y="4333295"/>
                  <a:pt x="1132281" y="4330990"/>
                  <a:pt x="1122060" y="4331650"/>
                </a:cubicBezTo>
                <a:cubicBezTo>
                  <a:pt x="1108087" y="4332551"/>
                  <a:pt x="1103474" y="4330492"/>
                  <a:pt x="1103474" y="4323352"/>
                </a:cubicBezTo>
                <a:cubicBezTo>
                  <a:pt x="1103474" y="4317790"/>
                  <a:pt x="1108272" y="4313052"/>
                  <a:pt x="1115054" y="4311915"/>
                </a:cubicBezTo>
                <a:cubicBezTo>
                  <a:pt x="1128371" y="4309683"/>
                  <a:pt x="1134241" y="4289732"/>
                  <a:pt x="1124887" y="4278494"/>
                </a:cubicBezTo>
                <a:cubicBezTo>
                  <a:pt x="1121528" y="4274458"/>
                  <a:pt x="1118779" y="4267231"/>
                  <a:pt x="1118779" y="4262434"/>
                </a:cubicBezTo>
                <a:cubicBezTo>
                  <a:pt x="1118779" y="4257638"/>
                  <a:pt x="1116812" y="4253713"/>
                  <a:pt x="1114407" y="4253713"/>
                </a:cubicBezTo>
                <a:cubicBezTo>
                  <a:pt x="1112001" y="4253713"/>
                  <a:pt x="1110034" y="4249745"/>
                  <a:pt x="1110034" y="4244894"/>
                </a:cubicBezTo>
                <a:cubicBezTo>
                  <a:pt x="1110034" y="4240043"/>
                  <a:pt x="1106980" y="4234379"/>
                  <a:pt x="1103247" y="4232305"/>
                </a:cubicBezTo>
                <a:cubicBezTo>
                  <a:pt x="1098848" y="4229860"/>
                  <a:pt x="1097550" y="4231086"/>
                  <a:pt x="1099558" y="4235790"/>
                </a:cubicBezTo>
                <a:cubicBezTo>
                  <a:pt x="1101683" y="4240769"/>
                  <a:pt x="1099562" y="4241874"/>
                  <a:pt x="1092793" y="4239312"/>
                </a:cubicBezTo>
                <a:cubicBezTo>
                  <a:pt x="1084258" y="4236081"/>
                  <a:pt x="1083326" y="4237437"/>
                  <a:pt x="1085867" y="4249394"/>
                </a:cubicBezTo>
                <a:cubicBezTo>
                  <a:pt x="1089276" y="4265439"/>
                  <a:pt x="1089254" y="4268861"/>
                  <a:pt x="1085559" y="4296446"/>
                </a:cubicBezTo>
                <a:cubicBezTo>
                  <a:pt x="1084044" y="4307763"/>
                  <a:pt x="1081284" y="4317021"/>
                  <a:pt x="1079427" y="4317021"/>
                </a:cubicBezTo>
                <a:cubicBezTo>
                  <a:pt x="1066480" y="4317021"/>
                  <a:pt x="1026948" y="4271870"/>
                  <a:pt x="1026948" y="4257083"/>
                </a:cubicBezTo>
                <a:cubicBezTo>
                  <a:pt x="1026948" y="4251523"/>
                  <a:pt x="1023504" y="4244929"/>
                  <a:pt x="1019295" y="4242429"/>
                </a:cubicBezTo>
                <a:cubicBezTo>
                  <a:pt x="1015087" y="4239930"/>
                  <a:pt x="1011367" y="4235037"/>
                  <a:pt x="1011029" y="4231555"/>
                </a:cubicBezTo>
                <a:cubicBezTo>
                  <a:pt x="1010691" y="4228073"/>
                  <a:pt x="1009059" y="4215966"/>
                  <a:pt x="1007402" y="4204648"/>
                </a:cubicBezTo>
                <a:cubicBezTo>
                  <a:pt x="1005630" y="4192550"/>
                  <a:pt x="1006141" y="4184073"/>
                  <a:pt x="1008641" y="4184073"/>
                </a:cubicBezTo>
                <a:cubicBezTo>
                  <a:pt x="1017991" y="4184073"/>
                  <a:pt x="1017850" y="4163144"/>
                  <a:pt x="1008391" y="4147050"/>
                </a:cubicBezTo>
                <a:cubicBezTo>
                  <a:pt x="1001455" y="4135249"/>
                  <a:pt x="995116" y="4130833"/>
                  <a:pt x="987053" y="4132187"/>
                </a:cubicBezTo>
                <a:cubicBezTo>
                  <a:pt x="976259" y="4133999"/>
                  <a:pt x="975609" y="4132580"/>
                  <a:pt x="976052" y="4108153"/>
                </a:cubicBezTo>
                <a:cubicBezTo>
                  <a:pt x="976310" y="4093877"/>
                  <a:pt x="974249" y="4080161"/>
                  <a:pt x="971471" y="4077676"/>
                </a:cubicBezTo>
                <a:cubicBezTo>
                  <a:pt x="968693" y="4075190"/>
                  <a:pt x="965067" y="4065351"/>
                  <a:pt x="963413" y="4055810"/>
                </a:cubicBezTo>
                <a:cubicBezTo>
                  <a:pt x="961760" y="4046270"/>
                  <a:pt x="959132" y="4038463"/>
                  <a:pt x="957575" y="4038463"/>
                </a:cubicBezTo>
                <a:cubicBezTo>
                  <a:pt x="956018" y="4038463"/>
                  <a:pt x="952070" y="4029721"/>
                  <a:pt x="948803" y="4019035"/>
                </a:cubicBezTo>
                <a:cubicBezTo>
                  <a:pt x="945536" y="4008350"/>
                  <a:pt x="938168" y="3992810"/>
                  <a:pt x="932430" y="3984503"/>
                </a:cubicBezTo>
                <a:cubicBezTo>
                  <a:pt x="926693" y="3976196"/>
                  <a:pt x="922028" y="3965709"/>
                  <a:pt x="922065" y="3961198"/>
                </a:cubicBezTo>
                <a:cubicBezTo>
                  <a:pt x="922113" y="3955348"/>
                  <a:pt x="923347" y="3955719"/>
                  <a:pt x="926371" y="3962493"/>
                </a:cubicBezTo>
                <a:cubicBezTo>
                  <a:pt x="928702" y="3967716"/>
                  <a:pt x="930640" y="3968777"/>
                  <a:pt x="930677" y="3964851"/>
                </a:cubicBezTo>
                <a:cubicBezTo>
                  <a:pt x="930712" y="3960925"/>
                  <a:pt x="927792" y="3954166"/>
                  <a:pt x="924185" y="3949831"/>
                </a:cubicBezTo>
                <a:cubicBezTo>
                  <a:pt x="920577" y="3945497"/>
                  <a:pt x="917625" y="3937043"/>
                  <a:pt x="917625" y="3931045"/>
                </a:cubicBezTo>
                <a:cubicBezTo>
                  <a:pt x="917625" y="3925047"/>
                  <a:pt x="913690" y="3914983"/>
                  <a:pt x="908879" y="3908681"/>
                </a:cubicBezTo>
                <a:cubicBezTo>
                  <a:pt x="903383" y="3901480"/>
                  <a:pt x="900133" y="3889182"/>
                  <a:pt x="900133" y="3875582"/>
                </a:cubicBezTo>
                <a:cubicBezTo>
                  <a:pt x="900133" y="3858345"/>
                  <a:pt x="896574" y="3849317"/>
                  <a:pt x="882642" y="3831209"/>
                </a:cubicBezTo>
                <a:cubicBezTo>
                  <a:pt x="868169" y="3812400"/>
                  <a:pt x="865150" y="3804400"/>
                  <a:pt x="865150" y="3784868"/>
                </a:cubicBezTo>
                <a:cubicBezTo>
                  <a:pt x="865150" y="3769724"/>
                  <a:pt x="862798" y="3759954"/>
                  <a:pt x="858591" y="3757617"/>
                </a:cubicBezTo>
                <a:cubicBezTo>
                  <a:pt x="853801" y="3754956"/>
                  <a:pt x="852031" y="3744046"/>
                  <a:pt x="852031" y="3717196"/>
                </a:cubicBezTo>
                <a:cubicBezTo>
                  <a:pt x="852031" y="3688253"/>
                  <a:pt x="850168" y="3678109"/>
                  <a:pt x="843285" y="3669577"/>
                </a:cubicBezTo>
                <a:cubicBezTo>
                  <a:pt x="838475" y="3663615"/>
                  <a:pt x="834539" y="3654266"/>
                  <a:pt x="834539" y="3648804"/>
                </a:cubicBezTo>
                <a:cubicBezTo>
                  <a:pt x="834539" y="3643341"/>
                  <a:pt x="832856" y="3640378"/>
                  <a:pt x="830798" y="3642220"/>
                </a:cubicBezTo>
                <a:cubicBezTo>
                  <a:pt x="828740" y="3644061"/>
                  <a:pt x="827979" y="3638584"/>
                  <a:pt x="829106" y="3630048"/>
                </a:cubicBezTo>
                <a:cubicBezTo>
                  <a:pt x="834347" y="3590360"/>
                  <a:pt x="815210" y="3564788"/>
                  <a:pt x="803657" y="3596041"/>
                </a:cubicBezTo>
                <a:cubicBezTo>
                  <a:pt x="798876" y="3608974"/>
                  <a:pt x="797959" y="3608378"/>
                  <a:pt x="777265" y="3578868"/>
                </a:cubicBezTo>
                <a:cubicBezTo>
                  <a:pt x="765474" y="3562055"/>
                  <a:pt x="755827" y="3544630"/>
                  <a:pt x="755827" y="3540146"/>
                </a:cubicBezTo>
                <a:cubicBezTo>
                  <a:pt x="755827" y="3535663"/>
                  <a:pt x="753859" y="3531995"/>
                  <a:pt x="751454" y="3531995"/>
                </a:cubicBezTo>
                <a:cubicBezTo>
                  <a:pt x="749049" y="3531995"/>
                  <a:pt x="747081" y="3524872"/>
                  <a:pt x="747081" y="3516168"/>
                </a:cubicBezTo>
                <a:cubicBezTo>
                  <a:pt x="747081" y="3497574"/>
                  <a:pt x="748340" y="3497095"/>
                  <a:pt x="762326" y="3510362"/>
                </a:cubicBezTo>
                <a:cubicBezTo>
                  <a:pt x="778495" y="3525700"/>
                  <a:pt x="791643" y="3516911"/>
                  <a:pt x="789966" y="3491886"/>
                </a:cubicBezTo>
                <a:cubicBezTo>
                  <a:pt x="788864" y="3475439"/>
                  <a:pt x="786080" y="3470767"/>
                  <a:pt x="774412" y="3465794"/>
                </a:cubicBezTo>
                <a:cubicBezTo>
                  <a:pt x="763726" y="3461240"/>
                  <a:pt x="760200" y="3456135"/>
                  <a:pt x="760200" y="3445219"/>
                </a:cubicBezTo>
                <a:cubicBezTo>
                  <a:pt x="760200" y="3437234"/>
                  <a:pt x="762819" y="3430701"/>
                  <a:pt x="766020" y="3430701"/>
                </a:cubicBezTo>
                <a:cubicBezTo>
                  <a:pt x="769221" y="3430701"/>
                  <a:pt x="774526" y="3423437"/>
                  <a:pt x="777808" y="3414557"/>
                </a:cubicBezTo>
                <a:cubicBezTo>
                  <a:pt x="783331" y="3399618"/>
                  <a:pt x="782853" y="3397265"/>
                  <a:pt x="771392" y="3383009"/>
                </a:cubicBezTo>
                <a:cubicBezTo>
                  <a:pt x="761301" y="3370454"/>
                  <a:pt x="759990" y="3365890"/>
                  <a:pt x="764313" y="3358350"/>
                </a:cubicBezTo>
                <a:cubicBezTo>
                  <a:pt x="767230" y="3353261"/>
                  <a:pt x="768974" y="3342530"/>
                  <a:pt x="768188" y="3334504"/>
                </a:cubicBezTo>
                <a:cubicBezTo>
                  <a:pt x="766066" y="3312831"/>
                  <a:pt x="745481" y="3313854"/>
                  <a:pt x="743360" y="3335738"/>
                </a:cubicBezTo>
                <a:cubicBezTo>
                  <a:pt x="741520" y="3354721"/>
                  <a:pt x="735798" y="3360835"/>
                  <a:pt x="719750" y="3360965"/>
                </a:cubicBezTo>
                <a:cubicBezTo>
                  <a:pt x="709951" y="3361044"/>
                  <a:pt x="707725" y="3363908"/>
                  <a:pt x="707725" y="3376437"/>
                </a:cubicBezTo>
                <a:cubicBezTo>
                  <a:pt x="707725" y="3393857"/>
                  <a:pt x="718119" y="3411709"/>
                  <a:pt x="728262" y="3411709"/>
                </a:cubicBezTo>
                <a:cubicBezTo>
                  <a:pt x="733538" y="3411709"/>
                  <a:pt x="734445" y="3416127"/>
                  <a:pt x="732322" y="3431493"/>
                </a:cubicBezTo>
                <a:cubicBezTo>
                  <a:pt x="730819" y="3442374"/>
                  <a:pt x="729589" y="3453769"/>
                  <a:pt x="729589" y="3456816"/>
                </a:cubicBezTo>
                <a:cubicBezTo>
                  <a:pt x="729589" y="3459863"/>
                  <a:pt x="725810" y="3462355"/>
                  <a:pt x="721191" y="3462355"/>
                </a:cubicBezTo>
                <a:cubicBezTo>
                  <a:pt x="715415" y="3462355"/>
                  <a:pt x="711893" y="3456425"/>
                  <a:pt x="709911" y="3443363"/>
                </a:cubicBezTo>
                <a:cubicBezTo>
                  <a:pt x="708327" y="3432917"/>
                  <a:pt x="705432" y="3424370"/>
                  <a:pt x="703479" y="3424370"/>
                </a:cubicBezTo>
                <a:cubicBezTo>
                  <a:pt x="701525" y="3424370"/>
                  <a:pt x="698777" y="3417736"/>
                  <a:pt x="697371" y="3409629"/>
                </a:cubicBezTo>
                <a:cubicBezTo>
                  <a:pt x="694864" y="3395169"/>
                  <a:pt x="674734" y="3376173"/>
                  <a:pt x="671316" y="3385041"/>
                </a:cubicBezTo>
                <a:cubicBezTo>
                  <a:pt x="666955" y="3396354"/>
                  <a:pt x="664197" y="3424370"/>
                  <a:pt x="667444" y="3424370"/>
                </a:cubicBezTo>
                <a:cubicBezTo>
                  <a:pt x="669431" y="3424370"/>
                  <a:pt x="674531" y="3435766"/>
                  <a:pt x="678776" y="3449694"/>
                </a:cubicBezTo>
                <a:cubicBezTo>
                  <a:pt x="683020" y="3463622"/>
                  <a:pt x="688092" y="3475017"/>
                  <a:pt x="690046" y="3475017"/>
                </a:cubicBezTo>
                <a:cubicBezTo>
                  <a:pt x="691999" y="3475017"/>
                  <a:pt x="694933" y="3490487"/>
                  <a:pt x="696565" y="3509394"/>
                </a:cubicBezTo>
                <a:cubicBezTo>
                  <a:pt x="698196" y="3528301"/>
                  <a:pt x="702359" y="3547168"/>
                  <a:pt x="705815" y="3551320"/>
                </a:cubicBezTo>
                <a:cubicBezTo>
                  <a:pt x="716194" y="3563791"/>
                  <a:pt x="713062" y="3571842"/>
                  <a:pt x="699374" y="3567879"/>
                </a:cubicBezTo>
                <a:cubicBezTo>
                  <a:pt x="690482" y="3565304"/>
                  <a:pt x="685915" y="3566972"/>
                  <a:pt x="684206" y="3573418"/>
                </a:cubicBezTo>
                <a:cubicBezTo>
                  <a:pt x="682862" y="3578492"/>
                  <a:pt x="676913" y="3582642"/>
                  <a:pt x="670986" y="3582642"/>
                </a:cubicBezTo>
                <a:cubicBezTo>
                  <a:pt x="655359" y="3582642"/>
                  <a:pt x="651685" y="3560461"/>
                  <a:pt x="664136" y="3541275"/>
                </a:cubicBezTo>
                <a:cubicBezTo>
                  <a:pt x="669477" y="3533043"/>
                  <a:pt x="672781" y="3522286"/>
                  <a:pt x="671478" y="3517368"/>
                </a:cubicBezTo>
                <a:cubicBezTo>
                  <a:pt x="668773" y="3507163"/>
                  <a:pt x="650877" y="3498485"/>
                  <a:pt x="650877" y="3507379"/>
                </a:cubicBezTo>
                <a:cubicBezTo>
                  <a:pt x="650877" y="3510598"/>
                  <a:pt x="642514" y="3512469"/>
                  <a:pt x="632292" y="3511535"/>
                </a:cubicBezTo>
                <a:cubicBezTo>
                  <a:pt x="615743" y="3510023"/>
                  <a:pt x="613548" y="3511455"/>
                  <a:pt x="612262" y="3524603"/>
                </a:cubicBezTo>
                <a:cubicBezTo>
                  <a:pt x="611467" y="3532725"/>
                  <a:pt x="613547" y="3544121"/>
                  <a:pt x="616883" y="3549927"/>
                </a:cubicBezTo>
                <a:cubicBezTo>
                  <a:pt x="641170" y="3592201"/>
                  <a:pt x="630436" y="3620939"/>
                  <a:pt x="604596" y="3582818"/>
                </a:cubicBezTo>
                <a:cubicBezTo>
                  <a:pt x="596294" y="3570568"/>
                  <a:pt x="587264" y="3563869"/>
                  <a:pt x="578723" y="3563624"/>
                </a:cubicBezTo>
                <a:cubicBezTo>
                  <a:pt x="557396" y="3563010"/>
                  <a:pt x="550299" y="3550762"/>
                  <a:pt x="550299" y="3514565"/>
                </a:cubicBezTo>
                <a:cubicBezTo>
                  <a:pt x="550299" y="3492083"/>
                  <a:pt x="548369" y="3481630"/>
                  <a:pt x="543740" y="3479059"/>
                </a:cubicBezTo>
                <a:cubicBezTo>
                  <a:pt x="540132" y="3477054"/>
                  <a:pt x="537180" y="3468203"/>
                  <a:pt x="537180" y="3459388"/>
                </a:cubicBezTo>
                <a:cubicBezTo>
                  <a:pt x="537180" y="3450575"/>
                  <a:pt x="535213" y="3443363"/>
                  <a:pt x="532807" y="3443363"/>
                </a:cubicBezTo>
                <a:cubicBezTo>
                  <a:pt x="530402" y="3443363"/>
                  <a:pt x="528435" y="3438313"/>
                  <a:pt x="528435" y="3432141"/>
                </a:cubicBezTo>
                <a:cubicBezTo>
                  <a:pt x="528435" y="3425969"/>
                  <a:pt x="520563" y="3411076"/>
                  <a:pt x="510943" y="3399047"/>
                </a:cubicBezTo>
                <a:cubicBezTo>
                  <a:pt x="501322" y="3387017"/>
                  <a:pt x="493451" y="3372475"/>
                  <a:pt x="493451" y="3366729"/>
                </a:cubicBezTo>
                <a:cubicBezTo>
                  <a:pt x="493451" y="3360983"/>
                  <a:pt x="490540" y="3352784"/>
                  <a:pt x="486983" y="3348509"/>
                </a:cubicBezTo>
                <a:cubicBezTo>
                  <a:pt x="478571" y="3338403"/>
                  <a:pt x="467214" y="3305262"/>
                  <a:pt x="467214" y="3290823"/>
                </a:cubicBezTo>
                <a:cubicBezTo>
                  <a:pt x="467214" y="3284600"/>
                  <a:pt x="465214" y="3277718"/>
                  <a:pt x="462770" y="3275532"/>
                </a:cubicBezTo>
                <a:cubicBezTo>
                  <a:pt x="460325" y="3273344"/>
                  <a:pt x="459294" y="3269284"/>
                  <a:pt x="460480" y="3266508"/>
                </a:cubicBezTo>
                <a:cubicBezTo>
                  <a:pt x="461665" y="3263732"/>
                  <a:pt x="458715" y="3256326"/>
                  <a:pt x="453925" y="3250050"/>
                </a:cubicBezTo>
                <a:cubicBezTo>
                  <a:pt x="449136" y="3243774"/>
                  <a:pt x="443990" y="3227531"/>
                  <a:pt x="442490" y="3213955"/>
                </a:cubicBezTo>
                <a:cubicBezTo>
                  <a:pt x="440714" y="3197875"/>
                  <a:pt x="436164" y="3185855"/>
                  <a:pt x="429437" y="3179475"/>
                </a:cubicBezTo>
                <a:cubicBezTo>
                  <a:pt x="420386" y="3170889"/>
                  <a:pt x="419111" y="3164737"/>
                  <a:pt x="419111" y="3129631"/>
                </a:cubicBezTo>
                <a:cubicBezTo>
                  <a:pt x="419111" y="3107604"/>
                  <a:pt x="417144" y="3087821"/>
                  <a:pt x="414739" y="3085670"/>
                </a:cubicBezTo>
                <a:cubicBezTo>
                  <a:pt x="408725" y="3080289"/>
                  <a:pt x="409222" y="3058788"/>
                  <a:pt x="415429" y="3055792"/>
                </a:cubicBezTo>
                <a:cubicBezTo>
                  <a:pt x="426207" y="3050591"/>
                  <a:pt x="414493" y="3021857"/>
                  <a:pt x="393008" y="3000795"/>
                </a:cubicBezTo>
                <a:cubicBezTo>
                  <a:pt x="371303" y="2979517"/>
                  <a:pt x="371009" y="2978788"/>
                  <a:pt x="371009" y="2946175"/>
                </a:cubicBezTo>
                <a:cubicBezTo>
                  <a:pt x="371009" y="2924518"/>
                  <a:pt x="368748" y="2910404"/>
                  <a:pt x="364450" y="2905240"/>
                </a:cubicBezTo>
                <a:cubicBezTo>
                  <a:pt x="360842" y="2900905"/>
                  <a:pt x="357891" y="2889161"/>
                  <a:pt x="357891" y="2879142"/>
                </a:cubicBezTo>
                <a:cubicBezTo>
                  <a:pt x="357891" y="2869122"/>
                  <a:pt x="355792" y="2860924"/>
                  <a:pt x="353227" y="2860924"/>
                </a:cubicBezTo>
                <a:cubicBezTo>
                  <a:pt x="350663" y="2860924"/>
                  <a:pt x="349186" y="2853090"/>
                  <a:pt x="349948" y="2843514"/>
                </a:cubicBezTo>
                <a:cubicBezTo>
                  <a:pt x="350917" y="2831312"/>
                  <a:pt x="348082" y="2821877"/>
                  <a:pt x="340471" y="2811971"/>
                </a:cubicBezTo>
                <a:cubicBezTo>
                  <a:pt x="331901" y="2800818"/>
                  <a:pt x="329719" y="2792140"/>
                  <a:pt x="330125" y="2770820"/>
                </a:cubicBezTo>
                <a:cubicBezTo>
                  <a:pt x="330408" y="2755961"/>
                  <a:pt x="329391" y="2742379"/>
                  <a:pt x="327866" y="2740638"/>
                </a:cubicBezTo>
                <a:cubicBezTo>
                  <a:pt x="321736" y="2733639"/>
                  <a:pt x="305415" y="2675988"/>
                  <a:pt x="305415" y="2661333"/>
                </a:cubicBezTo>
                <a:cubicBezTo>
                  <a:pt x="305415" y="2652721"/>
                  <a:pt x="303448" y="2645675"/>
                  <a:pt x="301042" y="2645675"/>
                </a:cubicBezTo>
                <a:cubicBezTo>
                  <a:pt x="298637" y="2645675"/>
                  <a:pt x="296670" y="2630543"/>
                  <a:pt x="296670" y="2612049"/>
                </a:cubicBezTo>
                <a:cubicBezTo>
                  <a:pt x="296670" y="2585923"/>
                  <a:pt x="294475" y="2575017"/>
                  <a:pt x="286831" y="2563152"/>
                </a:cubicBezTo>
                <a:cubicBezTo>
                  <a:pt x="281419" y="2554752"/>
                  <a:pt x="276629" y="2543532"/>
                  <a:pt x="276187" y="2538217"/>
                </a:cubicBezTo>
                <a:cubicBezTo>
                  <a:pt x="271291" y="2479416"/>
                  <a:pt x="268063" y="2457746"/>
                  <a:pt x="263140" y="2450618"/>
                </a:cubicBezTo>
                <a:cubicBezTo>
                  <a:pt x="259935" y="2445979"/>
                  <a:pt x="257313" y="2438113"/>
                  <a:pt x="257313" y="2433139"/>
                </a:cubicBezTo>
                <a:cubicBezTo>
                  <a:pt x="257313" y="2428164"/>
                  <a:pt x="255346" y="2424095"/>
                  <a:pt x="252940" y="2424095"/>
                </a:cubicBezTo>
                <a:cubicBezTo>
                  <a:pt x="250535" y="2424095"/>
                  <a:pt x="248567" y="2411275"/>
                  <a:pt x="248567" y="2395606"/>
                </a:cubicBezTo>
                <a:cubicBezTo>
                  <a:pt x="248567" y="2378998"/>
                  <a:pt x="246549" y="2367117"/>
                  <a:pt x="243727" y="2367117"/>
                </a:cubicBezTo>
                <a:cubicBezTo>
                  <a:pt x="241064" y="2367117"/>
                  <a:pt x="239948" y="2363111"/>
                  <a:pt x="241245" y="2358215"/>
                </a:cubicBezTo>
                <a:cubicBezTo>
                  <a:pt x="242543" y="2353320"/>
                  <a:pt x="239802" y="2344332"/>
                  <a:pt x="235154" y="2338242"/>
                </a:cubicBezTo>
                <a:cubicBezTo>
                  <a:pt x="230238" y="2331802"/>
                  <a:pt x="226703" y="2318900"/>
                  <a:pt x="226703" y="2307402"/>
                </a:cubicBezTo>
                <a:cubicBezTo>
                  <a:pt x="226703" y="2296529"/>
                  <a:pt x="223914" y="2281868"/>
                  <a:pt x="220505" y="2274822"/>
                </a:cubicBezTo>
                <a:cubicBezTo>
                  <a:pt x="217096" y="2267776"/>
                  <a:pt x="212969" y="2250762"/>
                  <a:pt x="211334" y="2237011"/>
                </a:cubicBezTo>
                <a:cubicBezTo>
                  <a:pt x="207643" y="2205980"/>
                  <a:pt x="199565" y="2177191"/>
                  <a:pt x="194546" y="2177191"/>
                </a:cubicBezTo>
                <a:cubicBezTo>
                  <a:pt x="192465" y="2177191"/>
                  <a:pt x="191567" y="2167220"/>
                  <a:pt x="192550" y="2155033"/>
                </a:cubicBezTo>
                <a:cubicBezTo>
                  <a:pt x="193532" y="2142846"/>
                  <a:pt x="192764" y="2132875"/>
                  <a:pt x="190841" y="2132875"/>
                </a:cubicBezTo>
                <a:cubicBezTo>
                  <a:pt x="188919" y="2132875"/>
                  <a:pt x="187346" y="2127178"/>
                  <a:pt x="187346" y="2120214"/>
                </a:cubicBezTo>
                <a:cubicBezTo>
                  <a:pt x="187346" y="2113250"/>
                  <a:pt x="185468" y="2107552"/>
                  <a:pt x="183172" y="2107552"/>
                </a:cubicBezTo>
                <a:cubicBezTo>
                  <a:pt x="180875" y="2107552"/>
                  <a:pt x="177705" y="2097581"/>
                  <a:pt x="176125" y="2085394"/>
                </a:cubicBezTo>
                <a:cubicBezTo>
                  <a:pt x="174546" y="2073207"/>
                  <a:pt x="171506" y="2063236"/>
                  <a:pt x="169368" y="2063236"/>
                </a:cubicBezTo>
                <a:cubicBezTo>
                  <a:pt x="167231" y="2063236"/>
                  <a:pt x="165482" y="2057449"/>
                  <a:pt x="165482" y="2050375"/>
                </a:cubicBezTo>
                <a:cubicBezTo>
                  <a:pt x="165482" y="2043302"/>
                  <a:pt x="162530" y="2035875"/>
                  <a:pt x="158923" y="2033872"/>
                </a:cubicBezTo>
                <a:cubicBezTo>
                  <a:pt x="155295" y="2031855"/>
                  <a:pt x="152363" y="2022455"/>
                  <a:pt x="152363" y="2012836"/>
                </a:cubicBezTo>
                <a:cubicBezTo>
                  <a:pt x="152363" y="1991912"/>
                  <a:pt x="134460" y="1961942"/>
                  <a:pt x="121961" y="1961942"/>
                </a:cubicBezTo>
                <a:cubicBezTo>
                  <a:pt x="117036" y="1961942"/>
                  <a:pt x="113007" y="1957906"/>
                  <a:pt x="113007" y="1952973"/>
                </a:cubicBezTo>
                <a:cubicBezTo>
                  <a:pt x="113007" y="1948041"/>
                  <a:pt x="110685" y="1942885"/>
                  <a:pt x="107847" y="1941515"/>
                </a:cubicBezTo>
                <a:cubicBezTo>
                  <a:pt x="105009" y="1940146"/>
                  <a:pt x="103936" y="1934314"/>
                  <a:pt x="105462" y="1928555"/>
                </a:cubicBezTo>
                <a:cubicBezTo>
                  <a:pt x="107799" y="1919740"/>
                  <a:pt x="110403" y="1919178"/>
                  <a:pt x="121932" y="1924997"/>
                </a:cubicBezTo>
                <a:cubicBezTo>
                  <a:pt x="133186" y="1930676"/>
                  <a:pt x="136908" y="1930053"/>
                  <a:pt x="142816" y="1921499"/>
                </a:cubicBezTo>
                <a:cubicBezTo>
                  <a:pt x="148733" y="1912932"/>
                  <a:pt x="149053" y="1908883"/>
                  <a:pt x="144625" y="1898617"/>
                </a:cubicBezTo>
                <a:cubicBezTo>
                  <a:pt x="141666" y="1891757"/>
                  <a:pt x="139244" y="1879553"/>
                  <a:pt x="139244" y="1871497"/>
                </a:cubicBezTo>
                <a:cubicBezTo>
                  <a:pt x="139244" y="1863442"/>
                  <a:pt x="137428" y="1854144"/>
                  <a:pt x="135208" y="1850836"/>
                </a:cubicBezTo>
                <a:cubicBezTo>
                  <a:pt x="132989" y="1847528"/>
                  <a:pt x="129144" y="1817757"/>
                  <a:pt x="126665" y="1784678"/>
                </a:cubicBezTo>
                <a:cubicBezTo>
                  <a:pt x="122307" y="1726528"/>
                  <a:pt x="113812" y="1670914"/>
                  <a:pt x="108293" y="1664392"/>
                </a:cubicBezTo>
                <a:cubicBezTo>
                  <a:pt x="106819" y="1662651"/>
                  <a:pt x="104420" y="1650289"/>
                  <a:pt x="102962" y="1636921"/>
                </a:cubicBezTo>
                <a:cubicBezTo>
                  <a:pt x="101504" y="1623553"/>
                  <a:pt x="97787" y="1608213"/>
                  <a:pt x="94702" y="1602831"/>
                </a:cubicBezTo>
                <a:cubicBezTo>
                  <a:pt x="86626" y="1588743"/>
                  <a:pt x="89567" y="1460643"/>
                  <a:pt x="98128" y="1453577"/>
                </a:cubicBezTo>
                <a:cubicBezTo>
                  <a:pt x="101501" y="1450792"/>
                  <a:pt x="104261" y="1438989"/>
                  <a:pt x="104261" y="1427347"/>
                </a:cubicBezTo>
                <a:cubicBezTo>
                  <a:pt x="104261" y="1414373"/>
                  <a:pt x="106800" y="1404771"/>
                  <a:pt x="110821" y="1402538"/>
                </a:cubicBezTo>
                <a:cubicBezTo>
                  <a:pt x="114428" y="1400533"/>
                  <a:pt x="117380" y="1393455"/>
                  <a:pt x="117380" y="1386808"/>
                </a:cubicBezTo>
                <a:cubicBezTo>
                  <a:pt x="117380" y="1380161"/>
                  <a:pt x="120331" y="1371177"/>
                  <a:pt x="123939" y="1366842"/>
                </a:cubicBezTo>
                <a:cubicBezTo>
                  <a:pt x="127547" y="1362507"/>
                  <a:pt x="130498" y="1351111"/>
                  <a:pt x="130498" y="1341518"/>
                </a:cubicBezTo>
                <a:cubicBezTo>
                  <a:pt x="130498" y="1318073"/>
                  <a:pt x="137674" y="1310914"/>
                  <a:pt x="163457" y="1308631"/>
                </a:cubicBezTo>
                <a:cubicBezTo>
                  <a:pt x="194631" y="1305871"/>
                  <a:pt x="202426" y="1293646"/>
                  <a:pt x="198730" y="1253312"/>
                </a:cubicBezTo>
                <a:cubicBezTo>
                  <a:pt x="196229" y="1226013"/>
                  <a:pt x="197082" y="1219880"/>
                  <a:pt x="204698" y="1210441"/>
                </a:cubicBezTo>
                <a:cubicBezTo>
                  <a:pt x="209585" y="1204382"/>
                  <a:pt x="213584" y="1196282"/>
                  <a:pt x="213584" y="1192440"/>
                </a:cubicBezTo>
                <a:cubicBezTo>
                  <a:pt x="213584" y="1188597"/>
                  <a:pt x="218504" y="1178763"/>
                  <a:pt x="224517" y="1170585"/>
                </a:cubicBezTo>
                <a:cubicBezTo>
                  <a:pt x="230529" y="1162407"/>
                  <a:pt x="235449" y="1150864"/>
                  <a:pt x="235449" y="1144933"/>
                </a:cubicBezTo>
                <a:cubicBezTo>
                  <a:pt x="235449" y="1139003"/>
                  <a:pt x="238400" y="1130604"/>
                  <a:pt x="242008" y="1126269"/>
                </a:cubicBezTo>
                <a:cubicBezTo>
                  <a:pt x="245616" y="1121934"/>
                  <a:pt x="248567" y="1114463"/>
                  <a:pt x="248567" y="1109667"/>
                </a:cubicBezTo>
                <a:cubicBezTo>
                  <a:pt x="248567" y="1104871"/>
                  <a:pt x="250358" y="1100946"/>
                  <a:pt x="252548" y="1100946"/>
                </a:cubicBezTo>
                <a:cubicBezTo>
                  <a:pt x="254737" y="1100946"/>
                  <a:pt x="257922" y="1076730"/>
                  <a:pt x="259624" y="1047134"/>
                </a:cubicBezTo>
                <a:cubicBezTo>
                  <a:pt x="261327" y="1017537"/>
                  <a:pt x="264456" y="993321"/>
                  <a:pt x="266576" y="993321"/>
                </a:cubicBezTo>
                <a:cubicBezTo>
                  <a:pt x="268697" y="993321"/>
                  <a:pt x="270432" y="989682"/>
                  <a:pt x="270432" y="985235"/>
                </a:cubicBezTo>
                <a:cubicBezTo>
                  <a:pt x="270432" y="976465"/>
                  <a:pt x="295092" y="942674"/>
                  <a:pt x="301492" y="942674"/>
                </a:cubicBezTo>
                <a:cubicBezTo>
                  <a:pt x="303650" y="942674"/>
                  <a:pt x="305415" y="939703"/>
                  <a:pt x="305415" y="936072"/>
                </a:cubicBezTo>
                <a:cubicBezTo>
                  <a:pt x="305415" y="932441"/>
                  <a:pt x="314270" y="915764"/>
                  <a:pt x="325094" y="899013"/>
                </a:cubicBezTo>
                <a:cubicBezTo>
                  <a:pt x="335917" y="882262"/>
                  <a:pt x="344772" y="866574"/>
                  <a:pt x="344772" y="864151"/>
                </a:cubicBezTo>
                <a:cubicBezTo>
                  <a:pt x="344772" y="858916"/>
                  <a:pt x="373017" y="816057"/>
                  <a:pt x="376468" y="816057"/>
                </a:cubicBezTo>
                <a:cubicBezTo>
                  <a:pt x="379972" y="816057"/>
                  <a:pt x="405993" y="782255"/>
                  <a:pt x="405993" y="777703"/>
                </a:cubicBezTo>
                <a:cubicBezTo>
                  <a:pt x="405993" y="766887"/>
                  <a:pt x="458830" y="695771"/>
                  <a:pt x="466866" y="695771"/>
                </a:cubicBezTo>
                <a:cubicBezTo>
                  <a:pt x="471868" y="695771"/>
                  <a:pt x="475959" y="693114"/>
                  <a:pt x="475959" y="689867"/>
                </a:cubicBezTo>
                <a:cubicBezTo>
                  <a:pt x="475959" y="686619"/>
                  <a:pt x="480295" y="681970"/>
                  <a:pt x="485595" y="679535"/>
                </a:cubicBezTo>
                <a:cubicBezTo>
                  <a:pt x="490894" y="677100"/>
                  <a:pt x="497922" y="671210"/>
                  <a:pt x="501212" y="666447"/>
                </a:cubicBezTo>
                <a:cubicBezTo>
                  <a:pt x="504503" y="661683"/>
                  <a:pt x="513941" y="657786"/>
                  <a:pt x="522188" y="657786"/>
                </a:cubicBezTo>
                <a:cubicBezTo>
                  <a:pt x="530434" y="657786"/>
                  <a:pt x="537180" y="654937"/>
                  <a:pt x="537180" y="651455"/>
                </a:cubicBezTo>
                <a:cubicBezTo>
                  <a:pt x="537180" y="647973"/>
                  <a:pt x="541824" y="645124"/>
                  <a:pt x="547500" y="645124"/>
                </a:cubicBezTo>
                <a:cubicBezTo>
                  <a:pt x="553404" y="645124"/>
                  <a:pt x="561334" y="638350"/>
                  <a:pt x="566030" y="629297"/>
                </a:cubicBezTo>
                <a:cubicBezTo>
                  <a:pt x="570545" y="620592"/>
                  <a:pt x="577568" y="613470"/>
                  <a:pt x="581636" y="613470"/>
                </a:cubicBezTo>
                <a:cubicBezTo>
                  <a:pt x="585703" y="613470"/>
                  <a:pt x="591983" y="609196"/>
                  <a:pt x="595590" y="603974"/>
                </a:cubicBezTo>
                <a:cubicBezTo>
                  <a:pt x="599198" y="598750"/>
                  <a:pt x="603469" y="594477"/>
                  <a:pt x="605081" y="594477"/>
                </a:cubicBezTo>
                <a:cubicBezTo>
                  <a:pt x="606693" y="594477"/>
                  <a:pt x="614213" y="590263"/>
                  <a:pt x="621792" y="585112"/>
                </a:cubicBezTo>
                <a:cubicBezTo>
                  <a:pt x="638495" y="573760"/>
                  <a:pt x="692969" y="562678"/>
                  <a:pt x="758458" y="557307"/>
                </a:cubicBezTo>
                <a:cubicBezTo>
                  <a:pt x="805917" y="553416"/>
                  <a:pt x="817472" y="548216"/>
                  <a:pt x="827104" y="526420"/>
                </a:cubicBezTo>
                <a:cubicBezTo>
                  <a:pt x="829027" y="522068"/>
                  <a:pt x="833087" y="518507"/>
                  <a:pt x="836125" y="518507"/>
                </a:cubicBezTo>
                <a:cubicBezTo>
                  <a:pt x="839163" y="518507"/>
                  <a:pt x="847305" y="509960"/>
                  <a:pt x="854218" y="499514"/>
                </a:cubicBezTo>
                <a:cubicBezTo>
                  <a:pt x="861130" y="489068"/>
                  <a:pt x="870238" y="480522"/>
                  <a:pt x="874456" y="480522"/>
                </a:cubicBezTo>
                <a:cubicBezTo>
                  <a:pt x="878674" y="480522"/>
                  <a:pt x="883342" y="477673"/>
                  <a:pt x="884828" y="474191"/>
                </a:cubicBezTo>
                <a:cubicBezTo>
                  <a:pt x="886314" y="470709"/>
                  <a:pt x="891186" y="467860"/>
                  <a:pt x="895654" y="467860"/>
                </a:cubicBezTo>
                <a:cubicBezTo>
                  <a:pt x="900121" y="467860"/>
                  <a:pt x="907745" y="460026"/>
                  <a:pt x="912594" y="450450"/>
                </a:cubicBezTo>
                <a:cubicBezTo>
                  <a:pt x="919668" y="436483"/>
                  <a:pt x="922507" y="434605"/>
                  <a:pt x="926952" y="440954"/>
                </a:cubicBezTo>
                <a:cubicBezTo>
                  <a:pt x="930000" y="445306"/>
                  <a:pt x="935794" y="448867"/>
                  <a:pt x="939829" y="448867"/>
                </a:cubicBezTo>
                <a:cubicBezTo>
                  <a:pt x="943863" y="448867"/>
                  <a:pt x="949567" y="453057"/>
                  <a:pt x="952502" y="458179"/>
                </a:cubicBezTo>
                <a:cubicBezTo>
                  <a:pt x="956617" y="465356"/>
                  <a:pt x="967169" y="467169"/>
                  <a:pt x="998543" y="466092"/>
                </a:cubicBezTo>
                <a:cubicBezTo>
                  <a:pt x="1020929" y="465323"/>
                  <a:pt x="1038330" y="466831"/>
                  <a:pt x="1037211" y="469443"/>
                </a:cubicBezTo>
                <a:cubicBezTo>
                  <a:pt x="1036093" y="472054"/>
                  <a:pt x="1038362" y="474191"/>
                  <a:pt x="1042254" y="474191"/>
                </a:cubicBezTo>
                <a:cubicBezTo>
                  <a:pt x="1046145" y="474191"/>
                  <a:pt x="1048113" y="471342"/>
                  <a:pt x="1046626" y="467860"/>
                </a:cubicBezTo>
                <a:cubicBezTo>
                  <a:pt x="1041127" y="454979"/>
                  <a:pt x="1051925" y="462057"/>
                  <a:pt x="1061114" y="477356"/>
                </a:cubicBezTo>
                <a:cubicBezTo>
                  <a:pt x="1072567" y="496426"/>
                  <a:pt x="1083781" y="497803"/>
                  <a:pt x="1086902" y="480522"/>
                </a:cubicBezTo>
                <a:cubicBezTo>
                  <a:pt x="1090408" y="461111"/>
                  <a:pt x="1104109" y="464970"/>
                  <a:pt x="1109378" y="486853"/>
                </a:cubicBezTo>
                <a:cubicBezTo>
                  <a:pt x="1111894" y="497298"/>
                  <a:pt x="1116022" y="505845"/>
                  <a:pt x="1118552" y="505845"/>
                </a:cubicBezTo>
                <a:cubicBezTo>
                  <a:pt x="1121082" y="505845"/>
                  <a:pt x="1123152" y="510248"/>
                  <a:pt x="1123152" y="515629"/>
                </a:cubicBezTo>
                <a:cubicBezTo>
                  <a:pt x="1123152" y="521011"/>
                  <a:pt x="1128072" y="532536"/>
                  <a:pt x="1134085" y="541240"/>
                </a:cubicBezTo>
                <a:cubicBezTo>
                  <a:pt x="1140098" y="549945"/>
                  <a:pt x="1145017" y="561211"/>
                  <a:pt x="1145017" y="566276"/>
                </a:cubicBezTo>
                <a:cubicBezTo>
                  <a:pt x="1145017" y="571340"/>
                  <a:pt x="1146985" y="575485"/>
                  <a:pt x="1149390" y="575485"/>
                </a:cubicBezTo>
                <a:cubicBezTo>
                  <a:pt x="1151796" y="575485"/>
                  <a:pt x="1153763" y="579488"/>
                  <a:pt x="1153763" y="584382"/>
                </a:cubicBezTo>
                <a:cubicBezTo>
                  <a:pt x="1153763" y="591870"/>
                  <a:pt x="1176828" y="638301"/>
                  <a:pt x="1187659" y="652617"/>
                </a:cubicBezTo>
                <a:cubicBezTo>
                  <a:pt x="1218661" y="693591"/>
                  <a:pt x="1254340" y="745441"/>
                  <a:pt x="1254340" y="749518"/>
                </a:cubicBezTo>
                <a:cubicBezTo>
                  <a:pt x="1254340" y="757171"/>
                  <a:pt x="1280568" y="789876"/>
                  <a:pt x="1290288" y="794342"/>
                </a:cubicBezTo>
                <a:cubicBezTo>
                  <a:pt x="1295629" y="796796"/>
                  <a:pt x="1301342" y="793539"/>
                  <a:pt x="1306344" y="785189"/>
                </a:cubicBezTo>
                <a:cubicBezTo>
                  <a:pt x="1310616" y="778060"/>
                  <a:pt x="1321893" y="770425"/>
                  <a:pt x="1331406" y="768222"/>
                </a:cubicBezTo>
                <a:cubicBezTo>
                  <a:pt x="1346576" y="764711"/>
                  <a:pt x="1349748" y="766237"/>
                  <a:pt x="1357220" y="780642"/>
                </a:cubicBezTo>
                <a:cubicBezTo>
                  <a:pt x="1361906" y="789674"/>
                  <a:pt x="1368224" y="797065"/>
                  <a:pt x="1371260" y="797065"/>
                </a:cubicBezTo>
                <a:cubicBezTo>
                  <a:pt x="1374297" y="797065"/>
                  <a:pt x="1376782" y="802321"/>
                  <a:pt x="1376782" y="808745"/>
                </a:cubicBezTo>
                <a:cubicBezTo>
                  <a:pt x="1376782" y="821451"/>
                  <a:pt x="1389677" y="841380"/>
                  <a:pt x="1397898" y="841380"/>
                </a:cubicBezTo>
                <a:cubicBezTo>
                  <a:pt x="1400715" y="841380"/>
                  <a:pt x="1403266" y="847079"/>
                  <a:pt x="1403566" y="854042"/>
                </a:cubicBezTo>
                <a:cubicBezTo>
                  <a:pt x="1404643" y="878986"/>
                  <a:pt x="1405317" y="881243"/>
                  <a:pt x="1413767" y="888172"/>
                </a:cubicBezTo>
                <a:cubicBezTo>
                  <a:pt x="1427980" y="899827"/>
                  <a:pt x="1432763" y="908218"/>
                  <a:pt x="1434326" y="924237"/>
                </a:cubicBezTo>
                <a:cubicBezTo>
                  <a:pt x="1436019" y="941586"/>
                  <a:pt x="1450406" y="945523"/>
                  <a:pt x="1455432" y="930013"/>
                </a:cubicBezTo>
                <a:cubicBezTo>
                  <a:pt x="1457124" y="924790"/>
                  <a:pt x="1460937" y="913785"/>
                  <a:pt x="1463906" y="905557"/>
                </a:cubicBezTo>
                <a:cubicBezTo>
                  <a:pt x="1468658" y="892389"/>
                  <a:pt x="1467954" y="888558"/>
                  <a:pt x="1458027" y="873556"/>
                </a:cubicBezTo>
                <a:cubicBezTo>
                  <a:pt x="1451824" y="864183"/>
                  <a:pt x="1446749" y="851685"/>
                  <a:pt x="1446749" y="845782"/>
                </a:cubicBezTo>
                <a:cubicBezTo>
                  <a:pt x="1446749" y="839879"/>
                  <a:pt x="1444912" y="835050"/>
                  <a:pt x="1442667" y="835050"/>
                </a:cubicBezTo>
                <a:cubicBezTo>
                  <a:pt x="1440421" y="835050"/>
                  <a:pt x="1437961" y="827215"/>
                  <a:pt x="1437200" y="817640"/>
                </a:cubicBezTo>
                <a:cubicBezTo>
                  <a:pt x="1436198" y="805025"/>
                  <a:pt x="1433036" y="799659"/>
                  <a:pt x="1425722" y="798159"/>
                </a:cubicBezTo>
                <a:cubicBezTo>
                  <a:pt x="1412003" y="795343"/>
                  <a:pt x="1414880" y="778695"/>
                  <a:pt x="1431370" y="765466"/>
                </a:cubicBezTo>
                <a:cubicBezTo>
                  <a:pt x="1439248" y="759147"/>
                  <a:pt x="1445995" y="747031"/>
                  <a:pt x="1448402" y="734883"/>
                </a:cubicBezTo>
                <a:cubicBezTo>
                  <a:pt x="1451293" y="720285"/>
                  <a:pt x="1454974" y="714763"/>
                  <a:pt x="1461812" y="714763"/>
                </a:cubicBezTo>
                <a:cubicBezTo>
                  <a:pt x="1466996" y="714763"/>
                  <a:pt x="1473107" y="712136"/>
                  <a:pt x="1475392" y="708925"/>
                </a:cubicBezTo>
                <a:cubicBezTo>
                  <a:pt x="1477677" y="705714"/>
                  <a:pt x="1486459" y="701250"/>
                  <a:pt x="1494907" y="699006"/>
                </a:cubicBezTo>
                <a:cubicBezTo>
                  <a:pt x="1507788" y="695584"/>
                  <a:pt x="1511972" y="697549"/>
                  <a:pt x="1520814" y="711175"/>
                </a:cubicBezTo>
                <a:cubicBezTo>
                  <a:pt x="1531470" y="727595"/>
                  <a:pt x="1542953" y="732741"/>
                  <a:pt x="1542953" y="721094"/>
                </a:cubicBezTo>
                <a:cubicBezTo>
                  <a:pt x="1542953" y="717612"/>
                  <a:pt x="1545305" y="714763"/>
                  <a:pt x="1548180" y="714763"/>
                </a:cubicBezTo>
                <a:cubicBezTo>
                  <a:pt x="1551055" y="714763"/>
                  <a:pt x="1558868" y="707189"/>
                  <a:pt x="1565543" y="697931"/>
                </a:cubicBezTo>
                <a:cubicBezTo>
                  <a:pt x="1576313" y="682993"/>
                  <a:pt x="1578004" y="682326"/>
                  <a:pt x="1580569" y="692004"/>
                </a:cubicBezTo>
                <a:cubicBezTo>
                  <a:pt x="1582158" y="698002"/>
                  <a:pt x="1581490" y="709167"/>
                  <a:pt x="1579083" y="716815"/>
                </a:cubicBezTo>
                <a:cubicBezTo>
                  <a:pt x="1573971" y="733059"/>
                  <a:pt x="1582935" y="749854"/>
                  <a:pt x="1593565" y="743948"/>
                </a:cubicBezTo>
                <a:cubicBezTo>
                  <a:pt x="1602131" y="739190"/>
                  <a:pt x="1607148" y="719364"/>
                  <a:pt x="1600588" y="716198"/>
                </a:cubicBezTo>
                <a:cubicBezTo>
                  <a:pt x="1592584" y="712335"/>
                  <a:pt x="1594497" y="690789"/>
                  <a:pt x="1604075" y="676922"/>
                </a:cubicBezTo>
                <a:cubicBezTo>
                  <a:pt x="1608831" y="670037"/>
                  <a:pt x="1611648" y="660354"/>
                  <a:pt x="1610336" y="655404"/>
                </a:cubicBezTo>
                <a:cubicBezTo>
                  <a:pt x="1606241" y="639955"/>
                  <a:pt x="1616711" y="637515"/>
                  <a:pt x="1627075" y="651503"/>
                </a:cubicBezTo>
                <a:cubicBezTo>
                  <a:pt x="1635408" y="662749"/>
                  <a:pt x="1640251" y="664207"/>
                  <a:pt x="1657724" y="660732"/>
                </a:cubicBezTo>
                <a:cubicBezTo>
                  <a:pt x="1673801" y="657535"/>
                  <a:pt x="1679028" y="658688"/>
                  <a:pt x="1680927" y="665854"/>
                </a:cubicBezTo>
                <a:cubicBezTo>
                  <a:pt x="1682551" y="671980"/>
                  <a:pt x="1693005" y="676530"/>
                  <a:pt x="1711891" y="679332"/>
                </a:cubicBezTo>
                <a:cubicBezTo>
                  <a:pt x="1730763" y="682131"/>
                  <a:pt x="1746175" y="688836"/>
                  <a:pt x="1757474" y="699162"/>
                </a:cubicBezTo>
                <a:cubicBezTo>
                  <a:pt x="1766863" y="707743"/>
                  <a:pt x="1777535" y="714763"/>
                  <a:pt x="1781191" y="714763"/>
                </a:cubicBezTo>
                <a:cubicBezTo>
                  <a:pt x="1784846" y="714763"/>
                  <a:pt x="1787837" y="717333"/>
                  <a:pt x="1787837" y="720473"/>
                </a:cubicBezTo>
                <a:cubicBezTo>
                  <a:pt x="1787837" y="723614"/>
                  <a:pt x="1795170" y="731694"/>
                  <a:pt x="1804133" y="738427"/>
                </a:cubicBezTo>
                <a:cubicBezTo>
                  <a:pt x="1816070" y="747395"/>
                  <a:pt x="1821182" y="756003"/>
                  <a:pt x="1823246" y="770607"/>
                </a:cubicBezTo>
                <a:cubicBezTo>
                  <a:pt x="1826969" y="796962"/>
                  <a:pt x="1843835" y="817162"/>
                  <a:pt x="1854936" y="808560"/>
                </a:cubicBezTo>
                <a:cubicBezTo>
                  <a:pt x="1861330" y="803606"/>
                  <a:pt x="1865591" y="805762"/>
                  <a:pt x="1874886" y="818655"/>
                </a:cubicBezTo>
                <a:cubicBezTo>
                  <a:pt x="1881387" y="827672"/>
                  <a:pt x="1888197" y="835050"/>
                  <a:pt x="1890018" y="835050"/>
                </a:cubicBezTo>
                <a:cubicBezTo>
                  <a:pt x="1891839" y="835050"/>
                  <a:pt x="1907144" y="855209"/>
                  <a:pt x="1924029" y="879848"/>
                </a:cubicBezTo>
                <a:cubicBezTo>
                  <a:pt x="1947915" y="914705"/>
                  <a:pt x="1958287" y="925437"/>
                  <a:pt x="1970767" y="928208"/>
                </a:cubicBezTo>
                <a:cubicBezTo>
                  <a:pt x="1979588" y="930167"/>
                  <a:pt x="1989240" y="934542"/>
                  <a:pt x="1992216" y="937930"/>
                </a:cubicBezTo>
                <a:cubicBezTo>
                  <a:pt x="1995191" y="941318"/>
                  <a:pt x="2000741" y="942361"/>
                  <a:pt x="2004549" y="940246"/>
                </a:cubicBezTo>
                <a:cubicBezTo>
                  <a:pt x="2014139" y="934918"/>
                  <a:pt x="2010854" y="908587"/>
                  <a:pt x="2000233" y="905653"/>
                </a:cubicBezTo>
                <a:cubicBezTo>
                  <a:pt x="1990506" y="902967"/>
                  <a:pt x="1980246" y="889704"/>
                  <a:pt x="1980246" y="879818"/>
                </a:cubicBezTo>
                <a:cubicBezTo>
                  <a:pt x="1980246" y="871202"/>
                  <a:pt x="1982879" y="871305"/>
                  <a:pt x="2000661" y="880614"/>
                </a:cubicBezTo>
                <a:cubicBezTo>
                  <a:pt x="2014087" y="887642"/>
                  <a:pt x="2016093" y="886867"/>
                  <a:pt x="2028302" y="869933"/>
                </a:cubicBezTo>
                <a:cubicBezTo>
                  <a:pt x="2035543" y="859890"/>
                  <a:pt x="2041467" y="845084"/>
                  <a:pt x="2041467" y="837031"/>
                </a:cubicBezTo>
                <a:cubicBezTo>
                  <a:pt x="2041467" y="828236"/>
                  <a:pt x="2044086" y="822388"/>
                  <a:pt x="2048027" y="822388"/>
                </a:cubicBezTo>
                <a:cubicBezTo>
                  <a:pt x="2051634" y="822388"/>
                  <a:pt x="2054585" y="825256"/>
                  <a:pt x="2054585" y="828761"/>
                </a:cubicBezTo>
                <a:cubicBezTo>
                  <a:pt x="2054585" y="832265"/>
                  <a:pt x="2059386" y="841176"/>
                  <a:pt x="2065253" y="848562"/>
                </a:cubicBezTo>
                <a:cubicBezTo>
                  <a:pt x="2075061" y="860908"/>
                  <a:pt x="2075402" y="863133"/>
                  <a:pt x="2069492" y="876195"/>
                </a:cubicBezTo>
                <a:cubicBezTo>
                  <a:pt x="2063387" y="889682"/>
                  <a:pt x="2063842" y="890935"/>
                  <a:pt x="2078502" y="901007"/>
                </a:cubicBezTo>
                <a:cubicBezTo>
                  <a:pt x="2086994" y="906841"/>
                  <a:pt x="2093942" y="914329"/>
                  <a:pt x="2093942" y="917648"/>
                </a:cubicBezTo>
                <a:cubicBezTo>
                  <a:pt x="2093942" y="920967"/>
                  <a:pt x="2096894" y="923682"/>
                  <a:pt x="2100502" y="923682"/>
                </a:cubicBezTo>
                <a:cubicBezTo>
                  <a:pt x="2107463" y="923682"/>
                  <a:pt x="2109052" y="934932"/>
                  <a:pt x="2103714" y="946427"/>
                </a:cubicBezTo>
                <a:cubicBezTo>
                  <a:pt x="2101947" y="950232"/>
                  <a:pt x="2093992" y="955179"/>
                  <a:pt x="2086036" y="957421"/>
                </a:cubicBezTo>
                <a:cubicBezTo>
                  <a:pt x="2067913" y="962528"/>
                  <a:pt x="2058351" y="975401"/>
                  <a:pt x="2063661" y="987546"/>
                </a:cubicBezTo>
                <a:cubicBezTo>
                  <a:pt x="2065812" y="992464"/>
                  <a:pt x="2067600" y="1010810"/>
                  <a:pt x="2067637" y="1028317"/>
                </a:cubicBezTo>
                <a:cubicBezTo>
                  <a:pt x="2067710" y="1062723"/>
                  <a:pt x="2077159" y="1081953"/>
                  <a:pt x="2093992" y="1081953"/>
                </a:cubicBezTo>
                <a:cubicBezTo>
                  <a:pt x="2100657" y="1081953"/>
                  <a:pt x="2102688" y="1086209"/>
                  <a:pt x="2102688" y="1100171"/>
                </a:cubicBezTo>
                <a:cubicBezTo>
                  <a:pt x="2102688" y="1125740"/>
                  <a:pt x="2113772" y="1138266"/>
                  <a:pt x="2123679" y="1123892"/>
                </a:cubicBezTo>
                <a:cubicBezTo>
                  <a:pt x="2129457" y="1115507"/>
                  <a:pt x="2130863" y="1103709"/>
                  <a:pt x="2129992" y="1070902"/>
                </a:cubicBezTo>
                <a:cubicBezTo>
                  <a:pt x="2129377" y="1047689"/>
                  <a:pt x="2126917" y="1025866"/>
                  <a:pt x="2124526" y="1022405"/>
                </a:cubicBezTo>
                <a:cubicBezTo>
                  <a:pt x="2118039" y="1013013"/>
                  <a:pt x="2119278" y="989624"/>
                  <a:pt x="2126739" y="980659"/>
                </a:cubicBezTo>
                <a:cubicBezTo>
                  <a:pt x="2134268" y="971613"/>
                  <a:pt x="2135439" y="951668"/>
                  <a:pt x="2128791" y="945720"/>
                </a:cubicBezTo>
                <a:cubicBezTo>
                  <a:pt x="2126210" y="943411"/>
                  <a:pt x="2125453" y="932663"/>
                  <a:pt x="2127020" y="920573"/>
                </a:cubicBezTo>
                <a:cubicBezTo>
                  <a:pt x="2128525" y="908960"/>
                  <a:pt x="2128387" y="893215"/>
                  <a:pt x="2126714" y="885583"/>
                </a:cubicBezTo>
                <a:cubicBezTo>
                  <a:pt x="2124232" y="874263"/>
                  <a:pt x="2121368" y="872374"/>
                  <a:pt x="2111163" y="875329"/>
                </a:cubicBezTo>
                <a:cubicBezTo>
                  <a:pt x="2098619" y="878962"/>
                  <a:pt x="2089911" y="871058"/>
                  <a:pt x="2098244" y="863602"/>
                </a:cubicBezTo>
                <a:cubicBezTo>
                  <a:pt x="2103992" y="858459"/>
                  <a:pt x="2104054" y="822388"/>
                  <a:pt x="2098315" y="822388"/>
                </a:cubicBezTo>
                <a:cubicBezTo>
                  <a:pt x="2095910" y="822388"/>
                  <a:pt x="2093942" y="813841"/>
                  <a:pt x="2093942" y="803395"/>
                </a:cubicBezTo>
                <a:cubicBezTo>
                  <a:pt x="2093942" y="792950"/>
                  <a:pt x="2096066" y="784403"/>
                  <a:pt x="2098662" y="784403"/>
                </a:cubicBezTo>
                <a:cubicBezTo>
                  <a:pt x="2101561" y="784403"/>
                  <a:pt x="2102341" y="777537"/>
                  <a:pt x="2100683" y="766608"/>
                </a:cubicBezTo>
                <a:cubicBezTo>
                  <a:pt x="2098503" y="752236"/>
                  <a:pt x="2099907" y="747417"/>
                  <a:pt x="2107989" y="741548"/>
                </a:cubicBezTo>
                <a:cubicBezTo>
                  <a:pt x="2113491" y="737553"/>
                  <a:pt x="2122912" y="733452"/>
                  <a:pt x="2128925" y="732437"/>
                </a:cubicBezTo>
                <a:cubicBezTo>
                  <a:pt x="2137207" y="731038"/>
                  <a:pt x="2140193" y="726370"/>
                  <a:pt x="2141241" y="713181"/>
                </a:cubicBezTo>
                <a:cubicBezTo>
                  <a:pt x="2142339" y="699367"/>
                  <a:pt x="2144882" y="695771"/>
                  <a:pt x="2153554" y="695771"/>
                </a:cubicBezTo>
                <a:cubicBezTo>
                  <a:pt x="2159566" y="695771"/>
                  <a:pt x="2167904" y="693121"/>
                  <a:pt x="2172084" y="689882"/>
                </a:cubicBezTo>
                <a:cubicBezTo>
                  <a:pt x="2176573" y="686404"/>
                  <a:pt x="2182266" y="686302"/>
                  <a:pt x="2185988" y="689631"/>
                </a:cubicBezTo>
                <a:cubicBezTo>
                  <a:pt x="2191250" y="694341"/>
                  <a:pt x="2190851" y="696845"/>
                  <a:pt x="2183565" y="704816"/>
                </a:cubicBezTo>
                <a:cubicBezTo>
                  <a:pt x="2176968" y="712034"/>
                  <a:pt x="2176450" y="714410"/>
                  <a:pt x="2181442" y="714562"/>
                </a:cubicBezTo>
                <a:cubicBezTo>
                  <a:pt x="2185072" y="714673"/>
                  <a:pt x="2190395" y="709309"/>
                  <a:pt x="2193271" y="702641"/>
                </a:cubicBezTo>
                <a:cubicBezTo>
                  <a:pt x="2199199" y="688899"/>
                  <a:pt x="2194453" y="679849"/>
                  <a:pt x="2179214" y="675840"/>
                </a:cubicBezTo>
                <a:cubicBezTo>
                  <a:pt x="2174404" y="674574"/>
                  <a:pt x="2168526" y="667145"/>
                  <a:pt x="2166151" y="659332"/>
                </a:cubicBezTo>
                <a:cubicBezTo>
                  <a:pt x="2163777" y="651517"/>
                  <a:pt x="2160334" y="645124"/>
                  <a:pt x="2158499" y="645124"/>
                </a:cubicBezTo>
                <a:cubicBezTo>
                  <a:pt x="2156664" y="645124"/>
                  <a:pt x="2155163" y="640851"/>
                  <a:pt x="2155163" y="635628"/>
                </a:cubicBezTo>
                <a:cubicBezTo>
                  <a:pt x="2155163" y="620205"/>
                  <a:pt x="2172160" y="624706"/>
                  <a:pt x="2184048" y="643278"/>
                </a:cubicBezTo>
                <a:cubicBezTo>
                  <a:pt x="2192775" y="656910"/>
                  <a:pt x="2196541" y="659049"/>
                  <a:pt x="2202425" y="653711"/>
                </a:cubicBezTo>
                <a:cubicBezTo>
                  <a:pt x="2213231" y="643905"/>
                  <a:pt x="2213663" y="624496"/>
                  <a:pt x="2203453" y="607453"/>
                </a:cubicBezTo>
                <a:cubicBezTo>
                  <a:pt x="2193012" y="590025"/>
                  <a:pt x="2192102" y="581815"/>
                  <a:pt x="2200610" y="581815"/>
                </a:cubicBezTo>
                <a:cubicBezTo>
                  <a:pt x="2203961" y="581815"/>
                  <a:pt x="2207897" y="577309"/>
                  <a:pt x="2209356" y="571802"/>
                </a:cubicBezTo>
                <a:cubicBezTo>
                  <a:pt x="2213448" y="556366"/>
                  <a:pt x="2212502" y="537499"/>
                  <a:pt x="2207638" y="537499"/>
                </a:cubicBezTo>
                <a:cubicBezTo>
                  <a:pt x="2200214" y="537499"/>
                  <a:pt x="2202808" y="521779"/>
                  <a:pt x="2211777" y="512421"/>
                </a:cubicBezTo>
                <a:cubicBezTo>
                  <a:pt x="2216458" y="507535"/>
                  <a:pt x="2219456" y="501589"/>
                  <a:pt x="2218439" y="499207"/>
                </a:cubicBezTo>
                <a:cubicBezTo>
                  <a:pt x="2215330" y="491923"/>
                  <a:pt x="2230901" y="475843"/>
                  <a:pt x="2245369" y="471396"/>
                </a:cubicBezTo>
                <a:cubicBezTo>
                  <a:pt x="2257458" y="467681"/>
                  <a:pt x="2259373" y="469060"/>
                  <a:pt x="2261834" y="483257"/>
                </a:cubicBezTo>
                <a:cubicBezTo>
                  <a:pt x="2265391" y="503772"/>
                  <a:pt x="2285196" y="512691"/>
                  <a:pt x="2292979" y="497282"/>
                </a:cubicBezTo>
                <a:cubicBezTo>
                  <a:pt x="2301499" y="480415"/>
                  <a:pt x="2331129" y="488021"/>
                  <a:pt x="2323798" y="505194"/>
                </a:cubicBezTo>
                <a:cubicBezTo>
                  <a:pt x="2318982" y="516475"/>
                  <a:pt x="2325564" y="537499"/>
                  <a:pt x="2333912" y="537499"/>
                </a:cubicBezTo>
                <a:cubicBezTo>
                  <a:pt x="2338100" y="537499"/>
                  <a:pt x="2345347" y="533317"/>
                  <a:pt x="2350016" y="528204"/>
                </a:cubicBezTo>
                <a:cubicBezTo>
                  <a:pt x="2354684" y="523092"/>
                  <a:pt x="2362932" y="518819"/>
                  <a:pt x="2368343" y="518708"/>
                </a:cubicBezTo>
                <a:cubicBezTo>
                  <a:pt x="2373754" y="518597"/>
                  <a:pt x="2378182" y="515658"/>
                  <a:pt x="2378182" y="512176"/>
                </a:cubicBezTo>
                <a:cubicBezTo>
                  <a:pt x="2378182" y="508694"/>
                  <a:pt x="2381133" y="505845"/>
                  <a:pt x="2384742" y="505845"/>
                </a:cubicBezTo>
                <a:cubicBezTo>
                  <a:pt x="2388349" y="505845"/>
                  <a:pt x="2391301" y="502996"/>
                  <a:pt x="2391301" y="499514"/>
                </a:cubicBezTo>
                <a:cubicBezTo>
                  <a:pt x="2391301" y="496032"/>
                  <a:pt x="2394252" y="493183"/>
                  <a:pt x="2397860" y="493183"/>
                </a:cubicBezTo>
                <a:cubicBezTo>
                  <a:pt x="2401468" y="493183"/>
                  <a:pt x="2404419" y="498713"/>
                  <a:pt x="2404419" y="505472"/>
                </a:cubicBezTo>
                <a:cubicBezTo>
                  <a:pt x="2404419" y="520955"/>
                  <a:pt x="2410752" y="526800"/>
                  <a:pt x="2421950" y="521654"/>
                </a:cubicBezTo>
                <a:cubicBezTo>
                  <a:pt x="2427501" y="519104"/>
                  <a:pt x="2430657" y="512070"/>
                  <a:pt x="2430657" y="502253"/>
                </a:cubicBezTo>
                <a:cubicBezTo>
                  <a:pt x="2430657" y="486471"/>
                  <a:pt x="2441550" y="480348"/>
                  <a:pt x="2444767" y="494323"/>
                </a:cubicBezTo>
                <a:cubicBezTo>
                  <a:pt x="2447125" y="504566"/>
                  <a:pt x="2460800" y="496112"/>
                  <a:pt x="2464298" y="482248"/>
                </a:cubicBezTo>
                <a:cubicBezTo>
                  <a:pt x="2465855" y="476076"/>
                  <a:pt x="2470730" y="464231"/>
                  <a:pt x="2475130" y="455927"/>
                </a:cubicBezTo>
                <a:cubicBezTo>
                  <a:pt x="2484828" y="437629"/>
                  <a:pt x="2485486" y="418123"/>
                  <a:pt x="2476573" y="413172"/>
                </a:cubicBezTo>
                <a:cubicBezTo>
                  <a:pt x="2472509" y="410914"/>
                  <a:pt x="2470013" y="401279"/>
                  <a:pt x="2470013" y="387848"/>
                </a:cubicBezTo>
                <a:cubicBezTo>
                  <a:pt x="2470013" y="374418"/>
                  <a:pt x="2467518" y="364782"/>
                  <a:pt x="2463454" y="362525"/>
                </a:cubicBezTo>
                <a:cubicBezTo>
                  <a:pt x="2459846" y="360520"/>
                  <a:pt x="2456910" y="351351"/>
                  <a:pt x="2456929" y="342148"/>
                </a:cubicBezTo>
                <a:cubicBezTo>
                  <a:pt x="2456968" y="323282"/>
                  <a:pt x="2472032" y="309588"/>
                  <a:pt x="2492750" y="309588"/>
                </a:cubicBezTo>
                <a:cubicBezTo>
                  <a:pt x="2499486" y="309588"/>
                  <a:pt x="2504997" y="306740"/>
                  <a:pt x="2504997" y="303258"/>
                </a:cubicBezTo>
                <a:cubicBezTo>
                  <a:pt x="2504997" y="292419"/>
                  <a:pt x="2515749" y="296317"/>
                  <a:pt x="2521291" y="309165"/>
                </a:cubicBezTo>
                <a:cubicBezTo>
                  <a:pt x="2525702" y="319390"/>
                  <a:pt x="2525335" y="321779"/>
                  <a:pt x="2519063" y="323689"/>
                </a:cubicBezTo>
                <a:cubicBezTo>
                  <a:pt x="2514934" y="324947"/>
                  <a:pt x="2522027" y="326405"/>
                  <a:pt x="2534825" y="326930"/>
                </a:cubicBezTo>
                <a:cubicBezTo>
                  <a:pt x="2556889" y="327835"/>
                  <a:pt x="2558327" y="326919"/>
                  <a:pt x="2562584" y="309240"/>
                </a:cubicBezTo>
                <a:cubicBezTo>
                  <a:pt x="2567794" y="287603"/>
                  <a:pt x="2576900" y="285569"/>
                  <a:pt x="2596446" y="301675"/>
                </a:cubicBezTo>
                <a:cubicBezTo>
                  <a:pt x="2605015" y="308735"/>
                  <a:pt x="2609902" y="317785"/>
                  <a:pt x="2609919" y="326625"/>
                </a:cubicBezTo>
                <a:cubicBezTo>
                  <a:pt x="2609955" y="344221"/>
                  <a:pt x="2615370" y="349022"/>
                  <a:pt x="2629424" y="343915"/>
                </a:cubicBezTo>
                <a:cubicBezTo>
                  <a:pt x="2639222" y="340356"/>
                  <a:pt x="2640558" y="336562"/>
                  <a:pt x="2640558" y="312290"/>
                </a:cubicBezTo>
                <a:cubicBezTo>
                  <a:pt x="2640558" y="291190"/>
                  <a:pt x="2642612" y="283118"/>
                  <a:pt x="2649304" y="277934"/>
                </a:cubicBezTo>
                <a:cubicBezTo>
                  <a:pt x="2654568" y="273855"/>
                  <a:pt x="2658050" y="264678"/>
                  <a:pt x="2658050" y="254876"/>
                </a:cubicBezTo>
                <a:cubicBezTo>
                  <a:pt x="2658050" y="242441"/>
                  <a:pt x="2659730" y="239528"/>
                  <a:pt x="2665163" y="242546"/>
                </a:cubicBezTo>
                <a:cubicBezTo>
                  <a:pt x="2669075" y="244720"/>
                  <a:pt x="2674979" y="243252"/>
                  <a:pt x="2678281" y="239283"/>
                </a:cubicBezTo>
                <a:cubicBezTo>
                  <a:pt x="2685187" y="230987"/>
                  <a:pt x="2686456" y="201964"/>
                  <a:pt x="2679914" y="201964"/>
                </a:cubicBezTo>
                <a:cubicBezTo>
                  <a:pt x="2673155" y="201964"/>
                  <a:pt x="2674745" y="182076"/>
                  <a:pt x="2682494" y="169679"/>
                </a:cubicBezTo>
                <a:cubicBezTo>
                  <a:pt x="2693070" y="152761"/>
                  <a:pt x="2686712" y="132325"/>
                  <a:pt x="2670873" y="132325"/>
                </a:cubicBezTo>
                <a:cubicBezTo>
                  <a:pt x="2653920" y="132325"/>
                  <a:pt x="2654096" y="117239"/>
                  <a:pt x="2671168" y="107001"/>
                </a:cubicBezTo>
                <a:cubicBezTo>
                  <a:pt x="2678758" y="102450"/>
                  <a:pt x="2684287" y="94411"/>
                  <a:pt x="2684287" y="87927"/>
                </a:cubicBezTo>
                <a:cubicBezTo>
                  <a:pt x="2684287" y="81252"/>
                  <a:pt x="2688709" y="75113"/>
                  <a:pt x="2695219" y="72747"/>
                </a:cubicBezTo>
                <a:cubicBezTo>
                  <a:pt x="2701232" y="70562"/>
                  <a:pt x="2706152" y="66375"/>
                  <a:pt x="2706152" y="63442"/>
                </a:cubicBezTo>
                <a:cubicBezTo>
                  <a:pt x="2706152" y="55417"/>
                  <a:pt x="2727018" y="62811"/>
                  <a:pt x="2732792" y="72882"/>
                </a:cubicBezTo>
                <a:cubicBezTo>
                  <a:pt x="2735565" y="77719"/>
                  <a:pt x="2742301" y="81678"/>
                  <a:pt x="2747762" y="81678"/>
                </a:cubicBezTo>
                <a:cubicBezTo>
                  <a:pt x="2753223" y="81678"/>
                  <a:pt x="2758824" y="85951"/>
                  <a:pt x="2760208" y="91174"/>
                </a:cubicBezTo>
                <a:cubicBezTo>
                  <a:pt x="2761593" y="96397"/>
                  <a:pt x="2767707" y="100670"/>
                  <a:pt x="2773795" y="100670"/>
                </a:cubicBezTo>
                <a:cubicBezTo>
                  <a:pt x="2782006" y="100670"/>
                  <a:pt x="2784864" y="103991"/>
                  <a:pt x="2784864" y="113531"/>
                </a:cubicBezTo>
                <a:cubicBezTo>
                  <a:pt x="2784864" y="128974"/>
                  <a:pt x="2796460" y="136816"/>
                  <a:pt x="2806176" y="127943"/>
                </a:cubicBezTo>
                <a:cubicBezTo>
                  <a:pt x="2811009" y="123529"/>
                  <a:pt x="2812755" y="114385"/>
                  <a:pt x="2811807" y="98446"/>
                </a:cubicBezTo>
                <a:cubicBezTo>
                  <a:pt x="2810957" y="84169"/>
                  <a:pt x="2812343" y="75347"/>
                  <a:pt x="2815434" y="75347"/>
                </a:cubicBezTo>
                <a:cubicBezTo>
                  <a:pt x="2818242" y="75347"/>
                  <a:pt x="2819352" y="70399"/>
                  <a:pt x="2817964" y="64068"/>
                </a:cubicBezTo>
                <a:cubicBezTo>
                  <a:pt x="2816160" y="55840"/>
                  <a:pt x="2818843" y="50959"/>
                  <a:pt x="2827881" y="46020"/>
                </a:cubicBezTo>
                <a:cubicBezTo>
                  <a:pt x="2843570" y="37446"/>
                  <a:pt x="2867950" y="42245"/>
                  <a:pt x="2867950" y="53908"/>
                </a:cubicBezTo>
                <a:cubicBezTo>
                  <a:pt x="2867950" y="58735"/>
                  <a:pt x="2869918" y="62685"/>
                  <a:pt x="2872323" y="62685"/>
                </a:cubicBezTo>
                <a:cubicBezTo>
                  <a:pt x="2874727" y="62685"/>
                  <a:pt x="2876696" y="66869"/>
                  <a:pt x="2876696" y="71983"/>
                </a:cubicBezTo>
                <a:cubicBezTo>
                  <a:pt x="2876696" y="77575"/>
                  <a:pt x="2879265" y="79852"/>
                  <a:pt x="2883143" y="77698"/>
                </a:cubicBezTo>
                <a:cubicBezTo>
                  <a:pt x="2891144" y="73253"/>
                  <a:pt x="2915481" y="100222"/>
                  <a:pt x="2915810" y="113898"/>
                </a:cubicBezTo>
                <a:cubicBezTo>
                  <a:pt x="2915943" y="119433"/>
                  <a:pt x="2911039" y="127267"/>
                  <a:pt x="2904913" y="131308"/>
                </a:cubicBezTo>
                <a:cubicBezTo>
                  <a:pt x="2890838" y="140594"/>
                  <a:pt x="2889815" y="140513"/>
                  <a:pt x="2889815" y="130128"/>
                </a:cubicBezTo>
                <a:cubicBezTo>
                  <a:pt x="2889815" y="118102"/>
                  <a:pt x="2873609" y="92441"/>
                  <a:pt x="2868756" y="96783"/>
                </a:cubicBezTo>
                <a:cubicBezTo>
                  <a:pt x="2866540" y="98767"/>
                  <a:pt x="2863494" y="111537"/>
                  <a:pt x="2861989" y="125162"/>
                </a:cubicBezTo>
                <a:cubicBezTo>
                  <a:pt x="2860485" y="138787"/>
                  <a:pt x="2856291" y="151581"/>
                  <a:pt x="2852669" y="153593"/>
                </a:cubicBezTo>
                <a:cubicBezTo>
                  <a:pt x="2840741" y="160220"/>
                  <a:pt x="2847175" y="202394"/>
                  <a:pt x="2864473" y="230956"/>
                </a:cubicBezTo>
                <a:cubicBezTo>
                  <a:pt x="2868859" y="238196"/>
                  <a:pt x="2874926" y="256521"/>
                  <a:pt x="2877958" y="271677"/>
                </a:cubicBezTo>
                <a:cubicBezTo>
                  <a:pt x="2881774" y="290765"/>
                  <a:pt x="2887467" y="302627"/>
                  <a:pt x="2896480" y="310278"/>
                </a:cubicBezTo>
                <a:cubicBezTo>
                  <a:pt x="2914313" y="325416"/>
                  <a:pt x="2921265" y="324529"/>
                  <a:pt x="2930626" y="305922"/>
                </a:cubicBezTo>
                <a:cubicBezTo>
                  <a:pt x="2940093" y="287102"/>
                  <a:pt x="2934487" y="271603"/>
                  <a:pt x="2918213" y="271603"/>
                </a:cubicBezTo>
                <a:cubicBezTo>
                  <a:pt x="2911656" y="271603"/>
                  <a:pt x="2907437" y="266805"/>
                  <a:pt x="2905690" y="257359"/>
                </a:cubicBezTo>
                <a:cubicBezTo>
                  <a:pt x="2901610" y="235322"/>
                  <a:pt x="2902186" y="233618"/>
                  <a:pt x="2913711" y="233618"/>
                </a:cubicBezTo>
                <a:cubicBezTo>
                  <a:pt x="2927050" y="233618"/>
                  <a:pt x="2933170" y="217887"/>
                  <a:pt x="2930337" y="190885"/>
                </a:cubicBezTo>
                <a:cubicBezTo>
                  <a:pt x="2928712" y="175393"/>
                  <a:pt x="2929806" y="170310"/>
                  <a:pt x="2934767" y="170310"/>
                </a:cubicBezTo>
                <a:cubicBezTo>
                  <a:pt x="2943173" y="170310"/>
                  <a:pt x="2947395" y="185709"/>
                  <a:pt x="2941378" y="194420"/>
                </a:cubicBezTo>
                <a:cubicBezTo>
                  <a:pt x="2938159" y="199081"/>
                  <a:pt x="2941598" y="202390"/>
                  <a:pt x="2952827" y="205440"/>
                </a:cubicBezTo>
                <a:cubicBezTo>
                  <a:pt x="2965084" y="208769"/>
                  <a:pt x="2970901" y="207145"/>
                  <a:pt x="2977447" y="198569"/>
                </a:cubicBezTo>
                <a:cubicBezTo>
                  <a:pt x="2991133" y="180640"/>
                  <a:pt x="2988109" y="159934"/>
                  <a:pt x="2967852" y="132854"/>
                </a:cubicBezTo>
                <a:cubicBezTo>
                  <a:pt x="2949478" y="108292"/>
                  <a:pt x="2946932" y="88008"/>
                  <a:pt x="2962222" y="88008"/>
                </a:cubicBezTo>
                <a:cubicBezTo>
                  <a:pt x="2970062" y="88008"/>
                  <a:pt x="2985645" y="64023"/>
                  <a:pt x="2985873" y="51606"/>
                </a:cubicBezTo>
                <a:cubicBezTo>
                  <a:pt x="2985960" y="46899"/>
                  <a:pt x="2991929" y="43693"/>
                  <a:pt x="3000606" y="43693"/>
                </a:cubicBezTo>
                <a:cubicBezTo>
                  <a:pt x="3012139" y="43693"/>
                  <a:pt x="3018546" y="49098"/>
                  <a:pt x="3031196" y="69498"/>
                </a:cubicBezTo>
                <a:cubicBezTo>
                  <a:pt x="3045443" y="92473"/>
                  <a:pt x="3047919" y="94259"/>
                  <a:pt x="3053778" y="85778"/>
                </a:cubicBezTo>
                <a:cubicBezTo>
                  <a:pt x="3061714" y="74289"/>
                  <a:pt x="3062205" y="61561"/>
                  <a:pt x="3055111" y="51289"/>
                </a:cubicBezTo>
                <a:cubicBezTo>
                  <a:pt x="3051030" y="45381"/>
                  <a:pt x="3051090" y="41934"/>
                  <a:pt x="3055383" y="35779"/>
                </a:cubicBezTo>
                <a:cubicBezTo>
                  <a:pt x="3059803" y="29442"/>
                  <a:pt x="3061685" y="29872"/>
                  <a:pt x="3064829" y="37931"/>
                </a:cubicBezTo>
                <a:cubicBezTo>
                  <a:pt x="3073651" y="60547"/>
                  <a:pt x="3085007" y="75367"/>
                  <a:pt x="3095119" y="77459"/>
                </a:cubicBezTo>
                <a:cubicBezTo>
                  <a:pt x="3110739" y="80691"/>
                  <a:pt x="3116466" y="97029"/>
                  <a:pt x="3107184" y="111877"/>
                </a:cubicBezTo>
                <a:cubicBezTo>
                  <a:pt x="3099011" y="124950"/>
                  <a:pt x="3097138" y="144986"/>
                  <a:pt x="3104088" y="144986"/>
                </a:cubicBezTo>
                <a:cubicBezTo>
                  <a:pt x="3106492" y="144986"/>
                  <a:pt x="3108461" y="151941"/>
                  <a:pt x="3108461" y="160439"/>
                </a:cubicBezTo>
                <a:cubicBezTo>
                  <a:pt x="3108461" y="168939"/>
                  <a:pt x="3110429" y="177654"/>
                  <a:pt x="3112834" y="179806"/>
                </a:cubicBezTo>
                <a:cubicBezTo>
                  <a:pt x="3115238" y="181958"/>
                  <a:pt x="3117207" y="193663"/>
                  <a:pt x="3117207" y="205817"/>
                </a:cubicBezTo>
                <a:cubicBezTo>
                  <a:pt x="3117207" y="222318"/>
                  <a:pt x="3120918" y="233447"/>
                  <a:pt x="3131860" y="249759"/>
                </a:cubicBezTo>
                <a:cubicBezTo>
                  <a:pt x="3139920" y="261774"/>
                  <a:pt x="3149007" y="271603"/>
                  <a:pt x="3152055" y="271603"/>
                </a:cubicBezTo>
                <a:cubicBezTo>
                  <a:pt x="3155102" y="271603"/>
                  <a:pt x="3164319" y="280150"/>
                  <a:pt x="3172536" y="290596"/>
                </a:cubicBezTo>
                <a:cubicBezTo>
                  <a:pt x="3188581" y="310992"/>
                  <a:pt x="3207725" y="315576"/>
                  <a:pt x="3211850" y="300011"/>
                </a:cubicBezTo>
                <a:cubicBezTo>
                  <a:pt x="3213246" y="294744"/>
                  <a:pt x="3211890" y="286077"/>
                  <a:pt x="3208838" y="280750"/>
                </a:cubicBezTo>
                <a:cubicBezTo>
                  <a:pt x="3201373" y="267728"/>
                  <a:pt x="3210491" y="252182"/>
                  <a:pt x="3218659" y="264006"/>
                </a:cubicBezTo>
                <a:cubicBezTo>
                  <a:pt x="3224862" y="272988"/>
                  <a:pt x="3249230" y="274134"/>
                  <a:pt x="3255173" y="265724"/>
                </a:cubicBezTo>
                <a:cubicBezTo>
                  <a:pt x="3257458" y="262490"/>
                  <a:pt x="3266214" y="258929"/>
                  <a:pt x="3274632" y="257810"/>
                </a:cubicBezTo>
                <a:cubicBezTo>
                  <a:pt x="3287659" y="256079"/>
                  <a:pt x="3290142" y="253185"/>
                  <a:pt x="3291320" y="238366"/>
                </a:cubicBezTo>
                <a:cubicBezTo>
                  <a:pt x="3292306" y="225960"/>
                  <a:pt x="3295174" y="220957"/>
                  <a:pt x="3301297" y="220957"/>
                </a:cubicBezTo>
                <a:cubicBezTo>
                  <a:pt x="3311988" y="220957"/>
                  <a:pt x="3316952" y="203956"/>
                  <a:pt x="3310575" y="189177"/>
                </a:cubicBezTo>
                <a:cubicBezTo>
                  <a:pt x="3306477" y="179673"/>
                  <a:pt x="3307719" y="177506"/>
                  <a:pt x="3319179" y="174188"/>
                </a:cubicBezTo>
                <a:cubicBezTo>
                  <a:pt x="3350857" y="165016"/>
                  <a:pt x="3375209" y="178300"/>
                  <a:pt x="3375209" y="204754"/>
                </a:cubicBezTo>
                <a:cubicBezTo>
                  <a:pt x="3375209" y="212452"/>
                  <a:pt x="3380128" y="225440"/>
                  <a:pt x="3386141" y="233618"/>
                </a:cubicBezTo>
                <a:cubicBezTo>
                  <a:pt x="3392154" y="241796"/>
                  <a:pt x="3397074" y="253213"/>
                  <a:pt x="3397074" y="258990"/>
                </a:cubicBezTo>
                <a:cubicBezTo>
                  <a:pt x="3397074" y="274893"/>
                  <a:pt x="3401750" y="278399"/>
                  <a:pt x="3408988" y="267922"/>
                </a:cubicBezTo>
                <a:cubicBezTo>
                  <a:pt x="3415535" y="258440"/>
                  <a:pt x="3432760" y="261354"/>
                  <a:pt x="3435701" y="272440"/>
                </a:cubicBezTo>
                <a:cubicBezTo>
                  <a:pt x="3436503" y="275462"/>
                  <a:pt x="3441799" y="277934"/>
                  <a:pt x="3447468" y="277934"/>
                </a:cubicBezTo>
                <a:cubicBezTo>
                  <a:pt x="3453139" y="277934"/>
                  <a:pt x="3458994" y="280783"/>
                  <a:pt x="3460481" y="284265"/>
                </a:cubicBezTo>
                <a:cubicBezTo>
                  <a:pt x="3461968" y="287747"/>
                  <a:pt x="3467993" y="290596"/>
                  <a:pt x="3473871" y="290596"/>
                </a:cubicBezTo>
                <a:cubicBezTo>
                  <a:pt x="3482160" y="290596"/>
                  <a:pt x="3486258" y="284916"/>
                  <a:pt x="3492137" y="265273"/>
                </a:cubicBezTo>
                <a:cubicBezTo>
                  <a:pt x="3496304" y="251345"/>
                  <a:pt x="3501176" y="239949"/>
                  <a:pt x="3502962" y="239949"/>
                </a:cubicBezTo>
                <a:cubicBezTo>
                  <a:pt x="3504748" y="239949"/>
                  <a:pt x="3503904" y="232623"/>
                  <a:pt x="3501086" y="223668"/>
                </a:cubicBezTo>
                <a:cubicBezTo>
                  <a:pt x="3497521" y="212342"/>
                  <a:pt x="3497370" y="206081"/>
                  <a:pt x="3500590" y="203093"/>
                </a:cubicBezTo>
                <a:cubicBezTo>
                  <a:pt x="3509297" y="195013"/>
                  <a:pt x="3511914" y="170548"/>
                  <a:pt x="3504512" y="166435"/>
                </a:cubicBezTo>
                <a:cubicBezTo>
                  <a:pt x="3500738" y="164339"/>
                  <a:pt x="3497651" y="156156"/>
                  <a:pt x="3497651" y="148250"/>
                </a:cubicBezTo>
                <a:cubicBezTo>
                  <a:pt x="3497651" y="140344"/>
                  <a:pt x="3494700" y="130329"/>
                  <a:pt x="3491091" y="125994"/>
                </a:cubicBezTo>
                <a:cubicBezTo>
                  <a:pt x="3487483" y="121659"/>
                  <a:pt x="3484532" y="111508"/>
                  <a:pt x="3484532" y="103434"/>
                </a:cubicBezTo>
                <a:cubicBezTo>
                  <a:pt x="3484532" y="95361"/>
                  <a:pt x="3482565" y="86995"/>
                  <a:pt x="3480160" y="84843"/>
                </a:cubicBezTo>
                <a:cubicBezTo>
                  <a:pt x="3477754" y="82691"/>
                  <a:pt x="3475787" y="65734"/>
                  <a:pt x="3475787" y="47161"/>
                </a:cubicBezTo>
                <a:cubicBezTo>
                  <a:pt x="3475787" y="22209"/>
                  <a:pt x="3477593" y="12390"/>
                  <a:pt x="3482704" y="9550"/>
                </a:cubicBezTo>
                <a:cubicBezTo>
                  <a:pt x="3487246" y="7027"/>
                  <a:pt x="3489200" y="5620"/>
                  <a:pt x="3491456" y="6650"/>
                </a:cubicBezTo>
                <a:close/>
                <a:moveTo>
                  <a:pt x="3226906" y="1812"/>
                </a:moveTo>
                <a:cubicBezTo>
                  <a:pt x="3239673" y="-1245"/>
                  <a:pt x="3244752" y="962"/>
                  <a:pt x="3254236" y="13687"/>
                </a:cubicBezTo>
                <a:cubicBezTo>
                  <a:pt x="3260643" y="22284"/>
                  <a:pt x="3265886" y="31224"/>
                  <a:pt x="3265886" y="33553"/>
                </a:cubicBezTo>
                <a:cubicBezTo>
                  <a:pt x="3265886" y="35882"/>
                  <a:pt x="3260213" y="45816"/>
                  <a:pt x="3253280" y="55628"/>
                </a:cubicBezTo>
                <a:cubicBezTo>
                  <a:pt x="3237852" y="77461"/>
                  <a:pt x="3214386" y="85952"/>
                  <a:pt x="3207342" y="72250"/>
                </a:cubicBezTo>
                <a:cubicBezTo>
                  <a:pt x="3202496" y="62824"/>
                  <a:pt x="3163632" y="56671"/>
                  <a:pt x="3158240" y="64477"/>
                </a:cubicBezTo>
                <a:cubicBezTo>
                  <a:pt x="3156779" y="66593"/>
                  <a:pt x="3155075" y="77738"/>
                  <a:pt x="3154454" y="89245"/>
                </a:cubicBezTo>
                <a:cubicBezTo>
                  <a:pt x="3153386" y="109054"/>
                  <a:pt x="3144752" y="119445"/>
                  <a:pt x="3137765" y="109330"/>
                </a:cubicBezTo>
                <a:cubicBezTo>
                  <a:pt x="3133071" y="102536"/>
                  <a:pt x="3134120" y="81678"/>
                  <a:pt x="3139154" y="81678"/>
                </a:cubicBezTo>
                <a:cubicBezTo>
                  <a:pt x="3141720" y="81678"/>
                  <a:pt x="3142451" y="74986"/>
                  <a:pt x="3140877" y="65909"/>
                </a:cubicBezTo>
                <a:cubicBezTo>
                  <a:pt x="3138806" y="53957"/>
                  <a:pt x="3140109" y="49249"/>
                  <a:pt x="3146260" y="46455"/>
                </a:cubicBezTo>
                <a:cubicBezTo>
                  <a:pt x="3150724" y="44427"/>
                  <a:pt x="3157793" y="40127"/>
                  <a:pt x="3161969" y="36900"/>
                </a:cubicBezTo>
                <a:cubicBezTo>
                  <a:pt x="3166146" y="33671"/>
                  <a:pt x="3172542" y="31031"/>
                  <a:pt x="3176182" y="31031"/>
                </a:cubicBezTo>
                <a:cubicBezTo>
                  <a:pt x="3179885" y="31031"/>
                  <a:pt x="3182801" y="25454"/>
                  <a:pt x="3182801" y="18369"/>
                </a:cubicBezTo>
                <a:cubicBezTo>
                  <a:pt x="3182801" y="8319"/>
                  <a:pt x="3185731" y="5693"/>
                  <a:pt x="3197012" y="5637"/>
                </a:cubicBezTo>
                <a:cubicBezTo>
                  <a:pt x="3204829" y="5599"/>
                  <a:pt x="3218281" y="3878"/>
                  <a:pt x="3226906" y="1812"/>
                </a:cubicBezTo>
                <a:close/>
                <a:moveTo>
                  <a:pt x="3353505" y="1044"/>
                </a:moveTo>
                <a:cubicBezTo>
                  <a:pt x="3365314" y="-3635"/>
                  <a:pt x="3365622" y="6767"/>
                  <a:pt x="3364731" y="45612"/>
                </a:cubicBezTo>
                <a:cubicBezTo>
                  <a:pt x="3364148" y="71042"/>
                  <a:pt x="3362215" y="95257"/>
                  <a:pt x="3360436" y="99424"/>
                </a:cubicBezTo>
                <a:cubicBezTo>
                  <a:pt x="3356504" y="108635"/>
                  <a:pt x="3346119" y="109352"/>
                  <a:pt x="3342412" y="100670"/>
                </a:cubicBezTo>
                <a:cubicBezTo>
                  <a:pt x="3340926" y="97188"/>
                  <a:pt x="3335147" y="94339"/>
                  <a:pt x="3329571" y="94339"/>
                </a:cubicBezTo>
                <a:cubicBezTo>
                  <a:pt x="3323994" y="94339"/>
                  <a:pt x="3316982" y="90066"/>
                  <a:pt x="3313988" y="84843"/>
                </a:cubicBezTo>
                <a:cubicBezTo>
                  <a:pt x="3310993" y="79620"/>
                  <a:pt x="3304850" y="75347"/>
                  <a:pt x="3300334" y="75347"/>
                </a:cubicBezTo>
                <a:cubicBezTo>
                  <a:pt x="3295819" y="75347"/>
                  <a:pt x="3292124" y="73173"/>
                  <a:pt x="3292124" y="70517"/>
                </a:cubicBezTo>
                <a:cubicBezTo>
                  <a:pt x="3292124" y="67861"/>
                  <a:pt x="3287696" y="62875"/>
                  <a:pt x="3282285" y="59438"/>
                </a:cubicBezTo>
                <a:cubicBezTo>
                  <a:pt x="3264498" y="48141"/>
                  <a:pt x="3270499" y="34725"/>
                  <a:pt x="3296497" y="27663"/>
                </a:cubicBezTo>
                <a:cubicBezTo>
                  <a:pt x="3309725" y="24071"/>
                  <a:pt x="3328167" y="16237"/>
                  <a:pt x="3337481" y="10254"/>
                </a:cubicBezTo>
                <a:cubicBezTo>
                  <a:pt x="3344354" y="5839"/>
                  <a:pt x="3349568" y="2604"/>
                  <a:pt x="3353505" y="1044"/>
                </a:cubicBezTo>
                <a:close/>
              </a:path>
            </a:pathLst>
          </a:custGeom>
        </p:spPr>
        <p:txBody>
          <a:bodyPr wrap="square">
            <a:noAutofit/>
          </a:bodyPr>
          <a:lstStyle/>
          <a:p>
            <a:endParaRPr lang="en-IN" dirty="0"/>
          </a:p>
        </p:txBody>
      </p:sp>
      <p:sp>
        <p:nvSpPr>
          <p:cNvPr id="6" name="Picture Placeholder 5">
            <a:extLst>
              <a:ext uri="{FF2B5EF4-FFF2-40B4-BE49-F238E27FC236}">
                <a16:creationId xmlns:a16="http://schemas.microsoft.com/office/drawing/2014/main" id="{3D0B7AA4-20D7-4630-AB8A-C2207A5A3D3B}"/>
              </a:ext>
            </a:extLst>
          </p:cNvPr>
          <p:cNvSpPr>
            <a:spLocks noGrp="1"/>
          </p:cNvSpPr>
          <p:nvPr>
            <p:ph type="pic" sz="quarter" idx="14"/>
          </p:nvPr>
        </p:nvSpPr>
        <p:spPr>
          <a:xfrm>
            <a:off x="4580689" y="1405755"/>
            <a:ext cx="3030631" cy="3017293"/>
          </a:xfrm>
          <a:custGeom>
            <a:avLst/>
            <a:gdLst>
              <a:gd name="connsiteX0" fmla="*/ 1260900 w 4545947"/>
              <a:gd name="connsiteY0" fmla="*/ 4513278 h 4525940"/>
              <a:gd name="connsiteX1" fmla="*/ 1267459 w 4545947"/>
              <a:gd name="connsiteY1" fmla="*/ 4519609 h 4525940"/>
              <a:gd name="connsiteX2" fmla="*/ 1260900 w 4545947"/>
              <a:gd name="connsiteY2" fmla="*/ 4525940 h 4525940"/>
              <a:gd name="connsiteX3" fmla="*/ 1254340 w 4545947"/>
              <a:gd name="connsiteY3" fmla="*/ 4519609 h 4525940"/>
              <a:gd name="connsiteX4" fmla="*/ 1260900 w 4545947"/>
              <a:gd name="connsiteY4" fmla="*/ 4513278 h 4525940"/>
              <a:gd name="connsiteX5" fmla="*/ 1096915 w 4545947"/>
              <a:gd name="connsiteY5" fmla="*/ 4392992 h 4525940"/>
              <a:gd name="connsiteX6" fmla="*/ 1101288 w 4545947"/>
              <a:gd name="connsiteY6" fmla="*/ 4402488 h 4525940"/>
              <a:gd name="connsiteX7" fmla="*/ 1096915 w 4545947"/>
              <a:gd name="connsiteY7" fmla="*/ 4411984 h 4525940"/>
              <a:gd name="connsiteX8" fmla="*/ 1092542 w 4545947"/>
              <a:gd name="connsiteY8" fmla="*/ 4402488 h 4525940"/>
              <a:gd name="connsiteX9" fmla="*/ 1096915 w 4545947"/>
              <a:gd name="connsiteY9" fmla="*/ 4392992 h 4525940"/>
              <a:gd name="connsiteX10" fmla="*/ 3812502 w 4545947"/>
              <a:gd name="connsiteY10" fmla="*/ 4386661 h 4525940"/>
              <a:gd name="connsiteX11" fmla="*/ 3816875 w 4545947"/>
              <a:gd name="connsiteY11" fmla="*/ 4392992 h 4525940"/>
              <a:gd name="connsiteX12" fmla="*/ 3812502 w 4545947"/>
              <a:gd name="connsiteY12" fmla="*/ 4399322 h 4525940"/>
              <a:gd name="connsiteX13" fmla="*/ 3808129 w 4545947"/>
              <a:gd name="connsiteY13" fmla="*/ 4392992 h 4525940"/>
              <a:gd name="connsiteX14" fmla="*/ 3812502 w 4545947"/>
              <a:gd name="connsiteY14" fmla="*/ 4386661 h 4525940"/>
              <a:gd name="connsiteX15" fmla="*/ 972287 w 4545947"/>
              <a:gd name="connsiteY15" fmla="*/ 4355006 h 4525940"/>
              <a:gd name="connsiteX16" fmla="*/ 978846 w 4545947"/>
              <a:gd name="connsiteY16" fmla="*/ 4364503 h 4525940"/>
              <a:gd name="connsiteX17" fmla="*/ 972287 w 4545947"/>
              <a:gd name="connsiteY17" fmla="*/ 4373999 h 4525940"/>
              <a:gd name="connsiteX18" fmla="*/ 965727 w 4545947"/>
              <a:gd name="connsiteY18" fmla="*/ 4364503 h 4525940"/>
              <a:gd name="connsiteX19" fmla="*/ 972287 w 4545947"/>
              <a:gd name="connsiteY19" fmla="*/ 4355006 h 4525940"/>
              <a:gd name="connsiteX20" fmla="*/ 3695599 w 4545947"/>
              <a:gd name="connsiteY20" fmla="*/ 4285367 h 4525940"/>
              <a:gd name="connsiteX21" fmla="*/ 3704795 w 4545947"/>
              <a:gd name="connsiteY21" fmla="*/ 4299611 h 4525940"/>
              <a:gd name="connsiteX22" fmla="*/ 3703751 w 4545947"/>
              <a:gd name="connsiteY22" fmla="*/ 4355006 h 4525940"/>
              <a:gd name="connsiteX23" fmla="*/ 3697362 w 4545947"/>
              <a:gd name="connsiteY23" fmla="*/ 4334431 h 4525940"/>
              <a:gd name="connsiteX24" fmla="*/ 3691906 w 4545947"/>
              <a:gd name="connsiteY24" fmla="*/ 4299611 h 4525940"/>
              <a:gd name="connsiteX25" fmla="*/ 3695599 w 4545947"/>
              <a:gd name="connsiteY25" fmla="*/ 4285367 h 4525940"/>
              <a:gd name="connsiteX26" fmla="*/ 3791489 w 4545947"/>
              <a:gd name="connsiteY26" fmla="*/ 4247982 h 4525940"/>
              <a:gd name="connsiteX27" fmla="*/ 3797678 w 4545947"/>
              <a:gd name="connsiteY27" fmla="*/ 4254863 h 4525940"/>
              <a:gd name="connsiteX28" fmla="*/ 3802997 w 4545947"/>
              <a:gd name="connsiteY28" fmla="*/ 4279809 h 4525940"/>
              <a:gd name="connsiteX29" fmla="*/ 3793855 w 4545947"/>
              <a:gd name="connsiteY29" fmla="*/ 4273261 h 4525940"/>
              <a:gd name="connsiteX30" fmla="*/ 3791489 w 4545947"/>
              <a:gd name="connsiteY30" fmla="*/ 4247982 h 4525940"/>
              <a:gd name="connsiteX31" fmla="*/ 932930 w 4545947"/>
              <a:gd name="connsiteY31" fmla="*/ 4222058 h 4525940"/>
              <a:gd name="connsiteX32" fmla="*/ 939490 w 4545947"/>
              <a:gd name="connsiteY32" fmla="*/ 4234720 h 4525940"/>
              <a:gd name="connsiteX33" fmla="*/ 932930 w 4545947"/>
              <a:gd name="connsiteY33" fmla="*/ 4247382 h 4525940"/>
              <a:gd name="connsiteX34" fmla="*/ 926371 w 4545947"/>
              <a:gd name="connsiteY34" fmla="*/ 4234720 h 4525940"/>
              <a:gd name="connsiteX35" fmla="*/ 932930 w 4545947"/>
              <a:gd name="connsiteY35" fmla="*/ 4222058 h 4525940"/>
              <a:gd name="connsiteX36" fmla="*/ 1267119 w 4545947"/>
              <a:gd name="connsiteY36" fmla="*/ 4212536 h 4525940"/>
              <a:gd name="connsiteX37" fmla="*/ 1271832 w 4545947"/>
              <a:gd name="connsiteY37" fmla="*/ 4222432 h 4525940"/>
              <a:gd name="connsiteX38" fmla="*/ 1259340 w 4545947"/>
              <a:gd name="connsiteY38" fmla="*/ 4222753 h 4525940"/>
              <a:gd name="connsiteX39" fmla="*/ 1258247 w 4545947"/>
              <a:gd name="connsiteY39" fmla="*/ 4212980 h 4525940"/>
              <a:gd name="connsiteX40" fmla="*/ 1267119 w 4545947"/>
              <a:gd name="connsiteY40" fmla="*/ 4212536 h 4525940"/>
              <a:gd name="connsiteX41" fmla="*/ 3606974 w 4545947"/>
              <a:gd name="connsiteY41" fmla="*/ 4158750 h 4525940"/>
              <a:gd name="connsiteX42" fmla="*/ 3611347 w 4545947"/>
              <a:gd name="connsiteY42" fmla="*/ 4165081 h 4525940"/>
              <a:gd name="connsiteX43" fmla="*/ 3606974 w 4545947"/>
              <a:gd name="connsiteY43" fmla="*/ 4171411 h 4525940"/>
              <a:gd name="connsiteX44" fmla="*/ 3602601 w 4545947"/>
              <a:gd name="connsiteY44" fmla="*/ 4165081 h 4525940"/>
              <a:gd name="connsiteX45" fmla="*/ 3606974 w 4545947"/>
              <a:gd name="connsiteY45" fmla="*/ 4158750 h 4525940"/>
              <a:gd name="connsiteX46" fmla="*/ 1253971 w 4545947"/>
              <a:gd name="connsiteY46" fmla="*/ 4155079 h 4525940"/>
              <a:gd name="connsiteX47" fmla="*/ 1263086 w 4545947"/>
              <a:gd name="connsiteY47" fmla="*/ 4181282 h 4525940"/>
              <a:gd name="connsiteX48" fmla="*/ 1254814 w 4545947"/>
              <a:gd name="connsiteY48" fmla="*/ 4203066 h 4525940"/>
              <a:gd name="connsiteX49" fmla="*/ 1243753 w 4545947"/>
              <a:gd name="connsiteY49" fmla="*/ 4186974 h 4525940"/>
              <a:gd name="connsiteX50" fmla="*/ 1247618 w 4545947"/>
              <a:gd name="connsiteY50" fmla="*/ 4161246 h 4525940"/>
              <a:gd name="connsiteX51" fmla="*/ 1253971 w 4545947"/>
              <a:gd name="connsiteY51" fmla="*/ 4155079 h 4525940"/>
              <a:gd name="connsiteX52" fmla="*/ 2452780 w 4545947"/>
              <a:gd name="connsiteY52" fmla="*/ 4146088 h 4525940"/>
              <a:gd name="connsiteX53" fmla="*/ 2456895 w 4545947"/>
              <a:gd name="connsiteY53" fmla="*/ 4155585 h 4525940"/>
              <a:gd name="connsiteX54" fmla="*/ 2446810 w 4545947"/>
              <a:gd name="connsiteY54" fmla="*/ 4161032 h 4525940"/>
              <a:gd name="connsiteX55" fmla="*/ 2452780 w 4545947"/>
              <a:gd name="connsiteY55" fmla="*/ 4146088 h 4525940"/>
              <a:gd name="connsiteX56" fmla="*/ 3700993 w 4545947"/>
              <a:gd name="connsiteY56" fmla="*/ 4127095 h 4525940"/>
              <a:gd name="connsiteX57" fmla="*/ 3707552 w 4545947"/>
              <a:gd name="connsiteY57" fmla="*/ 4136592 h 4525940"/>
              <a:gd name="connsiteX58" fmla="*/ 3697347 w 4545947"/>
              <a:gd name="connsiteY58" fmla="*/ 4141867 h 4525940"/>
              <a:gd name="connsiteX59" fmla="*/ 3700993 w 4545947"/>
              <a:gd name="connsiteY59" fmla="*/ 4127095 h 4525940"/>
              <a:gd name="connsiteX60" fmla="*/ 879089 w 4545947"/>
              <a:gd name="connsiteY60" fmla="*/ 4115046 h 4525940"/>
              <a:gd name="connsiteX61" fmla="*/ 887014 w 4545947"/>
              <a:gd name="connsiteY61" fmla="*/ 4127095 h 4525940"/>
              <a:gd name="connsiteX62" fmla="*/ 877084 w 4545947"/>
              <a:gd name="connsiteY62" fmla="*/ 4132845 h 4525940"/>
              <a:gd name="connsiteX63" fmla="*/ 871875 w 4545947"/>
              <a:gd name="connsiteY63" fmla="*/ 4120376 h 4525940"/>
              <a:gd name="connsiteX64" fmla="*/ 879089 w 4545947"/>
              <a:gd name="connsiteY64" fmla="*/ 4115046 h 4525940"/>
              <a:gd name="connsiteX65" fmla="*/ 1862177 w 4545947"/>
              <a:gd name="connsiteY65" fmla="*/ 4108103 h 4525940"/>
              <a:gd name="connsiteX66" fmla="*/ 1866550 w 4545947"/>
              <a:gd name="connsiteY66" fmla="*/ 4114434 h 4525940"/>
              <a:gd name="connsiteX67" fmla="*/ 1862177 w 4545947"/>
              <a:gd name="connsiteY67" fmla="*/ 4120765 h 4525940"/>
              <a:gd name="connsiteX68" fmla="*/ 1857804 w 4545947"/>
              <a:gd name="connsiteY68" fmla="*/ 4114434 h 4525940"/>
              <a:gd name="connsiteX69" fmla="*/ 1862177 w 4545947"/>
              <a:gd name="connsiteY69" fmla="*/ 4108103 h 4525940"/>
              <a:gd name="connsiteX70" fmla="*/ 1183790 w 4545947"/>
              <a:gd name="connsiteY70" fmla="*/ 4089207 h 4525940"/>
              <a:gd name="connsiteX71" fmla="*/ 1177152 w 4545947"/>
              <a:gd name="connsiteY71" fmla="*/ 4126770 h 4525940"/>
              <a:gd name="connsiteX72" fmla="*/ 1180982 w 4545947"/>
              <a:gd name="connsiteY72" fmla="*/ 4116926 h 4525940"/>
              <a:gd name="connsiteX73" fmla="*/ 1184868 w 4545947"/>
              <a:gd name="connsiteY73" fmla="*/ 4094865 h 4525940"/>
              <a:gd name="connsiteX74" fmla="*/ 1183790 w 4545947"/>
              <a:gd name="connsiteY74" fmla="*/ 4089207 h 4525940"/>
              <a:gd name="connsiteX75" fmla="*/ 1852771 w 4545947"/>
              <a:gd name="connsiteY75" fmla="*/ 4080379 h 4525940"/>
              <a:gd name="connsiteX76" fmla="*/ 1859380 w 4545947"/>
              <a:gd name="connsiteY76" fmla="*/ 4080841 h 4525940"/>
              <a:gd name="connsiteX77" fmla="*/ 1858062 w 4545947"/>
              <a:gd name="connsiteY77" fmla="*/ 4095441 h 4525940"/>
              <a:gd name="connsiteX78" fmla="*/ 1851431 w 4545947"/>
              <a:gd name="connsiteY78" fmla="*/ 4089548 h 4525940"/>
              <a:gd name="connsiteX79" fmla="*/ 1852771 w 4545947"/>
              <a:gd name="connsiteY79" fmla="*/ 4080379 h 4525940"/>
              <a:gd name="connsiteX80" fmla="*/ 3747913 w 4545947"/>
              <a:gd name="connsiteY80" fmla="*/ 4076860 h 4525940"/>
              <a:gd name="connsiteX81" fmla="*/ 3759152 w 4545947"/>
              <a:gd name="connsiteY81" fmla="*/ 4084046 h 4525940"/>
              <a:gd name="connsiteX82" fmla="*/ 3756383 w 4545947"/>
              <a:gd name="connsiteY82" fmla="*/ 4108103 h 4525940"/>
              <a:gd name="connsiteX83" fmla="*/ 3745450 w 4545947"/>
              <a:gd name="connsiteY83" fmla="*/ 4103882 h 4525940"/>
              <a:gd name="connsiteX84" fmla="*/ 3742535 w 4545947"/>
              <a:gd name="connsiteY84" fmla="*/ 4088055 h 4525940"/>
              <a:gd name="connsiteX85" fmla="*/ 3747913 w 4545947"/>
              <a:gd name="connsiteY85" fmla="*/ 4076860 h 4525940"/>
              <a:gd name="connsiteX86" fmla="*/ 1114457 w 4545947"/>
              <a:gd name="connsiteY86" fmla="*/ 4072746 h 4525940"/>
              <a:gd name="connsiteX87" fmla="*/ 1107340 w 4545947"/>
              <a:gd name="connsiteY87" fmla="*/ 4105307 h 4525940"/>
              <a:gd name="connsiteX88" fmla="*/ 1117549 w 4545947"/>
              <a:gd name="connsiteY88" fmla="*/ 4113700 h 4525940"/>
              <a:gd name="connsiteX89" fmla="*/ 1117687 w 4545947"/>
              <a:gd name="connsiteY89" fmla="*/ 4110070 h 4525940"/>
              <a:gd name="connsiteX90" fmla="*/ 1115500 w 4545947"/>
              <a:gd name="connsiteY90" fmla="*/ 4074720 h 4525940"/>
              <a:gd name="connsiteX91" fmla="*/ 1114457 w 4545947"/>
              <a:gd name="connsiteY91" fmla="*/ 4072746 h 4525940"/>
              <a:gd name="connsiteX92" fmla="*/ 2356317 w 4545947"/>
              <a:gd name="connsiteY92" fmla="*/ 4044794 h 4525940"/>
              <a:gd name="connsiteX93" fmla="*/ 2360690 w 4545947"/>
              <a:gd name="connsiteY93" fmla="*/ 4050752 h 4525940"/>
              <a:gd name="connsiteX94" fmla="*/ 2356317 w 4545947"/>
              <a:gd name="connsiteY94" fmla="*/ 4060622 h 4525940"/>
              <a:gd name="connsiteX95" fmla="*/ 2351944 w 4545947"/>
              <a:gd name="connsiteY95" fmla="*/ 4054664 h 4525940"/>
              <a:gd name="connsiteX96" fmla="*/ 2356317 w 4545947"/>
              <a:gd name="connsiteY96" fmla="*/ 4044794 h 4525940"/>
              <a:gd name="connsiteX97" fmla="*/ 1890281 w 4545947"/>
              <a:gd name="connsiteY97" fmla="*/ 4038463 h 4525940"/>
              <a:gd name="connsiteX98" fmla="*/ 1903064 w 4545947"/>
              <a:gd name="connsiteY98" fmla="*/ 4057456 h 4525940"/>
              <a:gd name="connsiteX99" fmla="*/ 1908851 w 4545947"/>
              <a:gd name="connsiteY99" fmla="*/ 4075870 h 4525940"/>
              <a:gd name="connsiteX100" fmla="*/ 1896075 w 4545947"/>
              <a:gd name="connsiteY100" fmla="*/ 4064790 h 4525940"/>
              <a:gd name="connsiteX101" fmla="*/ 1890281 w 4545947"/>
              <a:gd name="connsiteY101" fmla="*/ 4038463 h 4525940"/>
              <a:gd name="connsiteX102" fmla="*/ 1534930 w 4545947"/>
              <a:gd name="connsiteY102" fmla="*/ 4031057 h 4525940"/>
              <a:gd name="connsiteX103" fmla="*/ 1547326 w 4545947"/>
              <a:gd name="connsiteY103" fmla="*/ 4034071 h 4525940"/>
              <a:gd name="connsiteX104" fmla="*/ 1556559 w 4545947"/>
              <a:gd name="connsiteY104" fmla="*/ 4057456 h 4525940"/>
              <a:gd name="connsiteX105" fmla="*/ 1556072 w 4545947"/>
              <a:gd name="connsiteY105" fmla="*/ 4082779 h 4525940"/>
              <a:gd name="connsiteX106" fmla="*/ 1569191 w 4545947"/>
              <a:gd name="connsiteY106" fmla="*/ 4122875 h 4525940"/>
              <a:gd name="connsiteX107" fmla="*/ 1577937 w 4545947"/>
              <a:gd name="connsiteY107" fmla="*/ 4146088 h 4525940"/>
              <a:gd name="connsiteX108" fmla="*/ 1586682 w 4545947"/>
              <a:gd name="connsiteY108" fmla="*/ 4168537 h 4525940"/>
              <a:gd name="connsiteX109" fmla="*/ 1593242 w 4545947"/>
              <a:gd name="connsiteY109" fmla="*/ 4180031 h 4525940"/>
              <a:gd name="connsiteX110" fmla="*/ 1596521 w 4545947"/>
              <a:gd name="connsiteY110" fmla="*/ 4203041 h 4525940"/>
              <a:gd name="connsiteX111" fmla="*/ 1561308 w 4545947"/>
              <a:gd name="connsiteY111" fmla="*/ 4157141 h 4525940"/>
              <a:gd name="connsiteX112" fmla="*/ 1521156 w 4545947"/>
              <a:gd name="connsiteY112" fmla="*/ 4087528 h 4525940"/>
              <a:gd name="connsiteX113" fmla="*/ 1535320 w 4545947"/>
              <a:gd name="connsiteY113" fmla="*/ 4090693 h 4525940"/>
              <a:gd name="connsiteX114" fmla="*/ 1540362 w 4545947"/>
              <a:gd name="connsiteY114" fmla="*/ 4074041 h 4525940"/>
              <a:gd name="connsiteX115" fmla="*/ 1538885 w 4545947"/>
              <a:gd name="connsiteY115" fmla="*/ 4042703 h 4525940"/>
              <a:gd name="connsiteX116" fmla="*/ 1534930 w 4545947"/>
              <a:gd name="connsiteY116" fmla="*/ 4031057 h 4525940"/>
              <a:gd name="connsiteX117" fmla="*/ 843613 w 4545947"/>
              <a:gd name="connsiteY117" fmla="*/ 4027015 h 4525940"/>
              <a:gd name="connsiteX118" fmla="*/ 848314 w 4545947"/>
              <a:gd name="connsiteY118" fmla="*/ 4035298 h 4525940"/>
              <a:gd name="connsiteX119" fmla="*/ 843613 w 4545947"/>
              <a:gd name="connsiteY119" fmla="*/ 4043581 h 4525940"/>
              <a:gd name="connsiteX120" fmla="*/ 838912 w 4545947"/>
              <a:gd name="connsiteY120" fmla="*/ 4035298 h 4525940"/>
              <a:gd name="connsiteX121" fmla="*/ 843613 w 4545947"/>
              <a:gd name="connsiteY121" fmla="*/ 4027015 h 4525940"/>
              <a:gd name="connsiteX122" fmla="*/ 2342527 w 4545947"/>
              <a:gd name="connsiteY122" fmla="*/ 4008437 h 4525940"/>
              <a:gd name="connsiteX123" fmla="*/ 2347571 w 4545947"/>
              <a:gd name="connsiteY123" fmla="*/ 4015778 h 4525940"/>
              <a:gd name="connsiteX124" fmla="*/ 2340648 w 4545947"/>
              <a:gd name="connsiteY124" fmla="*/ 4025802 h 4525940"/>
              <a:gd name="connsiteX125" fmla="*/ 2335455 w 4545947"/>
              <a:gd name="connsiteY125" fmla="*/ 4018284 h 4525940"/>
              <a:gd name="connsiteX126" fmla="*/ 2342527 w 4545947"/>
              <a:gd name="connsiteY126" fmla="*/ 4008437 h 4525940"/>
              <a:gd name="connsiteX127" fmla="*/ 3724941 w 4545947"/>
              <a:gd name="connsiteY127" fmla="*/ 4000570 h 4525940"/>
              <a:gd name="connsiteX128" fmla="*/ 3742535 w 4545947"/>
              <a:gd name="connsiteY128" fmla="*/ 4019019 h 4525940"/>
              <a:gd name="connsiteX129" fmla="*/ 3724767 w 4545947"/>
              <a:gd name="connsiteY129" fmla="*/ 4015823 h 4525940"/>
              <a:gd name="connsiteX130" fmla="*/ 3724941 w 4545947"/>
              <a:gd name="connsiteY130" fmla="*/ 4000570 h 4525940"/>
              <a:gd name="connsiteX131" fmla="*/ 1367217 w 4545947"/>
              <a:gd name="connsiteY131" fmla="*/ 3939176 h 4525940"/>
              <a:gd name="connsiteX132" fmla="*/ 1375598 w 4545947"/>
              <a:gd name="connsiteY132" fmla="*/ 3939675 h 4525940"/>
              <a:gd name="connsiteX133" fmla="*/ 1369858 w 4545947"/>
              <a:gd name="connsiteY133" fmla="*/ 3943001 h 4525940"/>
              <a:gd name="connsiteX134" fmla="*/ 1367216 w 4545947"/>
              <a:gd name="connsiteY134" fmla="*/ 3939176 h 4525940"/>
              <a:gd name="connsiteX135" fmla="*/ 1367217 w 4545947"/>
              <a:gd name="connsiteY135" fmla="*/ 3939176 h 4525940"/>
              <a:gd name="connsiteX136" fmla="*/ 1367216 w 4545947"/>
              <a:gd name="connsiteY136" fmla="*/ 3939176 h 4525940"/>
              <a:gd name="connsiteX137" fmla="*/ 2495323 w 4545947"/>
              <a:gd name="connsiteY137" fmla="*/ 3937371 h 4525940"/>
              <a:gd name="connsiteX138" fmla="*/ 2506090 w 4545947"/>
              <a:gd name="connsiteY138" fmla="*/ 3945983 h 4525940"/>
              <a:gd name="connsiteX139" fmla="*/ 2508860 w 4545947"/>
              <a:gd name="connsiteY139" fmla="*/ 3987817 h 4525940"/>
              <a:gd name="connsiteX140" fmla="*/ 2506067 w 4545947"/>
              <a:gd name="connsiteY140" fmla="*/ 4003644 h 4525940"/>
              <a:gd name="connsiteX141" fmla="*/ 2494768 w 4545947"/>
              <a:gd name="connsiteY141" fmla="*/ 4014723 h 4525940"/>
              <a:gd name="connsiteX142" fmla="*/ 2495323 w 4545947"/>
              <a:gd name="connsiteY142" fmla="*/ 3937371 h 4525940"/>
              <a:gd name="connsiteX143" fmla="*/ 3895920 w 4545947"/>
              <a:gd name="connsiteY143" fmla="*/ 3935463 h 4525940"/>
              <a:gd name="connsiteX144" fmla="*/ 3899960 w 4545947"/>
              <a:gd name="connsiteY144" fmla="*/ 3959837 h 4525940"/>
              <a:gd name="connsiteX145" fmla="*/ 3911406 w 4545947"/>
              <a:gd name="connsiteY145" fmla="*/ 3989307 h 4525940"/>
              <a:gd name="connsiteX146" fmla="*/ 3930692 w 4545947"/>
              <a:gd name="connsiteY146" fmla="*/ 3982841 h 4525940"/>
              <a:gd name="connsiteX147" fmla="*/ 3949909 w 4545947"/>
              <a:gd name="connsiteY147" fmla="*/ 3984943 h 4525940"/>
              <a:gd name="connsiteX148" fmla="*/ 3939464 w 4545947"/>
              <a:gd name="connsiteY148" fmla="*/ 4010043 h 4525940"/>
              <a:gd name="connsiteX149" fmla="*/ 3929769 w 4545947"/>
              <a:gd name="connsiteY149" fmla="*/ 4024499 h 4525940"/>
              <a:gd name="connsiteX150" fmla="*/ 3933346 w 4545947"/>
              <a:gd name="connsiteY150" fmla="*/ 4049881 h 4525940"/>
              <a:gd name="connsiteX151" fmla="*/ 3940956 w 4545947"/>
              <a:gd name="connsiteY151" fmla="*/ 4120846 h 4525940"/>
              <a:gd name="connsiteX152" fmla="*/ 3929478 w 4545947"/>
              <a:gd name="connsiteY152" fmla="*/ 4120056 h 4525940"/>
              <a:gd name="connsiteX153" fmla="*/ 3921825 w 4545947"/>
              <a:gd name="connsiteY153" fmla="*/ 4086004 h 4525940"/>
              <a:gd name="connsiteX154" fmla="*/ 3917386 w 4545947"/>
              <a:gd name="connsiteY154" fmla="*/ 4054232 h 4525940"/>
              <a:gd name="connsiteX155" fmla="*/ 3906676 w 4545947"/>
              <a:gd name="connsiteY155" fmla="*/ 4028534 h 4525940"/>
              <a:gd name="connsiteX156" fmla="*/ 3891911 w 4545947"/>
              <a:gd name="connsiteY156" fmla="*/ 4006809 h 4525940"/>
              <a:gd name="connsiteX157" fmla="*/ 3885345 w 4545947"/>
              <a:gd name="connsiteY157" fmla="*/ 3953575 h 4525940"/>
              <a:gd name="connsiteX158" fmla="*/ 3895920 w 4545947"/>
              <a:gd name="connsiteY158" fmla="*/ 3935463 h 4525940"/>
              <a:gd name="connsiteX159" fmla="*/ 2337188 w 4545947"/>
              <a:gd name="connsiteY159" fmla="*/ 3930839 h 4525940"/>
              <a:gd name="connsiteX160" fmla="*/ 2342396 w 4545947"/>
              <a:gd name="connsiteY160" fmla="*/ 3947761 h 4525940"/>
              <a:gd name="connsiteX161" fmla="*/ 2327982 w 4545947"/>
              <a:gd name="connsiteY161" fmla="*/ 3956568 h 4525940"/>
              <a:gd name="connsiteX162" fmla="*/ 2337188 w 4545947"/>
              <a:gd name="connsiteY162" fmla="*/ 3930839 h 4525940"/>
              <a:gd name="connsiteX163" fmla="*/ 2224989 w 4545947"/>
              <a:gd name="connsiteY163" fmla="*/ 3912997 h 4525940"/>
              <a:gd name="connsiteX164" fmla="*/ 2230083 w 4545947"/>
              <a:gd name="connsiteY164" fmla="*/ 3916486 h 4525940"/>
              <a:gd name="connsiteX165" fmla="*/ 2225735 w 4545947"/>
              <a:gd name="connsiteY165" fmla="*/ 3943501 h 4525940"/>
              <a:gd name="connsiteX166" fmla="*/ 2218895 w 4545947"/>
              <a:gd name="connsiteY166" fmla="*/ 3932946 h 4525940"/>
              <a:gd name="connsiteX167" fmla="*/ 2224989 w 4545947"/>
              <a:gd name="connsiteY167" fmla="*/ 3912997 h 4525940"/>
              <a:gd name="connsiteX168" fmla="*/ 1388112 w 4545947"/>
              <a:gd name="connsiteY168" fmla="*/ 3908577 h 4525940"/>
              <a:gd name="connsiteX169" fmla="*/ 1380454 w 4545947"/>
              <a:gd name="connsiteY169" fmla="*/ 3917982 h 4525940"/>
              <a:gd name="connsiteX170" fmla="*/ 1363663 w 4545947"/>
              <a:gd name="connsiteY170" fmla="*/ 3924107 h 4525940"/>
              <a:gd name="connsiteX171" fmla="*/ 1349452 w 4545947"/>
              <a:gd name="connsiteY171" fmla="*/ 3919359 h 4525940"/>
              <a:gd name="connsiteX172" fmla="*/ 1335239 w 4545947"/>
              <a:gd name="connsiteY172" fmla="*/ 3936885 h 4525940"/>
              <a:gd name="connsiteX173" fmla="*/ 1346172 w 4545947"/>
              <a:gd name="connsiteY173" fmla="*/ 3956132 h 4525940"/>
              <a:gd name="connsiteX174" fmla="*/ 1361141 w 4545947"/>
              <a:gd name="connsiteY174" fmla="*/ 3983244 h 4525940"/>
              <a:gd name="connsiteX175" fmla="*/ 1390289 w 4545947"/>
              <a:gd name="connsiteY175" fmla="*/ 3999733 h 4525940"/>
              <a:gd name="connsiteX176" fmla="*/ 1400728 w 4545947"/>
              <a:gd name="connsiteY176" fmla="*/ 4011262 h 4525940"/>
              <a:gd name="connsiteX177" fmla="*/ 1410270 w 4545947"/>
              <a:gd name="connsiteY177" fmla="*/ 4087809 h 4525940"/>
              <a:gd name="connsiteX178" fmla="*/ 1426873 w 4545947"/>
              <a:gd name="connsiteY178" fmla="*/ 4091597 h 4525940"/>
              <a:gd name="connsiteX179" fmla="*/ 1435407 w 4545947"/>
              <a:gd name="connsiteY179" fmla="*/ 4088151 h 4525940"/>
              <a:gd name="connsiteX180" fmla="*/ 1458399 w 4545947"/>
              <a:gd name="connsiteY180" fmla="*/ 4085520 h 4525940"/>
              <a:gd name="connsiteX181" fmla="*/ 1456075 w 4545947"/>
              <a:gd name="connsiteY181" fmla="*/ 4068426 h 4525940"/>
              <a:gd name="connsiteX182" fmla="*/ 1451122 w 4545947"/>
              <a:gd name="connsiteY182" fmla="*/ 4049797 h 4525940"/>
              <a:gd name="connsiteX183" fmla="*/ 1442376 w 4545947"/>
              <a:gd name="connsiteY183" fmla="*/ 4027499 h 4525940"/>
              <a:gd name="connsiteX184" fmla="*/ 1433630 w 4545947"/>
              <a:gd name="connsiteY184" fmla="*/ 4008506 h 4525940"/>
              <a:gd name="connsiteX185" fmla="*/ 1425108 w 4545947"/>
              <a:gd name="connsiteY185" fmla="*/ 3989791 h 4525940"/>
              <a:gd name="connsiteX186" fmla="*/ 1418520 w 4545947"/>
              <a:gd name="connsiteY186" fmla="*/ 3974698 h 4525940"/>
              <a:gd name="connsiteX187" fmla="*/ 1397617 w 4545947"/>
              <a:gd name="connsiteY187" fmla="*/ 3915240 h 4525940"/>
              <a:gd name="connsiteX188" fmla="*/ 1388112 w 4545947"/>
              <a:gd name="connsiteY188" fmla="*/ 3908577 h 4525940"/>
              <a:gd name="connsiteX189" fmla="*/ 523559 w 4545947"/>
              <a:gd name="connsiteY189" fmla="*/ 3899185 h 4525940"/>
              <a:gd name="connsiteX190" fmla="*/ 543663 w 4545947"/>
              <a:gd name="connsiteY190" fmla="*/ 3937349 h 4525940"/>
              <a:gd name="connsiteX191" fmla="*/ 526248 w 4545947"/>
              <a:gd name="connsiteY191" fmla="*/ 3930839 h 4525940"/>
              <a:gd name="connsiteX192" fmla="*/ 519394 w 4545947"/>
              <a:gd name="connsiteY192" fmla="*/ 3918177 h 4525940"/>
              <a:gd name="connsiteX193" fmla="*/ 515316 w 4545947"/>
              <a:gd name="connsiteY193" fmla="*/ 3908681 h 4525940"/>
              <a:gd name="connsiteX194" fmla="*/ 523559 w 4545947"/>
              <a:gd name="connsiteY194" fmla="*/ 3899185 h 4525940"/>
              <a:gd name="connsiteX195" fmla="*/ 4105488 w 4545947"/>
              <a:gd name="connsiteY195" fmla="*/ 3892854 h 4525940"/>
              <a:gd name="connsiteX196" fmla="*/ 4109861 w 4545947"/>
              <a:gd name="connsiteY196" fmla="*/ 3899185 h 4525940"/>
              <a:gd name="connsiteX197" fmla="*/ 4105488 w 4545947"/>
              <a:gd name="connsiteY197" fmla="*/ 3905515 h 4525940"/>
              <a:gd name="connsiteX198" fmla="*/ 4101115 w 4545947"/>
              <a:gd name="connsiteY198" fmla="*/ 3899185 h 4525940"/>
              <a:gd name="connsiteX199" fmla="*/ 4105488 w 4545947"/>
              <a:gd name="connsiteY199" fmla="*/ 3892854 h 4525940"/>
              <a:gd name="connsiteX200" fmla="*/ 2909492 w 4545947"/>
              <a:gd name="connsiteY200" fmla="*/ 3892854 h 4525940"/>
              <a:gd name="connsiteX201" fmla="*/ 2916052 w 4545947"/>
              <a:gd name="connsiteY201" fmla="*/ 3908681 h 4525940"/>
              <a:gd name="connsiteX202" fmla="*/ 2909492 w 4545947"/>
              <a:gd name="connsiteY202" fmla="*/ 3924508 h 4525940"/>
              <a:gd name="connsiteX203" fmla="*/ 2902933 w 4545947"/>
              <a:gd name="connsiteY203" fmla="*/ 3908681 h 4525940"/>
              <a:gd name="connsiteX204" fmla="*/ 2909492 w 4545947"/>
              <a:gd name="connsiteY204" fmla="*/ 3892854 h 4525940"/>
              <a:gd name="connsiteX205" fmla="*/ 2655863 w 4545947"/>
              <a:gd name="connsiteY205" fmla="*/ 3892854 h 4525940"/>
              <a:gd name="connsiteX206" fmla="*/ 2662423 w 4545947"/>
              <a:gd name="connsiteY206" fmla="*/ 3898811 h 4525940"/>
              <a:gd name="connsiteX207" fmla="*/ 2652101 w 4545947"/>
              <a:gd name="connsiteY207" fmla="*/ 3907454 h 4525940"/>
              <a:gd name="connsiteX208" fmla="*/ 2655863 w 4545947"/>
              <a:gd name="connsiteY208" fmla="*/ 3892854 h 4525940"/>
              <a:gd name="connsiteX209" fmla="*/ 2015126 w 4545947"/>
              <a:gd name="connsiteY209" fmla="*/ 3890471 h 4525940"/>
              <a:gd name="connsiteX210" fmla="*/ 2024850 w 4545947"/>
              <a:gd name="connsiteY210" fmla="*/ 3891588 h 4525940"/>
              <a:gd name="connsiteX211" fmla="*/ 2042341 w 4545947"/>
              <a:gd name="connsiteY211" fmla="*/ 3899185 h 4525940"/>
              <a:gd name="connsiteX212" fmla="*/ 2054585 w 4545947"/>
              <a:gd name="connsiteY212" fmla="*/ 3909307 h 4525940"/>
              <a:gd name="connsiteX213" fmla="*/ 2071849 w 4545947"/>
              <a:gd name="connsiteY213" fmla="*/ 3968824 h 4525940"/>
              <a:gd name="connsiteX214" fmla="*/ 2091632 w 4545947"/>
              <a:gd name="connsiteY214" fmla="*/ 4018461 h 4525940"/>
              <a:gd name="connsiteX215" fmla="*/ 2093696 w 4545947"/>
              <a:gd name="connsiteY215" fmla="*/ 4051792 h 4525940"/>
              <a:gd name="connsiteX216" fmla="*/ 2096463 w 4545947"/>
              <a:gd name="connsiteY216" fmla="*/ 4068015 h 4525940"/>
              <a:gd name="connsiteX217" fmla="*/ 2100916 w 4545947"/>
              <a:gd name="connsiteY217" fmla="*/ 4106782 h 4525940"/>
              <a:gd name="connsiteX218" fmla="*/ 2106951 w 4545947"/>
              <a:gd name="connsiteY218" fmla="*/ 4150489 h 4525940"/>
              <a:gd name="connsiteX219" fmla="*/ 2115806 w 4545947"/>
              <a:gd name="connsiteY219" fmla="*/ 4170504 h 4525940"/>
              <a:gd name="connsiteX220" fmla="*/ 2120728 w 4545947"/>
              <a:gd name="connsiteY220" fmla="*/ 4188665 h 4525940"/>
              <a:gd name="connsiteX221" fmla="*/ 2116702 w 4545947"/>
              <a:gd name="connsiteY221" fmla="*/ 4240650 h 4525940"/>
              <a:gd name="connsiteX222" fmla="*/ 2103781 w 4545947"/>
              <a:gd name="connsiteY222" fmla="*/ 4234523 h 4525940"/>
              <a:gd name="connsiteX223" fmla="*/ 2103781 w 4545947"/>
              <a:gd name="connsiteY223" fmla="*/ 4234523 h 4525940"/>
              <a:gd name="connsiteX224" fmla="*/ 2093194 w 4545947"/>
              <a:gd name="connsiteY224" fmla="*/ 4217514 h 4525940"/>
              <a:gd name="connsiteX225" fmla="*/ 2091953 w 4545947"/>
              <a:gd name="connsiteY225" fmla="*/ 4196119 h 4525940"/>
              <a:gd name="connsiteX226" fmla="*/ 2062695 w 4545947"/>
              <a:gd name="connsiteY226" fmla="*/ 4151056 h 4525940"/>
              <a:gd name="connsiteX227" fmla="*/ 2063875 w 4545947"/>
              <a:gd name="connsiteY227" fmla="*/ 4119655 h 4525940"/>
              <a:gd name="connsiteX228" fmla="*/ 2063743 w 4545947"/>
              <a:gd name="connsiteY228" fmla="*/ 4053303 h 4525940"/>
              <a:gd name="connsiteX229" fmla="*/ 2054756 w 4545947"/>
              <a:gd name="connsiteY229" fmla="*/ 4006601 h 4525940"/>
              <a:gd name="connsiteX230" fmla="*/ 2048334 w 4545947"/>
              <a:gd name="connsiteY230" fmla="*/ 3977186 h 4525940"/>
              <a:gd name="connsiteX231" fmla="*/ 2036846 w 4545947"/>
              <a:gd name="connsiteY231" fmla="*/ 3946341 h 4525940"/>
              <a:gd name="connsiteX232" fmla="*/ 2028348 w 4545947"/>
              <a:gd name="connsiteY232" fmla="*/ 3927674 h 4525940"/>
              <a:gd name="connsiteX233" fmla="*/ 2019499 w 4545947"/>
              <a:gd name="connsiteY233" fmla="*/ 3908546 h 4525940"/>
              <a:gd name="connsiteX234" fmla="*/ 2015126 w 4545947"/>
              <a:gd name="connsiteY234" fmla="*/ 3890471 h 4525940"/>
              <a:gd name="connsiteX235" fmla="*/ 3762359 w 4545947"/>
              <a:gd name="connsiteY235" fmla="*/ 3882921 h 4525940"/>
              <a:gd name="connsiteX236" fmla="*/ 3771539 w 4545947"/>
              <a:gd name="connsiteY236" fmla="*/ 3895761 h 4525940"/>
              <a:gd name="connsiteX237" fmla="*/ 3763380 w 4545947"/>
              <a:gd name="connsiteY237" fmla="*/ 3918177 h 4525940"/>
              <a:gd name="connsiteX238" fmla="*/ 3756456 w 4545947"/>
              <a:gd name="connsiteY238" fmla="*/ 3901256 h 4525940"/>
              <a:gd name="connsiteX239" fmla="*/ 3762359 w 4545947"/>
              <a:gd name="connsiteY239" fmla="*/ 3882921 h 4525940"/>
              <a:gd name="connsiteX240" fmla="*/ 4054105 w 4545947"/>
              <a:gd name="connsiteY240" fmla="*/ 3868673 h 4525940"/>
              <a:gd name="connsiteX241" fmla="*/ 4064349 w 4545947"/>
              <a:gd name="connsiteY241" fmla="*/ 3897845 h 4525940"/>
              <a:gd name="connsiteX242" fmla="*/ 4062113 w 4545947"/>
              <a:gd name="connsiteY242" fmla="*/ 3927356 h 4525940"/>
              <a:gd name="connsiteX243" fmla="*/ 4047496 w 4545947"/>
              <a:gd name="connsiteY243" fmla="*/ 3917089 h 4525940"/>
              <a:gd name="connsiteX244" fmla="*/ 4039894 w 4545947"/>
              <a:gd name="connsiteY244" fmla="*/ 3886523 h 4525940"/>
              <a:gd name="connsiteX245" fmla="*/ 4044267 w 4545947"/>
              <a:gd name="connsiteY245" fmla="*/ 3876586 h 4525940"/>
              <a:gd name="connsiteX246" fmla="*/ 4054105 w 4545947"/>
              <a:gd name="connsiteY246" fmla="*/ 3868673 h 4525940"/>
              <a:gd name="connsiteX247" fmla="*/ 2218103 w 4545947"/>
              <a:gd name="connsiteY247" fmla="*/ 3867530 h 4525940"/>
              <a:gd name="connsiteX248" fmla="*/ 2226711 w 4545947"/>
              <a:gd name="connsiteY248" fmla="*/ 3877027 h 4525940"/>
              <a:gd name="connsiteX249" fmla="*/ 2220619 w 4545947"/>
              <a:gd name="connsiteY249" fmla="*/ 3886523 h 4525940"/>
              <a:gd name="connsiteX250" fmla="*/ 2212011 w 4545947"/>
              <a:gd name="connsiteY250" fmla="*/ 3877027 h 4525940"/>
              <a:gd name="connsiteX251" fmla="*/ 2218103 w 4545947"/>
              <a:gd name="connsiteY251" fmla="*/ 3867530 h 4525940"/>
              <a:gd name="connsiteX252" fmla="*/ 1971688 w 4545947"/>
              <a:gd name="connsiteY252" fmla="*/ 3857866 h 4525940"/>
              <a:gd name="connsiteX253" fmla="*/ 1986087 w 4545947"/>
              <a:gd name="connsiteY253" fmla="*/ 3910735 h 4525940"/>
              <a:gd name="connsiteX254" fmla="*/ 1988610 w 4545947"/>
              <a:gd name="connsiteY254" fmla="*/ 3927333 h 4525940"/>
              <a:gd name="connsiteX255" fmla="*/ 1993364 w 4545947"/>
              <a:gd name="connsiteY255" fmla="*/ 3952596 h 4525940"/>
              <a:gd name="connsiteX256" fmla="*/ 1999487 w 4545947"/>
              <a:gd name="connsiteY256" fmla="*/ 3980960 h 4525940"/>
              <a:gd name="connsiteX257" fmla="*/ 2005609 w 4545947"/>
              <a:gd name="connsiteY257" fmla="*/ 4011042 h 4525940"/>
              <a:gd name="connsiteX258" fmla="*/ 2009731 w 4545947"/>
              <a:gd name="connsiteY258" fmla="*/ 4037699 h 4525940"/>
              <a:gd name="connsiteX259" fmla="*/ 2016619 w 4545947"/>
              <a:gd name="connsiteY259" fmla="*/ 4062204 h 4525940"/>
              <a:gd name="connsiteX260" fmla="*/ 2002084 w 4545947"/>
              <a:gd name="connsiteY260" fmla="*/ 4070047 h 4525940"/>
              <a:gd name="connsiteX261" fmla="*/ 1998475 w 4545947"/>
              <a:gd name="connsiteY261" fmla="*/ 4049471 h 4525940"/>
              <a:gd name="connsiteX262" fmla="*/ 1980092 w 4545947"/>
              <a:gd name="connsiteY262" fmla="*/ 4013140 h 4525940"/>
              <a:gd name="connsiteX263" fmla="*/ 1971500 w 4545947"/>
              <a:gd name="connsiteY263" fmla="*/ 4003644 h 4525940"/>
              <a:gd name="connsiteX264" fmla="*/ 1975873 w 4545947"/>
              <a:gd name="connsiteY264" fmla="*/ 3994147 h 4525940"/>
              <a:gd name="connsiteX265" fmla="*/ 1976112 w 4545947"/>
              <a:gd name="connsiteY265" fmla="*/ 3967769 h 4525940"/>
              <a:gd name="connsiteX266" fmla="*/ 1971688 w 4545947"/>
              <a:gd name="connsiteY266" fmla="*/ 3857866 h 4525940"/>
              <a:gd name="connsiteX267" fmla="*/ 502197 w 4545947"/>
              <a:gd name="connsiteY267" fmla="*/ 3851703 h 4525940"/>
              <a:gd name="connsiteX268" fmla="*/ 506570 w 4545947"/>
              <a:gd name="connsiteY268" fmla="*/ 3857660 h 4525940"/>
              <a:gd name="connsiteX269" fmla="*/ 502197 w 4545947"/>
              <a:gd name="connsiteY269" fmla="*/ 3867530 h 4525940"/>
              <a:gd name="connsiteX270" fmla="*/ 497824 w 4545947"/>
              <a:gd name="connsiteY270" fmla="*/ 3861573 h 4525940"/>
              <a:gd name="connsiteX271" fmla="*/ 502197 w 4545947"/>
              <a:gd name="connsiteY271" fmla="*/ 3851703 h 4525940"/>
              <a:gd name="connsiteX272" fmla="*/ 2255504 w 4545947"/>
              <a:gd name="connsiteY272" fmla="*/ 3849289 h 4525940"/>
              <a:gd name="connsiteX273" fmla="*/ 2260113 w 4545947"/>
              <a:gd name="connsiteY273" fmla="*/ 3867157 h 4525940"/>
              <a:gd name="connsiteX274" fmla="*/ 2245726 w 4545947"/>
              <a:gd name="connsiteY274" fmla="*/ 3881626 h 4525940"/>
              <a:gd name="connsiteX275" fmla="*/ 2244530 w 4545947"/>
              <a:gd name="connsiteY275" fmla="*/ 3859617 h 4525940"/>
              <a:gd name="connsiteX276" fmla="*/ 2255504 w 4545947"/>
              <a:gd name="connsiteY276" fmla="*/ 3849289 h 4525940"/>
              <a:gd name="connsiteX277" fmla="*/ 3417010 w 4545947"/>
              <a:gd name="connsiteY277" fmla="*/ 3829545 h 4525940"/>
              <a:gd name="connsiteX278" fmla="*/ 3423312 w 4545947"/>
              <a:gd name="connsiteY278" fmla="*/ 3839042 h 4525940"/>
              <a:gd name="connsiteX279" fmla="*/ 3408853 w 4545947"/>
              <a:gd name="connsiteY279" fmla="*/ 3844489 h 4525940"/>
              <a:gd name="connsiteX280" fmla="*/ 3417010 w 4545947"/>
              <a:gd name="connsiteY280" fmla="*/ 3829545 h 4525940"/>
              <a:gd name="connsiteX281" fmla="*/ 2738431 w 4545947"/>
              <a:gd name="connsiteY281" fmla="*/ 3824454 h 4525940"/>
              <a:gd name="connsiteX282" fmla="*/ 2750318 w 4545947"/>
              <a:gd name="connsiteY282" fmla="*/ 3826407 h 4525940"/>
              <a:gd name="connsiteX283" fmla="*/ 2765687 w 4545947"/>
              <a:gd name="connsiteY283" fmla="*/ 3831867 h 4525940"/>
              <a:gd name="connsiteX284" fmla="*/ 2769047 w 4545947"/>
              <a:gd name="connsiteY284" fmla="*/ 3865187 h 4525940"/>
              <a:gd name="connsiteX285" fmla="*/ 2760550 w 4545947"/>
              <a:gd name="connsiteY285" fmla="*/ 3900807 h 4525940"/>
              <a:gd name="connsiteX286" fmla="*/ 2747649 w 4545947"/>
              <a:gd name="connsiteY286" fmla="*/ 3896820 h 4525940"/>
              <a:gd name="connsiteX287" fmla="*/ 2744287 w 4545947"/>
              <a:gd name="connsiteY287" fmla="*/ 3867530 h 4525940"/>
              <a:gd name="connsiteX288" fmla="*/ 2738958 w 4545947"/>
              <a:gd name="connsiteY288" fmla="*/ 3833582 h 4525940"/>
              <a:gd name="connsiteX289" fmla="*/ 2738431 w 4545947"/>
              <a:gd name="connsiteY289" fmla="*/ 3824454 h 4525940"/>
              <a:gd name="connsiteX290" fmla="*/ 1314629 w 4545947"/>
              <a:gd name="connsiteY290" fmla="*/ 3823496 h 4525940"/>
              <a:gd name="connsiteX291" fmla="*/ 1304002 w 4545947"/>
              <a:gd name="connsiteY291" fmla="*/ 3832791 h 4525940"/>
              <a:gd name="connsiteX292" fmla="*/ 1306949 w 4545947"/>
              <a:gd name="connsiteY292" fmla="*/ 3851937 h 4525940"/>
              <a:gd name="connsiteX293" fmla="*/ 1311067 w 4545947"/>
              <a:gd name="connsiteY293" fmla="*/ 3841880 h 4525940"/>
              <a:gd name="connsiteX294" fmla="*/ 1317140 w 4545947"/>
              <a:gd name="connsiteY294" fmla="*/ 3830926 h 4525940"/>
              <a:gd name="connsiteX295" fmla="*/ 1326103 w 4545947"/>
              <a:gd name="connsiteY295" fmla="*/ 3828631 h 4525940"/>
              <a:gd name="connsiteX296" fmla="*/ 1314629 w 4545947"/>
              <a:gd name="connsiteY296" fmla="*/ 3823496 h 4525940"/>
              <a:gd name="connsiteX297" fmla="*/ 3892163 w 4545947"/>
              <a:gd name="connsiteY297" fmla="*/ 3819903 h 4525940"/>
              <a:gd name="connsiteX298" fmla="*/ 3911267 w 4545947"/>
              <a:gd name="connsiteY298" fmla="*/ 3821285 h 4525940"/>
              <a:gd name="connsiteX299" fmla="*/ 3924522 w 4545947"/>
              <a:gd name="connsiteY299" fmla="*/ 3853537 h 4525940"/>
              <a:gd name="connsiteX300" fmla="*/ 3917443 w 4545947"/>
              <a:gd name="connsiteY300" fmla="*/ 3880192 h 4525940"/>
              <a:gd name="connsiteX301" fmla="*/ 3908706 w 4545947"/>
              <a:gd name="connsiteY301" fmla="*/ 3864893 h 4525940"/>
              <a:gd name="connsiteX302" fmla="*/ 3896680 w 4545947"/>
              <a:gd name="connsiteY302" fmla="*/ 3836855 h 4525940"/>
              <a:gd name="connsiteX303" fmla="*/ 3892163 w 4545947"/>
              <a:gd name="connsiteY303" fmla="*/ 3819903 h 4525940"/>
              <a:gd name="connsiteX304" fmla="*/ 1959090 w 4545947"/>
              <a:gd name="connsiteY304" fmla="*/ 3812273 h 4525940"/>
              <a:gd name="connsiteX305" fmla="*/ 1968903 w 4545947"/>
              <a:gd name="connsiteY305" fmla="*/ 3825000 h 4525940"/>
              <a:gd name="connsiteX306" fmla="*/ 1968122 w 4545947"/>
              <a:gd name="connsiteY306" fmla="*/ 3843299 h 4525940"/>
              <a:gd name="connsiteX307" fmla="*/ 1962236 w 4545947"/>
              <a:gd name="connsiteY307" fmla="*/ 3845056 h 4525940"/>
              <a:gd name="connsiteX308" fmla="*/ 1962236 w 4545947"/>
              <a:gd name="connsiteY308" fmla="*/ 3834293 h 4525940"/>
              <a:gd name="connsiteX309" fmla="*/ 1958381 w 4545947"/>
              <a:gd name="connsiteY309" fmla="*/ 3829545 h 4525940"/>
              <a:gd name="connsiteX310" fmla="*/ 1954008 w 4545947"/>
              <a:gd name="connsiteY310" fmla="*/ 3819521 h 4525940"/>
              <a:gd name="connsiteX311" fmla="*/ 1959090 w 4545947"/>
              <a:gd name="connsiteY311" fmla="*/ 3812273 h 4525940"/>
              <a:gd name="connsiteX312" fmla="*/ 486892 w 4545947"/>
              <a:gd name="connsiteY312" fmla="*/ 3810553 h 4525940"/>
              <a:gd name="connsiteX313" fmla="*/ 493451 w 4545947"/>
              <a:gd name="connsiteY313" fmla="*/ 3820049 h 4525940"/>
              <a:gd name="connsiteX314" fmla="*/ 486892 w 4545947"/>
              <a:gd name="connsiteY314" fmla="*/ 3829545 h 4525940"/>
              <a:gd name="connsiteX315" fmla="*/ 480332 w 4545947"/>
              <a:gd name="connsiteY315" fmla="*/ 3820049 h 4525940"/>
              <a:gd name="connsiteX316" fmla="*/ 486892 w 4545947"/>
              <a:gd name="connsiteY316" fmla="*/ 3810553 h 4525940"/>
              <a:gd name="connsiteX317" fmla="*/ 4113305 w 4545947"/>
              <a:gd name="connsiteY317" fmla="*/ 3809050 h 4525940"/>
              <a:gd name="connsiteX318" fmla="*/ 4110156 w 4545947"/>
              <a:gd name="connsiteY318" fmla="*/ 3823215 h 4525940"/>
              <a:gd name="connsiteX319" fmla="*/ 4098927 w 4545947"/>
              <a:gd name="connsiteY319" fmla="*/ 3835877 h 4525940"/>
              <a:gd name="connsiteX320" fmla="*/ 4087996 w 4545947"/>
              <a:gd name="connsiteY320" fmla="*/ 3830284 h 4525940"/>
              <a:gd name="connsiteX321" fmla="*/ 4098000 w 4545947"/>
              <a:gd name="connsiteY321" fmla="*/ 3809260 h 4525940"/>
              <a:gd name="connsiteX322" fmla="*/ 4113305 w 4545947"/>
              <a:gd name="connsiteY322" fmla="*/ 3809050 h 4525940"/>
              <a:gd name="connsiteX323" fmla="*/ 2043084 w 4545947"/>
              <a:gd name="connsiteY323" fmla="*/ 3794750 h 4525940"/>
              <a:gd name="connsiteX324" fmla="*/ 2041467 w 4545947"/>
              <a:gd name="connsiteY324" fmla="*/ 3801376 h 4525940"/>
              <a:gd name="connsiteX325" fmla="*/ 2045840 w 4545947"/>
              <a:gd name="connsiteY325" fmla="*/ 3807387 h 4525940"/>
              <a:gd name="connsiteX326" fmla="*/ 2050212 w 4545947"/>
              <a:gd name="connsiteY326" fmla="*/ 3810179 h 4525940"/>
              <a:gd name="connsiteX327" fmla="*/ 2054585 w 4545947"/>
              <a:gd name="connsiteY327" fmla="*/ 3816883 h 4525940"/>
              <a:gd name="connsiteX328" fmla="*/ 2058958 w 4545947"/>
              <a:gd name="connsiteY328" fmla="*/ 3812075 h 4525940"/>
              <a:gd name="connsiteX329" fmla="*/ 2050212 w 4545947"/>
              <a:gd name="connsiteY329" fmla="*/ 3799360 h 4525940"/>
              <a:gd name="connsiteX330" fmla="*/ 2043084 w 4545947"/>
              <a:gd name="connsiteY330" fmla="*/ 3794750 h 4525940"/>
              <a:gd name="connsiteX331" fmla="*/ 1790937 w 4545947"/>
              <a:gd name="connsiteY331" fmla="*/ 3787564 h 4525940"/>
              <a:gd name="connsiteX332" fmla="*/ 1789378 w 4545947"/>
              <a:gd name="connsiteY332" fmla="*/ 3795919 h 4525940"/>
              <a:gd name="connsiteX333" fmla="*/ 1779916 w 4545947"/>
              <a:gd name="connsiteY333" fmla="*/ 3812965 h 4525940"/>
              <a:gd name="connsiteX334" fmla="*/ 1781278 w 4545947"/>
              <a:gd name="connsiteY334" fmla="*/ 3814873 h 4525940"/>
              <a:gd name="connsiteX335" fmla="*/ 1790740 w 4545947"/>
              <a:gd name="connsiteY335" fmla="*/ 3797826 h 4525940"/>
              <a:gd name="connsiteX336" fmla="*/ 1790937 w 4545947"/>
              <a:gd name="connsiteY336" fmla="*/ 3787564 h 4525940"/>
              <a:gd name="connsiteX337" fmla="*/ 2023582 w 4545947"/>
              <a:gd name="connsiteY337" fmla="*/ 3786360 h 4525940"/>
              <a:gd name="connsiteX338" fmla="*/ 2017887 w 4545947"/>
              <a:gd name="connsiteY338" fmla="*/ 3793139 h 4525940"/>
              <a:gd name="connsiteX339" fmla="*/ 2016323 w 4545947"/>
              <a:gd name="connsiteY339" fmla="*/ 3808973 h 4525940"/>
              <a:gd name="connsiteX340" fmla="*/ 2023354 w 4545947"/>
              <a:gd name="connsiteY340" fmla="*/ 3794649 h 4525940"/>
              <a:gd name="connsiteX341" fmla="*/ 2023582 w 4545947"/>
              <a:gd name="connsiteY341" fmla="*/ 3786360 h 4525940"/>
              <a:gd name="connsiteX342" fmla="*/ 2013093 w 4545947"/>
              <a:gd name="connsiteY342" fmla="*/ 3774587 h 4525940"/>
              <a:gd name="connsiteX343" fmla="*/ 2003926 w 4545947"/>
              <a:gd name="connsiteY343" fmla="*/ 3785302 h 4525940"/>
              <a:gd name="connsiteX344" fmla="*/ 2005238 w 4545947"/>
              <a:gd name="connsiteY344" fmla="*/ 3787201 h 4525940"/>
              <a:gd name="connsiteX345" fmla="*/ 2014405 w 4545947"/>
              <a:gd name="connsiteY345" fmla="*/ 3776486 h 4525940"/>
              <a:gd name="connsiteX346" fmla="*/ 2013093 w 4545947"/>
              <a:gd name="connsiteY346" fmla="*/ 3774587 h 4525940"/>
              <a:gd name="connsiteX347" fmla="*/ 2633998 w 4545947"/>
              <a:gd name="connsiteY347" fmla="*/ 3759906 h 4525940"/>
              <a:gd name="connsiteX348" fmla="*/ 2640558 w 4545947"/>
              <a:gd name="connsiteY348" fmla="*/ 3769402 h 4525940"/>
              <a:gd name="connsiteX349" fmla="*/ 2633998 w 4545947"/>
              <a:gd name="connsiteY349" fmla="*/ 3778898 h 4525940"/>
              <a:gd name="connsiteX350" fmla="*/ 2627439 w 4545947"/>
              <a:gd name="connsiteY350" fmla="*/ 3769402 h 4525940"/>
              <a:gd name="connsiteX351" fmla="*/ 2633998 w 4545947"/>
              <a:gd name="connsiteY351" fmla="*/ 3759906 h 4525940"/>
              <a:gd name="connsiteX352" fmla="*/ 4107673 w 4545947"/>
              <a:gd name="connsiteY352" fmla="*/ 3751286 h 4525940"/>
              <a:gd name="connsiteX353" fmla="*/ 4111580 w 4545947"/>
              <a:gd name="connsiteY353" fmla="*/ 3768885 h 4525940"/>
              <a:gd name="connsiteX354" fmla="*/ 4101115 w 4545947"/>
              <a:gd name="connsiteY354" fmla="*/ 3763270 h 4525940"/>
              <a:gd name="connsiteX355" fmla="*/ 4107673 w 4545947"/>
              <a:gd name="connsiteY355" fmla="*/ 3751286 h 4525940"/>
              <a:gd name="connsiteX356" fmla="*/ 1769471 w 4545947"/>
              <a:gd name="connsiteY356" fmla="*/ 3740913 h 4525940"/>
              <a:gd name="connsiteX357" fmla="*/ 1766156 w 4545947"/>
              <a:gd name="connsiteY357" fmla="*/ 3773065 h 4525940"/>
              <a:gd name="connsiteX358" fmla="*/ 1779275 w 4545947"/>
              <a:gd name="connsiteY358" fmla="*/ 3778756 h 4525940"/>
              <a:gd name="connsiteX359" fmla="*/ 1787837 w 4545947"/>
              <a:gd name="connsiteY359" fmla="*/ 3764115 h 4525940"/>
              <a:gd name="connsiteX360" fmla="*/ 1769471 w 4545947"/>
              <a:gd name="connsiteY360" fmla="*/ 3740913 h 4525940"/>
              <a:gd name="connsiteX361" fmla="*/ 2273182 w 4545947"/>
              <a:gd name="connsiteY361" fmla="*/ 3737793 h 4525940"/>
              <a:gd name="connsiteX362" fmla="*/ 2268859 w 4545947"/>
              <a:gd name="connsiteY362" fmla="*/ 3747618 h 4525940"/>
              <a:gd name="connsiteX363" fmla="*/ 2274901 w 4545947"/>
              <a:gd name="connsiteY363" fmla="*/ 3743750 h 4525940"/>
              <a:gd name="connsiteX364" fmla="*/ 2273182 w 4545947"/>
              <a:gd name="connsiteY364" fmla="*/ 3737793 h 4525940"/>
              <a:gd name="connsiteX365" fmla="*/ 2067015 w 4545947"/>
              <a:gd name="connsiteY365" fmla="*/ 3729938 h 4525940"/>
              <a:gd name="connsiteX366" fmla="*/ 2060477 w 4545947"/>
              <a:gd name="connsiteY366" fmla="*/ 3736003 h 4525940"/>
              <a:gd name="connsiteX367" fmla="*/ 2067999 w 4545947"/>
              <a:gd name="connsiteY367" fmla="*/ 3772567 h 4525940"/>
              <a:gd name="connsiteX368" fmla="*/ 2076450 w 4545947"/>
              <a:gd name="connsiteY368" fmla="*/ 3778898 h 4525940"/>
              <a:gd name="connsiteX369" fmla="*/ 2091750 w 4545947"/>
              <a:gd name="connsiteY369" fmla="*/ 3777750 h 4525940"/>
              <a:gd name="connsiteX370" fmla="*/ 2089569 w 4545947"/>
              <a:gd name="connsiteY370" fmla="*/ 3741890 h 4525940"/>
              <a:gd name="connsiteX371" fmla="*/ 2072951 w 4545947"/>
              <a:gd name="connsiteY371" fmla="*/ 3732937 h 4525940"/>
              <a:gd name="connsiteX372" fmla="*/ 2067015 w 4545947"/>
              <a:gd name="connsiteY372" fmla="*/ 3729938 h 4525940"/>
              <a:gd name="connsiteX373" fmla="*/ 1479546 w 4545947"/>
              <a:gd name="connsiteY373" fmla="*/ 3728251 h 4525940"/>
              <a:gd name="connsiteX374" fmla="*/ 1486105 w 4545947"/>
              <a:gd name="connsiteY374" fmla="*/ 3737748 h 4525940"/>
              <a:gd name="connsiteX375" fmla="*/ 1479546 w 4545947"/>
              <a:gd name="connsiteY375" fmla="*/ 3747244 h 4525940"/>
              <a:gd name="connsiteX376" fmla="*/ 1472986 w 4545947"/>
              <a:gd name="connsiteY376" fmla="*/ 3737748 h 4525940"/>
              <a:gd name="connsiteX377" fmla="*/ 1479546 w 4545947"/>
              <a:gd name="connsiteY377" fmla="*/ 3728251 h 4525940"/>
              <a:gd name="connsiteX378" fmla="*/ 2608904 w 4545947"/>
              <a:gd name="connsiteY378" fmla="*/ 3725099 h 4525940"/>
              <a:gd name="connsiteX379" fmla="*/ 2607432 w 4545947"/>
              <a:gd name="connsiteY379" fmla="*/ 3734424 h 4525940"/>
              <a:gd name="connsiteX380" fmla="*/ 2597518 w 4545947"/>
              <a:gd name="connsiteY380" fmla="*/ 3735200 h 4525940"/>
              <a:gd name="connsiteX381" fmla="*/ 2599274 w 4545947"/>
              <a:gd name="connsiteY381" fmla="*/ 3725818 h 4525940"/>
              <a:gd name="connsiteX382" fmla="*/ 2608904 w 4545947"/>
              <a:gd name="connsiteY382" fmla="*/ 3725099 h 4525940"/>
              <a:gd name="connsiteX383" fmla="*/ 2581523 w 4545947"/>
              <a:gd name="connsiteY383" fmla="*/ 3714641 h 4525940"/>
              <a:gd name="connsiteX384" fmla="*/ 2587244 w 4545947"/>
              <a:gd name="connsiteY384" fmla="*/ 3721446 h 4525940"/>
              <a:gd name="connsiteX385" fmla="*/ 2581523 w 4545947"/>
              <a:gd name="connsiteY385" fmla="*/ 3728251 h 4525940"/>
              <a:gd name="connsiteX386" fmla="*/ 2575802 w 4545947"/>
              <a:gd name="connsiteY386" fmla="*/ 3721446 h 4525940"/>
              <a:gd name="connsiteX387" fmla="*/ 2581523 w 4545947"/>
              <a:gd name="connsiteY387" fmla="*/ 3714641 h 4525940"/>
              <a:gd name="connsiteX388" fmla="*/ 1636912 w 4545947"/>
              <a:gd name="connsiteY388" fmla="*/ 3707003 h 4525940"/>
              <a:gd name="connsiteX389" fmla="*/ 1641308 w 4545947"/>
              <a:gd name="connsiteY389" fmla="*/ 3709343 h 4525940"/>
              <a:gd name="connsiteX390" fmla="*/ 1649617 w 4545947"/>
              <a:gd name="connsiteY390" fmla="*/ 3721661 h 4525940"/>
              <a:gd name="connsiteX391" fmla="*/ 1666924 w 4545947"/>
              <a:gd name="connsiteY391" fmla="*/ 3745404 h 4525940"/>
              <a:gd name="connsiteX392" fmla="*/ 1682439 w 4545947"/>
              <a:gd name="connsiteY392" fmla="*/ 3775146 h 4525940"/>
              <a:gd name="connsiteX393" fmla="*/ 1691633 w 4545947"/>
              <a:gd name="connsiteY393" fmla="*/ 3798355 h 4525940"/>
              <a:gd name="connsiteX394" fmla="*/ 1707406 w 4545947"/>
              <a:gd name="connsiteY394" fmla="*/ 3829545 h 4525940"/>
              <a:gd name="connsiteX395" fmla="*/ 1705845 w 4545947"/>
              <a:gd name="connsiteY395" fmla="*/ 3849700 h 4525940"/>
              <a:gd name="connsiteX396" fmla="*/ 1692422 w 4545947"/>
              <a:gd name="connsiteY396" fmla="*/ 3865948 h 4525940"/>
              <a:gd name="connsiteX397" fmla="*/ 1670861 w 4545947"/>
              <a:gd name="connsiteY397" fmla="*/ 3868731 h 4525940"/>
              <a:gd name="connsiteX398" fmla="*/ 1656649 w 4545947"/>
              <a:gd name="connsiteY398" fmla="*/ 3850875 h 4525940"/>
              <a:gd name="connsiteX399" fmla="*/ 1648997 w 4545947"/>
              <a:gd name="connsiteY399" fmla="*/ 3835823 h 4525940"/>
              <a:gd name="connsiteX400" fmla="*/ 1646810 w 4545947"/>
              <a:gd name="connsiteY400" fmla="*/ 3825485 h 4525940"/>
              <a:gd name="connsiteX401" fmla="*/ 1652276 w 4545947"/>
              <a:gd name="connsiteY401" fmla="*/ 3810800 h 4525940"/>
              <a:gd name="connsiteX402" fmla="*/ 1632598 w 4545947"/>
              <a:gd name="connsiteY402" fmla="*/ 3791898 h 4525940"/>
              <a:gd name="connsiteX403" fmla="*/ 1617293 w 4545947"/>
              <a:gd name="connsiteY403" fmla="*/ 3788754 h 4525940"/>
              <a:gd name="connsiteX404" fmla="*/ 1626485 w 4545947"/>
              <a:gd name="connsiteY404" fmla="*/ 3770295 h 4525940"/>
              <a:gd name="connsiteX405" fmla="*/ 1632758 w 4545947"/>
              <a:gd name="connsiteY405" fmla="*/ 3735953 h 4525940"/>
              <a:gd name="connsiteX406" fmla="*/ 1636912 w 4545947"/>
              <a:gd name="connsiteY406" fmla="*/ 3707003 h 4525940"/>
              <a:gd name="connsiteX407" fmla="*/ 777691 w 4545947"/>
              <a:gd name="connsiteY407" fmla="*/ 3702928 h 4525940"/>
              <a:gd name="connsiteX408" fmla="*/ 786437 w 4545947"/>
              <a:gd name="connsiteY408" fmla="*/ 3715590 h 4525940"/>
              <a:gd name="connsiteX409" fmla="*/ 774193 w 4545947"/>
              <a:gd name="connsiteY409" fmla="*/ 3720654 h 4525940"/>
              <a:gd name="connsiteX410" fmla="*/ 777691 w 4545947"/>
              <a:gd name="connsiteY410" fmla="*/ 3702928 h 4525940"/>
              <a:gd name="connsiteX411" fmla="*/ 2265717 w 4545947"/>
              <a:gd name="connsiteY411" fmla="*/ 3690468 h 4525940"/>
              <a:gd name="connsiteX412" fmla="*/ 2265579 w 4545947"/>
              <a:gd name="connsiteY412" fmla="*/ 3699080 h 4525940"/>
              <a:gd name="connsiteX413" fmla="*/ 2273577 w 4545947"/>
              <a:gd name="connsiteY413" fmla="*/ 3716288 h 4525940"/>
              <a:gd name="connsiteX414" fmla="*/ 2276176 w 4545947"/>
              <a:gd name="connsiteY414" fmla="*/ 3716964 h 4525940"/>
              <a:gd name="connsiteX415" fmla="*/ 2275968 w 4545947"/>
              <a:gd name="connsiteY415" fmla="*/ 3699554 h 4525940"/>
              <a:gd name="connsiteX416" fmla="*/ 2265717 w 4545947"/>
              <a:gd name="connsiteY416" fmla="*/ 3690468 h 4525940"/>
              <a:gd name="connsiteX417" fmla="*/ 4393541 w 4545947"/>
              <a:gd name="connsiteY417" fmla="*/ 3685390 h 4525940"/>
              <a:gd name="connsiteX418" fmla="*/ 4405396 w 4545947"/>
              <a:gd name="connsiteY418" fmla="*/ 3698051 h 4525940"/>
              <a:gd name="connsiteX419" fmla="*/ 4406971 w 4545947"/>
              <a:gd name="connsiteY419" fmla="*/ 3759714 h 4525940"/>
              <a:gd name="connsiteX420" fmla="*/ 4415127 w 4545947"/>
              <a:gd name="connsiteY420" fmla="*/ 3786745 h 4525940"/>
              <a:gd name="connsiteX421" fmla="*/ 4401479 w 4545947"/>
              <a:gd name="connsiteY421" fmla="*/ 3806464 h 4525940"/>
              <a:gd name="connsiteX422" fmla="*/ 4398473 w 4545947"/>
              <a:gd name="connsiteY422" fmla="*/ 3784626 h 4525940"/>
              <a:gd name="connsiteX423" fmla="*/ 4391914 w 4545947"/>
              <a:gd name="connsiteY423" fmla="*/ 3757645 h 4525940"/>
              <a:gd name="connsiteX424" fmla="*/ 4385355 w 4545947"/>
              <a:gd name="connsiteY424" fmla="*/ 3728704 h 4525940"/>
              <a:gd name="connsiteX425" fmla="*/ 4378795 w 4545947"/>
              <a:gd name="connsiteY425" fmla="*/ 3709259 h 4525940"/>
              <a:gd name="connsiteX426" fmla="*/ 4372303 w 4545947"/>
              <a:gd name="connsiteY426" fmla="*/ 3704511 h 4525940"/>
              <a:gd name="connsiteX427" fmla="*/ 4393541 w 4545947"/>
              <a:gd name="connsiteY427" fmla="*/ 3685390 h 4525940"/>
              <a:gd name="connsiteX428" fmla="*/ 444041 w 4545947"/>
              <a:gd name="connsiteY428" fmla="*/ 3678411 h 4525940"/>
              <a:gd name="connsiteX429" fmla="*/ 453220 w 4545947"/>
              <a:gd name="connsiteY429" fmla="*/ 3685202 h 4525940"/>
              <a:gd name="connsiteX430" fmla="*/ 449722 w 4545947"/>
              <a:gd name="connsiteY430" fmla="*/ 3709259 h 4525940"/>
              <a:gd name="connsiteX431" fmla="*/ 440976 w 4545947"/>
              <a:gd name="connsiteY431" fmla="*/ 3693432 h 4525940"/>
              <a:gd name="connsiteX432" fmla="*/ 444041 w 4545947"/>
              <a:gd name="connsiteY432" fmla="*/ 3678411 h 4525940"/>
              <a:gd name="connsiteX433" fmla="*/ 4470885 w 4545947"/>
              <a:gd name="connsiteY433" fmla="*/ 3671274 h 4525940"/>
              <a:gd name="connsiteX434" fmla="*/ 4472813 w 4545947"/>
              <a:gd name="connsiteY434" fmla="*/ 3677605 h 4525940"/>
              <a:gd name="connsiteX435" fmla="*/ 4468182 w 4545947"/>
              <a:gd name="connsiteY435" fmla="*/ 3683935 h 4525940"/>
              <a:gd name="connsiteX436" fmla="*/ 4466253 w 4545947"/>
              <a:gd name="connsiteY436" fmla="*/ 3677605 h 4525940"/>
              <a:gd name="connsiteX437" fmla="*/ 4470885 w 4545947"/>
              <a:gd name="connsiteY437" fmla="*/ 3671274 h 4525940"/>
              <a:gd name="connsiteX438" fmla="*/ 4171728 w 4545947"/>
              <a:gd name="connsiteY438" fmla="*/ 3669684 h 4525940"/>
              <a:gd name="connsiteX439" fmla="*/ 4194226 w 4545947"/>
              <a:gd name="connsiteY439" fmla="*/ 3722097 h 4525940"/>
              <a:gd name="connsiteX440" fmla="*/ 4198412 w 4545947"/>
              <a:gd name="connsiteY440" fmla="*/ 3740901 h 4525940"/>
              <a:gd name="connsiteX441" fmla="*/ 4201692 w 4545947"/>
              <a:gd name="connsiteY441" fmla="*/ 3750410 h 4525940"/>
              <a:gd name="connsiteX442" fmla="*/ 4195132 w 4545947"/>
              <a:gd name="connsiteY442" fmla="*/ 3759906 h 4525940"/>
              <a:gd name="connsiteX443" fmla="*/ 4188573 w 4545947"/>
              <a:gd name="connsiteY443" fmla="*/ 3750410 h 4525940"/>
              <a:gd name="connsiteX444" fmla="*/ 4183725 w 4545947"/>
              <a:gd name="connsiteY444" fmla="*/ 3740913 h 4525940"/>
              <a:gd name="connsiteX445" fmla="*/ 4181714 w 4545947"/>
              <a:gd name="connsiteY445" fmla="*/ 3724559 h 4525940"/>
              <a:gd name="connsiteX446" fmla="*/ 4176068 w 4545947"/>
              <a:gd name="connsiteY446" fmla="*/ 3704994 h 4525940"/>
              <a:gd name="connsiteX447" fmla="*/ 4165810 w 4545947"/>
              <a:gd name="connsiteY447" fmla="*/ 3684278 h 4525940"/>
              <a:gd name="connsiteX448" fmla="*/ 4171728 w 4545947"/>
              <a:gd name="connsiteY448" fmla="*/ 3669684 h 4525940"/>
              <a:gd name="connsiteX449" fmla="*/ 3781533 w 4545947"/>
              <a:gd name="connsiteY449" fmla="*/ 3666259 h 4525940"/>
              <a:gd name="connsiteX450" fmla="*/ 3772184 w 4545947"/>
              <a:gd name="connsiteY450" fmla="*/ 3676181 h 4525940"/>
              <a:gd name="connsiteX451" fmla="*/ 3767900 w 4545947"/>
              <a:gd name="connsiteY451" fmla="*/ 3703257 h 4525940"/>
              <a:gd name="connsiteX452" fmla="*/ 3770849 w 4545947"/>
              <a:gd name="connsiteY452" fmla="*/ 3722178 h 4525940"/>
              <a:gd name="connsiteX453" fmla="*/ 3772888 w 4545947"/>
              <a:gd name="connsiteY453" fmla="*/ 3728251 h 4525940"/>
              <a:gd name="connsiteX454" fmla="*/ 3777518 w 4545947"/>
              <a:gd name="connsiteY454" fmla="*/ 3735634 h 4525940"/>
              <a:gd name="connsiteX455" fmla="*/ 3797197 w 4545947"/>
              <a:gd name="connsiteY455" fmla="*/ 3763763 h 4525940"/>
              <a:gd name="connsiteX456" fmla="*/ 3802839 w 4545947"/>
              <a:gd name="connsiteY456" fmla="*/ 3743591 h 4525940"/>
              <a:gd name="connsiteX457" fmla="*/ 3789493 w 4545947"/>
              <a:gd name="connsiteY457" fmla="*/ 3668785 h 4525940"/>
              <a:gd name="connsiteX458" fmla="*/ 3781533 w 4545947"/>
              <a:gd name="connsiteY458" fmla="*/ 3666259 h 4525940"/>
              <a:gd name="connsiteX459" fmla="*/ 440976 w 4545947"/>
              <a:gd name="connsiteY459" fmla="*/ 3652281 h 4525940"/>
              <a:gd name="connsiteX460" fmla="*/ 445349 w 4545947"/>
              <a:gd name="connsiteY460" fmla="*/ 3658238 h 4525940"/>
              <a:gd name="connsiteX461" fmla="*/ 440976 w 4545947"/>
              <a:gd name="connsiteY461" fmla="*/ 3668109 h 4525940"/>
              <a:gd name="connsiteX462" fmla="*/ 436603 w 4545947"/>
              <a:gd name="connsiteY462" fmla="*/ 3662151 h 4525940"/>
              <a:gd name="connsiteX463" fmla="*/ 440976 w 4545947"/>
              <a:gd name="connsiteY463" fmla="*/ 3652281 h 4525940"/>
              <a:gd name="connsiteX464" fmla="*/ 3171373 w 4545947"/>
              <a:gd name="connsiteY464" fmla="*/ 3641045 h 4525940"/>
              <a:gd name="connsiteX465" fmla="*/ 3181007 w 4545947"/>
              <a:gd name="connsiteY465" fmla="*/ 3687671 h 4525940"/>
              <a:gd name="connsiteX466" fmla="*/ 3187158 w 4545947"/>
              <a:gd name="connsiteY466" fmla="*/ 3730762 h 4525940"/>
              <a:gd name="connsiteX467" fmla="*/ 3183347 w 4545947"/>
              <a:gd name="connsiteY467" fmla="*/ 3759906 h 4525940"/>
              <a:gd name="connsiteX468" fmla="*/ 3172415 w 4545947"/>
              <a:gd name="connsiteY468" fmla="*/ 3740122 h 4525940"/>
              <a:gd name="connsiteX469" fmla="*/ 3169682 w 4545947"/>
              <a:gd name="connsiteY469" fmla="*/ 3702136 h 4525940"/>
              <a:gd name="connsiteX470" fmla="*/ 3165309 w 4545947"/>
              <a:gd name="connsiteY470" fmla="*/ 3683935 h 4525940"/>
              <a:gd name="connsiteX471" fmla="*/ 3165690 w 4545947"/>
              <a:gd name="connsiteY471" fmla="*/ 3642444 h 4525940"/>
              <a:gd name="connsiteX472" fmla="*/ 3171373 w 4545947"/>
              <a:gd name="connsiteY472" fmla="*/ 3641045 h 4525940"/>
              <a:gd name="connsiteX473" fmla="*/ 4333348 w 4545947"/>
              <a:gd name="connsiteY473" fmla="*/ 3639619 h 4525940"/>
              <a:gd name="connsiteX474" fmla="*/ 4337253 w 4545947"/>
              <a:gd name="connsiteY474" fmla="*/ 3655447 h 4525940"/>
              <a:gd name="connsiteX475" fmla="*/ 4326564 w 4545947"/>
              <a:gd name="connsiteY475" fmla="*/ 3665514 h 4525940"/>
              <a:gd name="connsiteX476" fmla="*/ 4333348 w 4545947"/>
              <a:gd name="connsiteY476" fmla="*/ 3639619 h 4525940"/>
              <a:gd name="connsiteX477" fmla="*/ 3189618 w 4545947"/>
              <a:gd name="connsiteY477" fmla="*/ 3639619 h 4525940"/>
              <a:gd name="connsiteX478" fmla="*/ 3191547 w 4545947"/>
              <a:gd name="connsiteY478" fmla="*/ 3645950 h 4525940"/>
              <a:gd name="connsiteX479" fmla="*/ 3186916 w 4545947"/>
              <a:gd name="connsiteY479" fmla="*/ 3652281 h 4525940"/>
              <a:gd name="connsiteX480" fmla="*/ 3184987 w 4545947"/>
              <a:gd name="connsiteY480" fmla="*/ 3645950 h 4525940"/>
              <a:gd name="connsiteX481" fmla="*/ 3189618 w 4545947"/>
              <a:gd name="connsiteY481" fmla="*/ 3639619 h 4525940"/>
              <a:gd name="connsiteX482" fmla="*/ 682150 w 4545947"/>
              <a:gd name="connsiteY482" fmla="*/ 3636920 h 4525940"/>
              <a:gd name="connsiteX483" fmla="*/ 700310 w 4545947"/>
              <a:gd name="connsiteY483" fmla="*/ 3638085 h 4525940"/>
              <a:gd name="connsiteX484" fmla="*/ 715615 w 4545947"/>
              <a:gd name="connsiteY484" fmla="*/ 3654597 h 4525940"/>
              <a:gd name="connsiteX485" fmla="*/ 688710 w 4545947"/>
              <a:gd name="connsiteY485" fmla="*/ 3654982 h 4525940"/>
              <a:gd name="connsiteX486" fmla="*/ 682150 w 4545947"/>
              <a:gd name="connsiteY486" fmla="*/ 3636920 h 4525940"/>
              <a:gd name="connsiteX487" fmla="*/ 1590882 w 4545947"/>
              <a:gd name="connsiteY487" fmla="*/ 3636609 h 4525940"/>
              <a:gd name="connsiteX488" fmla="*/ 1604107 w 4545947"/>
              <a:gd name="connsiteY488" fmla="*/ 3653864 h 4525940"/>
              <a:gd name="connsiteX489" fmla="*/ 1593415 w 4545947"/>
              <a:gd name="connsiteY489" fmla="*/ 3650082 h 4525940"/>
              <a:gd name="connsiteX490" fmla="*/ 1590882 w 4545947"/>
              <a:gd name="connsiteY490" fmla="*/ 3636609 h 4525940"/>
              <a:gd name="connsiteX491" fmla="*/ 4351611 w 4545947"/>
              <a:gd name="connsiteY491" fmla="*/ 3620852 h 4525940"/>
              <a:gd name="connsiteX492" fmla="*/ 4353385 w 4545947"/>
              <a:gd name="connsiteY492" fmla="*/ 3628541 h 4525940"/>
              <a:gd name="connsiteX493" fmla="*/ 4363301 w 4545947"/>
              <a:gd name="connsiteY493" fmla="*/ 3639620 h 4525940"/>
              <a:gd name="connsiteX494" fmla="*/ 4372776 w 4545947"/>
              <a:gd name="connsiteY494" fmla="*/ 3671956 h 4525940"/>
              <a:gd name="connsiteX495" fmla="*/ 4370269 w 4545947"/>
              <a:gd name="connsiteY495" fmla="*/ 3673264 h 4525940"/>
              <a:gd name="connsiteX496" fmla="*/ 4360839 w 4545947"/>
              <a:gd name="connsiteY496" fmla="*/ 3655351 h 4525940"/>
              <a:gd name="connsiteX497" fmla="*/ 4350879 w 4545947"/>
              <a:gd name="connsiteY497" fmla="*/ 3628828 h 4525940"/>
              <a:gd name="connsiteX498" fmla="*/ 4351611 w 4545947"/>
              <a:gd name="connsiteY498" fmla="*/ 3620852 h 4525940"/>
              <a:gd name="connsiteX499" fmla="*/ 1737013 w 4545947"/>
              <a:gd name="connsiteY499" fmla="*/ 3614296 h 4525940"/>
              <a:gd name="connsiteX500" fmla="*/ 1726616 w 4545947"/>
              <a:gd name="connsiteY500" fmla="*/ 3629068 h 4525940"/>
              <a:gd name="connsiteX501" fmla="*/ 1751414 w 4545947"/>
              <a:gd name="connsiteY501" fmla="*/ 3642608 h 4525940"/>
              <a:gd name="connsiteX502" fmla="*/ 1737013 w 4545947"/>
              <a:gd name="connsiteY502" fmla="*/ 3614296 h 4525940"/>
              <a:gd name="connsiteX503" fmla="*/ 807126 w 4545947"/>
              <a:gd name="connsiteY503" fmla="*/ 3610806 h 4525940"/>
              <a:gd name="connsiteX504" fmla="*/ 805224 w 4545947"/>
              <a:gd name="connsiteY504" fmla="*/ 3621284 h 4525940"/>
              <a:gd name="connsiteX505" fmla="*/ 797792 w 4545947"/>
              <a:gd name="connsiteY505" fmla="*/ 3621616 h 4525940"/>
              <a:gd name="connsiteX506" fmla="*/ 799775 w 4545947"/>
              <a:gd name="connsiteY506" fmla="*/ 3610934 h 4525940"/>
              <a:gd name="connsiteX507" fmla="*/ 807126 w 4545947"/>
              <a:gd name="connsiteY507" fmla="*/ 3610806 h 4525940"/>
              <a:gd name="connsiteX508" fmla="*/ 2205452 w 4545947"/>
              <a:gd name="connsiteY508" fmla="*/ 3601634 h 4525940"/>
              <a:gd name="connsiteX509" fmla="*/ 2198892 w 4545947"/>
              <a:gd name="connsiteY509" fmla="*/ 3607965 h 4525940"/>
              <a:gd name="connsiteX510" fmla="*/ 2205452 w 4545947"/>
              <a:gd name="connsiteY510" fmla="*/ 3614296 h 4525940"/>
              <a:gd name="connsiteX511" fmla="*/ 2212011 w 4545947"/>
              <a:gd name="connsiteY511" fmla="*/ 3607965 h 4525940"/>
              <a:gd name="connsiteX512" fmla="*/ 2205452 w 4545947"/>
              <a:gd name="connsiteY512" fmla="*/ 3601634 h 4525940"/>
              <a:gd name="connsiteX513" fmla="*/ 2052748 w 4545947"/>
              <a:gd name="connsiteY513" fmla="*/ 3583925 h 4525940"/>
              <a:gd name="connsiteX514" fmla="*/ 2050662 w 4545947"/>
              <a:gd name="connsiteY514" fmla="*/ 3643478 h 4525940"/>
              <a:gd name="connsiteX515" fmla="*/ 2072077 w 4545947"/>
              <a:gd name="connsiteY515" fmla="*/ 3648742 h 4525940"/>
              <a:gd name="connsiteX516" fmla="*/ 2077017 w 4545947"/>
              <a:gd name="connsiteY516" fmla="*/ 3643293 h 4525940"/>
              <a:gd name="connsiteX517" fmla="*/ 2079985 w 4545947"/>
              <a:gd name="connsiteY517" fmla="*/ 3642083 h 4525940"/>
              <a:gd name="connsiteX518" fmla="*/ 2069928 w 4545947"/>
              <a:gd name="connsiteY518" fmla="*/ 3609249 h 4525940"/>
              <a:gd name="connsiteX519" fmla="*/ 2052748 w 4545947"/>
              <a:gd name="connsiteY519" fmla="*/ 3583925 h 4525940"/>
              <a:gd name="connsiteX520" fmla="*/ 2102688 w 4545947"/>
              <a:gd name="connsiteY520" fmla="*/ 3582642 h 4525940"/>
              <a:gd name="connsiteX521" fmla="*/ 2091367 w 4545947"/>
              <a:gd name="connsiteY521" fmla="*/ 3617476 h 4525940"/>
              <a:gd name="connsiteX522" fmla="*/ 2102688 w 4545947"/>
              <a:gd name="connsiteY522" fmla="*/ 3633289 h 4525940"/>
              <a:gd name="connsiteX523" fmla="*/ 2114008 w 4545947"/>
              <a:gd name="connsiteY523" fmla="*/ 3617476 h 4525940"/>
              <a:gd name="connsiteX524" fmla="*/ 2102688 w 4545947"/>
              <a:gd name="connsiteY524" fmla="*/ 3582642 h 4525940"/>
              <a:gd name="connsiteX525" fmla="*/ 2147146 w 4545947"/>
              <a:gd name="connsiteY525" fmla="*/ 3571020 h 4525940"/>
              <a:gd name="connsiteX526" fmla="*/ 2137738 w 4545947"/>
              <a:gd name="connsiteY526" fmla="*/ 3608493 h 4525940"/>
              <a:gd name="connsiteX527" fmla="*/ 2152797 w 4545947"/>
              <a:gd name="connsiteY527" fmla="*/ 3638304 h 4525940"/>
              <a:gd name="connsiteX528" fmla="*/ 2161723 w 4545947"/>
              <a:gd name="connsiteY528" fmla="*/ 3608655 h 4525940"/>
              <a:gd name="connsiteX529" fmla="*/ 2153945 w 4545947"/>
              <a:gd name="connsiteY529" fmla="*/ 3573836 h 4525940"/>
              <a:gd name="connsiteX530" fmla="*/ 2147146 w 4545947"/>
              <a:gd name="connsiteY530" fmla="*/ 3571020 h 4525940"/>
              <a:gd name="connsiteX531" fmla="*/ 1798001 w 4545947"/>
              <a:gd name="connsiteY531" fmla="*/ 3564738 h 4525940"/>
              <a:gd name="connsiteX532" fmla="*/ 1804404 w 4545947"/>
              <a:gd name="connsiteY532" fmla="*/ 3690298 h 4525940"/>
              <a:gd name="connsiteX533" fmla="*/ 1825007 w 4545947"/>
              <a:gd name="connsiteY533" fmla="*/ 3705989 h 4525940"/>
              <a:gd name="connsiteX534" fmla="*/ 1854833 w 4545947"/>
              <a:gd name="connsiteY534" fmla="*/ 3708350 h 4525940"/>
              <a:gd name="connsiteX535" fmla="*/ 1852022 w 4545947"/>
              <a:gd name="connsiteY535" fmla="*/ 3687323 h 4525940"/>
              <a:gd name="connsiteX536" fmla="*/ 1844685 w 4545947"/>
              <a:gd name="connsiteY536" fmla="*/ 3667656 h 4525940"/>
              <a:gd name="connsiteX537" fmla="*/ 1839844 w 4545947"/>
              <a:gd name="connsiteY537" fmla="*/ 3658612 h 4525940"/>
              <a:gd name="connsiteX538" fmla="*/ 1837584 w 4545947"/>
              <a:gd name="connsiteY538" fmla="*/ 3648876 h 4525940"/>
              <a:gd name="connsiteX539" fmla="*/ 1834195 w 4545947"/>
              <a:gd name="connsiteY539" fmla="*/ 3635824 h 4525940"/>
              <a:gd name="connsiteX540" fmla="*/ 1825589 w 4545947"/>
              <a:gd name="connsiteY540" fmla="*/ 3608642 h 4525940"/>
              <a:gd name="connsiteX541" fmla="*/ 1798001 w 4545947"/>
              <a:gd name="connsiteY541" fmla="*/ 3564738 h 4525940"/>
              <a:gd name="connsiteX542" fmla="*/ 4146521 w 4545947"/>
              <a:gd name="connsiteY542" fmla="*/ 3557318 h 4525940"/>
              <a:gd name="connsiteX543" fmla="*/ 4155093 w 4545947"/>
              <a:gd name="connsiteY543" fmla="*/ 3571287 h 4525940"/>
              <a:gd name="connsiteX544" fmla="*/ 4148124 w 4545947"/>
              <a:gd name="connsiteY544" fmla="*/ 3584178 h 4525940"/>
              <a:gd name="connsiteX545" fmla="*/ 4146521 w 4545947"/>
              <a:gd name="connsiteY545" fmla="*/ 3557318 h 4525940"/>
              <a:gd name="connsiteX546" fmla="*/ 1509191 w 4545947"/>
              <a:gd name="connsiteY546" fmla="*/ 3547053 h 4525940"/>
              <a:gd name="connsiteX547" fmla="*/ 1508315 w 4545947"/>
              <a:gd name="connsiteY547" fmla="*/ 3553625 h 4525940"/>
              <a:gd name="connsiteX548" fmla="*/ 1510612 w 4545947"/>
              <a:gd name="connsiteY548" fmla="*/ 3561935 h 4525940"/>
              <a:gd name="connsiteX549" fmla="*/ 1510957 w 4545947"/>
              <a:gd name="connsiteY549" fmla="*/ 3549800 h 4525940"/>
              <a:gd name="connsiteX550" fmla="*/ 1510957 w 4545947"/>
              <a:gd name="connsiteY550" fmla="*/ 3549800 h 4525940"/>
              <a:gd name="connsiteX551" fmla="*/ 1509191 w 4545947"/>
              <a:gd name="connsiteY551" fmla="*/ 3547053 h 4525940"/>
              <a:gd name="connsiteX552" fmla="*/ 4384535 w 4545947"/>
              <a:gd name="connsiteY552" fmla="*/ 3546663 h 4525940"/>
              <a:gd name="connsiteX553" fmla="*/ 4387177 w 4545947"/>
              <a:gd name="connsiteY553" fmla="*/ 3550488 h 4525940"/>
              <a:gd name="connsiteX554" fmla="*/ 4392916 w 4545947"/>
              <a:gd name="connsiteY554" fmla="*/ 3547163 h 4525940"/>
              <a:gd name="connsiteX555" fmla="*/ 4392916 w 4545947"/>
              <a:gd name="connsiteY555" fmla="*/ 3547162 h 4525940"/>
              <a:gd name="connsiteX556" fmla="*/ 4384535 w 4545947"/>
              <a:gd name="connsiteY556" fmla="*/ 3546663 h 4525940"/>
              <a:gd name="connsiteX557" fmla="*/ 2522488 w 4545947"/>
              <a:gd name="connsiteY557" fmla="*/ 3535161 h 4525940"/>
              <a:gd name="connsiteX558" fmla="*/ 2512028 w 4545947"/>
              <a:gd name="connsiteY558" fmla="*/ 3569062 h 4525940"/>
              <a:gd name="connsiteX559" fmla="*/ 2537303 w 4545947"/>
              <a:gd name="connsiteY559" fmla="*/ 3568397 h 4525940"/>
              <a:gd name="connsiteX560" fmla="*/ 2522488 w 4545947"/>
              <a:gd name="connsiteY560" fmla="*/ 3535161 h 4525940"/>
              <a:gd name="connsiteX561" fmla="*/ 4512472 w 4545947"/>
              <a:gd name="connsiteY561" fmla="*/ 3529100 h 4525940"/>
              <a:gd name="connsiteX562" fmla="*/ 4509725 w 4545947"/>
              <a:gd name="connsiteY562" fmla="*/ 3538326 h 4525940"/>
              <a:gd name="connsiteX563" fmla="*/ 4505654 w 4545947"/>
              <a:gd name="connsiteY563" fmla="*/ 3531892 h 4525940"/>
              <a:gd name="connsiteX564" fmla="*/ 4512472 w 4545947"/>
              <a:gd name="connsiteY564" fmla="*/ 3529100 h 4525940"/>
              <a:gd name="connsiteX565" fmla="*/ 1784685 w 4545947"/>
              <a:gd name="connsiteY565" fmla="*/ 3528061 h 4525940"/>
              <a:gd name="connsiteX566" fmla="*/ 1786451 w 4545947"/>
              <a:gd name="connsiteY566" fmla="*/ 3530808 h 4525940"/>
              <a:gd name="connsiteX567" fmla="*/ 1786106 w 4545947"/>
              <a:gd name="connsiteY567" fmla="*/ 3542942 h 4525940"/>
              <a:gd name="connsiteX568" fmla="*/ 1783809 w 4545947"/>
              <a:gd name="connsiteY568" fmla="*/ 3534633 h 4525940"/>
              <a:gd name="connsiteX569" fmla="*/ 1784685 w 4545947"/>
              <a:gd name="connsiteY569" fmla="*/ 3528061 h 4525940"/>
              <a:gd name="connsiteX570" fmla="*/ 2708921 w 4545947"/>
              <a:gd name="connsiteY570" fmla="*/ 3527919 h 4525940"/>
              <a:gd name="connsiteX571" fmla="*/ 2719644 w 4545947"/>
              <a:gd name="connsiteY571" fmla="*/ 3532655 h 4525940"/>
              <a:gd name="connsiteX572" fmla="*/ 2712711 w 4545947"/>
              <a:gd name="connsiteY572" fmla="*/ 3550987 h 4525940"/>
              <a:gd name="connsiteX573" fmla="*/ 2701779 w 4545947"/>
              <a:gd name="connsiteY573" fmla="*/ 3541293 h 4525940"/>
              <a:gd name="connsiteX574" fmla="*/ 2708921 w 4545947"/>
              <a:gd name="connsiteY574" fmla="*/ 3527919 h 4525940"/>
              <a:gd name="connsiteX575" fmla="*/ 4454649 w 4545947"/>
              <a:gd name="connsiteY575" fmla="*/ 3527292 h 4525940"/>
              <a:gd name="connsiteX576" fmla="*/ 4459694 w 4545947"/>
              <a:gd name="connsiteY576" fmla="*/ 3534633 h 4525940"/>
              <a:gd name="connsiteX577" fmla="*/ 4452770 w 4545947"/>
              <a:gd name="connsiteY577" fmla="*/ 3544657 h 4525940"/>
              <a:gd name="connsiteX578" fmla="*/ 4447578 w 4545947"/>
              <a:gd name="connsiteY578" fmla="*/ 3537139 h 4525940"/>
              <a:gd name="connsiteX579" fmla="*/ 4454649 w 4545947"/>
              <a:gd name="connsiteY579" fmla="*/ 3527292 h 4525940"/>
              <a:gd name="connsiteX580" fmla="*/ 4330693 w 4545947"/>
              <a:gd name="connsiteY580" fmla="*/ 3513002 h 4525940"/>
              <a:gd name="connsiteX581" fmla="*/ 4337253 w 4545947"/>
              <a:gd name="connsiteY581" fmla="*/ 3522872 h 4525940"/>
              <a:gd name="connsiteX582" fmla="*/ 4341625 w 4545947"/>
              <a:gd name="connsiteY582" fmla="*/ 3528830 h 4525940"/>
              <a:gd name="connsiteX583" fmla="*/ 4345998 w 4545947"/>
              <a:gd name="connsiteY583" fmla="*/ 3531621 h 4525940"/>
              <a:gd name="connsiteX584" fmla="*/ 4331787 w 4545947"/>
              <a:gd name="connsiteY584" fmla="*/ 3533962 h 4525940"/>
              <a:gd name="connsiteX585" fmla="*/ 4330693 w 4545947"/>
              <a:gd name="connsiteY585" fmla="*/ 3513002 h 4525940"/>
              <a:gd name="connsiteX586" fmla="*/ 1781278 w 4545947"/>
              <a:gd name="connsiteY586" fmla="*/ 3513002 h 4525940"/>
              <a:gd name="connsiteX587" fmla="*/ 1770345 w 4545947"/>
              <a:gd name="connsiteY587" fmla="*/ 3522499 h 4525940"/>
              <a:gd name="connsiteX588" fmla="*/ 1770345 w 4545947"/>
              <a:gd name="connsiteY588" fmla="*/ 3541491 h 4525940"/>
              <a:gd name="connsiteX589" fmla="*/ 1781278 w 4545947"/>
              <a:gd name="connsiteY589" fmla="*/ 3550987 h 4525940"/>
              <a:gd name="connsiteX590" fmla="*/ 1792210 w 4545947"/>
              <a:gd name="connsiteY590" fmla="*/ 3541491 h 4525940"/>
              <a:gd name="connsiteX591" fmla="*/ 1792210 w 4545947"/>
              <a:gd name="connsiteY591" fmla="*/ 3522499 h 4525940"/>
              <a:gd name="connsiteX592" fmla="*/ 1781278 w 4545947"/>
              <a:gd name="connsiteY592" fmla="*/ 3513002 h 4525940"/>
              <a:gd name="connsiteX593" fmla="*/ 2765727 w 4545947"/>
              <a:gd name="connsiteY593" fmla="*/ 3506671 h 4525940"/>
              <a:gd name="connsiteX594" fmla="*/ 2771915 w 4545947"/>
              <a:gd name="connsiteY594" fmla="*/ 3549820 h 4525940"/>
              <a:gd name="connsiteX595" fmla="*/ 2777517 w 4545947"/>
              <a:gd name="connsiteY595" fmla="*/ 3587805 h 4525940"/>
              <a:gd name="connsiteX596" fmla="*/ 2777592 w 4545947"/>
              <a:gd name="connsiteY596" fmla="*/ 3645950 h 4525940"/>
              <a:gd name="connsiteX597" fmla="*/ 2767140 w 4545947"/>
              <a:gd name="connsiteY597" fmla="*/ 3632658 h 4525940"/>
              <a:gd name="connsiteX598" fmla="*/ 2750756 w 4545947"/>
              <a:gd name="connsiteY598" fmla="*/ 3622540 h 4525940"/>
              <a:gd name="connsiteX599" fmla="*/ 2733789 w 4545947"/>
              <a:gd name="connsiteY599" fmla="*/ 3615257 h 4525940"/>
              <a:gd name="connsiteX600" fmla="*/ 2734887 w 4545947"/>
              <a:gd name="connsiteY600" fmla="*/ 3595303 h 4525940"/>
              <a:gd name="connsiteX601" fmla="*/ 2757753 w 4545947"/>
              <a:gd name="connsiteY601" fmla="*/ 3540827 h 4525940"/>
              <a:gd name="connsiteX602" fmla="*/ 2765727 w 4545947"/>
              <a:gd name="connsiteY602" fmla="*/ 3506671 h 4525940"/>
              <a:gd name="connsiteX603" fmla="*/ 740522 w 4545947"/>
              <a:gd name="connsiteY603" fmla="*/ 3475017 h 4525940"/>
              <a:gd name="connsiteX604" fmla="*/ 747081 w 4545947"/>
              <a:gd name="connsiteY604" fmla="*/ 3484514 h 4525940"/>
              <a:gd name="connsiteX605" fmla="*/ 740522 w 4545947"/>
              <a:gd name="connsiteY605" fmla="*/ 3494010 h 4525940"/>
              <a:gd name="connsiteX606" fmla="*/ 733962 w 4545947"/>
              <a:gd name="connsiteY606" fmla="*/ 3484514 h 4525940"/>
              <a:gd name="connsiteX607" fmla="*/ 740522 w 4545947"/>
              <a:gd name="connsiteY607" fmla="*/ 3475017 h 4525940"/>
              <a:gd name="connsiteX608" fmla="*/ 2881943 w 4545947"/>
              <a:gd name="connsiteY608" fmla="*/ 3462355 h 4525940"/>
              <a:gd name="connsiteX609" fmla="*/ 2878636 w 4545947"/>
              <a:gd name="connsiteY609" fmla="*/ 3495324 h 4525940"/>
              <a:gd name="connsiteX610" fmla="*/ 2869346 w 4545947"/>
              <a:gd name="connsiteY610" fmla="*/ 3523011 h 4525940"/>
              <a:gd name="connsiteX611" fmla="*/ 2885957 w 4545947"/>
              <a:gd name="connsiteY611" fmla="*/ 3557318 h 4525940"/>
              <a:gd name="connsiteX612" fmla="*/ 2892001 w 4545947"/>
              <a:gd name="connsiteY612" fmla="*/ 3550987 h 4525940"/>
              <a:gd name="connsiteX613" fmla="*/ 2898525 w 4545947"/>
              <a:gd name="connsiteY613" fmla="*/ 3544657 h 4525940"/>
              <a:gd name="connsiteX614" fmla="*/ 2906022 w 4545947"/>
              <a:gd name="connsiteY614" fmla="*/ 3571563 h 4525940"/>
              <a:gd name="connsiteX615" fmla="*/ 2895961 w 4545947"/>
              <a:gd name="connsiteY615" fmla="*/ 3600666 h 4525940"/>
              <a:gd name="connsiteX616" fmla="*/ 2883473 w 4545947"/>
              <a:gd name="connsiteY616" fmla="*/ 3608579 h 4525940"/>
              <a:gd name="connsiteX617" fmla="*/ 2866193 w 4545947"/>
              <a:gd name="connsiteY617" fmla="*/ 3600603 h 4525940"/>
              <a:gd name="connsiteX618" fmla="*/ 2861950 w 4545947"/>
              <a:gd name="connsiteY618" fmla="*/ 3581332 h 4525940"/>
              <a:gd name="connsiteX619" fmla="*/ 2859095 w 4545947"/>
              <a:gd name="connsiteY619" fmla="*/ 3566625 h 4525940"/>
              <a:gd name="connsiteX620" fmla="*/ 2855607 w 4545947"/>
              <a:gd name="connsiteY620" fmla="*/ 3535822 h 4525940"/>
              <a:gd name="connsiteX621" fmla="*/ 2845247 w 4545947"/>
              <a:gd name="connsiteY621" fmla="*/ 3503796 h 4525940"/>
              <a:gd name="connsiteX622" fmla="*/ 2838518 w 4545947"/>
              <a:gd name="connsiteY622" fmla="*/ 3479481 h 4525940"/>
              <a:gd name="connsiteX623" fmla="*/ 2844567 w 4545947"/>
              <a:gd name="connsiteY623" fmla="*/ 3463500 h 4525940"/>
              <a:gd name="connsiteX624" fmla="*/ 2854296 w 4545947"/>
              <a:gd name="connsiteY624" fmla="*/ 3469672 h 4525940"/>
              <a:gd name="connsiteX625" fmla="*/ 2868715 w 4545947"/>
              <a:gd name="connsiteY625" fmla="*/ 3470111 h 4525940"/>
              <a:gd name="connsiteX626" fmla="*/ 2881943 w 4545947"/>
              <a:gd name="connsiteY626" fmla="*/ 3462355 h 4525940"/>
              <a:gd name="connsiteX627" fmla="*/ 3212720 w 4545947"/>
              <a:gd name="connsiteY627" fmla="*/ 3424461 h 4525940"/>
              <a:gd name="connsiteX628" fmla="*/ 3204212 w 4545947"/>
              <a:gd name="connsiteY628" fmla="*/ 3429702 h 4525940"/>
              <a:gd name="connsiteX629" fmla="*/ 3191529 w 4545947"/>
              <a:gd name="connsiteY629" fmla="*/ 3430662 h 4525940"/>
              <a:gd name="connsiteX630" fmla="*/ 3172515 w 4545947"/>
              <a:gd name="connsiteY630" fmla="*/ 3443537 h 4525940"/>
              <a:gd name="connsiteX631" fmla="*/ 3184563 w 4545947"/>
              <a:gd name="connsiteY631" fmla="*/ 3508254 h 4525940"/>
              <a:gd name="connsiteX632" fmla="*/ 3208164 w 4545947"/>
              <a:gd name="connsiteY632" fmla="*/ 3511736 h 4525940"/>
              <a:gd name="connsiteX633" fmla="*/ 3209038 w 4545947"/>
              <a:gd name="connsiteY633" fmla="*/ 3481348 h 4525940"/>
              <a:gd name="connsiteX634" fmla="*/ 3213411 w 4545947"/>
              <a:gd name="connsiteY634" fmla="*/ 3460521 h 4525940"/>
              <a:gd name="connsiteX635" fmla="*/ 3217851 w 4545947"/>
              <a:gd name="connsiteY635" fmla="*/ 3430701 h 4525940"/>
              <a:gd name="connsiteX636" fmla="*/ 3212720 w 4545947"/>
              <a:gd name="connsiteY636" fmla="*/ 3424461 h 4525940"/>
              <a:gd name="connsiteX637" fmla="*/ 4431270 w 4545947"/>
              <a:gd name="connsiteY637" fmla="*/ 3405378 h 4525940"/>
              <a:gd name="connsiteX638" fmla="*/ 4442203 w 4545947"/>
              <a:gd name="connsiteY638" fmla="*/ 3417522 h 4525940"/>
              <a:gd name="connsiteX639" fmla="*/ 4444857 w 4545947"/>
              <a:gd name="connsiteY639" fmla="*/ 3439680 h 4525940"/>
              <a:gd name="connsiteX640" fmla="*/ 4430057 w 4545947"/>
              <a:gd name="connsiteY640" fmla="*/ 3439839 h 4525940"/>
              <a:gd name="connsiteX641" fmla="*/ 4431270 w 4545947"/>
              <a:gd name="connsiteY641" fmla="*/ 3405378 h 4525940"/>
              <a:gd name="connsiteX642" fmla="*/ 549890 w 4545947"/>
              <a:gd name="connsiteY642" fmla="*/ 3399047 h 4525940"/>
              <a:gd name="connsiteX643" fmla="*/ 548842 w 4545947"/>
              <a:gd name="connsiteY643" fmla="*/ 3426481 h 4525940"/>
              <a:gd name="connsiteX644" fmla="*/ 558681 w 4545947"/>
              <a:gd name="connsiteY644" fmla="*/ 3429967 h 4525940"/>
              <a:gd name="connsiteX645" fmla="*/ 557546 w 4545947"/>
              <a:gd name="connsiteY645" fmla="*/ 3426224 h 4525940"/>
              <a:gd name="connsiteX646" fmla="*/ 551671 w 4545947"/>
              <a:gd name="connsiteY646" fmla="*/ 3411132 h 4525940"/>
              <a:gd name="connsiteX647" fmla="*/ 549890 w 4545947"/>
              <a:gd name="connsiteY647" fmla="*/ 3399047 h 4525940"/>
              <a:gd name="connsiteX648" fmla="*/ 4493782 w 4545947"/>
              <a:gd name="connsiteY648" fmla="*/ 3361062 h 4525940"/>
              <a:gd name="connsiteX649" fmla="*/ 4515201 w 4545947"/>
              <a:gd name="connsiteY649" fmla="*/ 3429955 h 4525940"/>
              <a:gd name="connsiteX650" fmla="*/ 4510617 w 4545947"/>
              <a:gd name="connsiteY650" fmla="*/ 3475017 h 4525940"/>
              <a:gd name="connsiteX651" fmla="*/ 4503423 w 4545947"/>
              <a:gd name="connsiteY651" fmla="*/ 3459717 h 4525940"/>
              <a:gd name="connsiteX652" fmla="*/ 4499676 w 4545947"/>
              <a:gd name="connsiteY652" fmla="*/ 3442307 h 4525940"/>
              <a:gd name="connsiteX653" fmla="*/ 4493782 w 4545947"/>
              <a:gd name="connsiteY653" fmla="*/ 3361062 h 4525940"/>
              <a:gd name="connsiteX654" fmla="*/ 2909492 w 4545947"/>
              <a:gd name="connsiteY654" fmla="*/ 3361062 h 4525940"/>
              <a:gd name="connsiteX655" fmla="*/ 2916052 w 4545947"/>
              <a:gd name="connsiteY655" fmla="*/ 3376889 h 4525940"/>
              <a:gd name="connsiteX656" fmla="*/ 2914958 w 4545947"/>
              <a:gd name="connsiteY656" fmla="*/ 3392216 h 4525940"/>
              <a:gd name="connsiteX657" fmla="*/ 2908399 w 4545947"/>
              <a:gd name="connsiteY657" fmla="*/ 3388523 h 4525940"/>
              <a:gd name="connsiteX658" fmla="*/ 2909492 w 4545947"/>
              <a:gd name="connsiteY658" fmla="*/ 3361062 h 4525940"/>
              <a:gd name="connsiteX659" fmla="*/ 4276032 w 4545947"/>
              <a:gd name="connsiteY659" fmla="*/ 3354731 h 4525940"/>
              <a:gd name="connsiteX660" fmla="*/ 4265567 w 4545947"/>
              <a:gd name="connsiteY660" fmla="*/ 3364745 h 4525940"/>
              <a:gd name="connsiteX661" fmla="*/ 4267117 w 4545947"/>
              <a:gd name="connsiteY661" fmla="*/ 3405378 h 4525940"/>
              <a:gd name="connsiteX662" fmla="*/ 4276032 w 4545947"/>
              <a:gd name="connsiteY662" fmla="*/ 3430701 h 4525940"/>
              <a:gd name="connsiteX663" fmla="*/ 4302037 w 4545947"/>
              <a:gd name="connsiteY663" fmla="*/ 3446933 h 4525940"/>
              <a:gd name="connsiteX664" fmla="*/ 4293369 w 4545947"/>
              <a:gd name="connsiteY664" fmla="*/ 3411709 h 4525940"/>
              <a:gd name="connsiteX665" fmla="*/ 4289150 w 4545947"/>
              <a:gd name="connsiteY665" fmla="*/ 3393234 h 4525940"/>
              <a:gd name="connsiteX666" fmla="*/ 4276032 w 4545947"/>
              <a:gd name="connsiteY666" fmla="*/ 3354731 h 4525940"/>
              <a:gd name="connsiteX667" fmla="*/ 2669069 w 4545947"/>
              <a:gd name="connsiteY667" fmla="*/ 3336073 h 4525940"/>
              <a:gd name="connsiteX668" fmla="*/ 2661312 w 4545947"/>
              <a:gd name="connsiteY668" fmla="*/ 3343652 h 4525940"/>
              <a:gd name="connsiteX669" fmla="*/ 2652411 w 4545947"/>
              <a:gd name="connsiteY669" fmla="*/ 3343129 h 4525940"/>
              <a:gd name="connsiteX670" fmla="*/ 2636395 w 4545947"/>
              <a:gd name="connsiteY670" fmla="*/ 3338808 h 4525940"/>
              <a:gd name="connsiteX671" fmla="*/ 2627439 w 4545947"/>
              <a:gd name="connsiteY671" fmla="*/ 3373095 h 4525940"/>
              <a:gd name="connsiteX672" fmla="*/ 2630354 w 4545947"/>
              <a:gd name="connsiteY672" fmla="*/ 3407488 h 4525940"/>
              <a:gd name="connsiteX673" fmla="*/ 2652210 w 4545947"/>
              <a:gd name="connsiteY673" fmla="*/ 3403795 h 4525940"/>
              <a:gd name="connsiteX674" fmla="*/ 2655748 w 4545947"/>
              <a:gd name="connsiteY674" fmla="*/ 3386385 h 4525940"/>
              <a:gd name="connsiteX675" fmla="*/ 2665384 w 4545947"/>
              <a:gd name="connsiteY675" fmla="*/ 3374926 h 4525940"/>
              <a:gd name="connsiteX676" fmla="*/ 2679914 w 4545947"/>
              <a:gd name="connsiteY676" fmla="*/ 3345235 h 4525940"/>
              <a:gd name="connsiteX677" fmla="*/ 2669069 w 4545947"/>
              <a:gd name="connsiteY677" fmla="*/ 3336073 h 4525940"/>
              <a:gd name="connsiteX678" fmla="*/ 587549 w 4545947"/>
              <a:gd name="connsiteY678" fmla="*/ 3300251 h 4525940"/>
              <a:gd name="connsiteX679" fmla="*/ 574278 w 4545947"/>
              <a:gd name="connsiteY679" fmla="*/ 3300379 h 4525940"/>
              <a:gd name="connsiteX680" fmla="*/ 564236 w 4545947"/>
              <a:gd name="connsiteY680" fmla="*/ 3321715 h 4525940"/>
              <a:gd name="connsiteX681" fmla="*/ 575444 w 4545947"/>
              <a:gd name="connsiteY681" fmla="*/ 3340927 h 4525940"/>
              <a:gd name="connsiteX682" fmla="*/ 585283 w 4545947"/>
              <a:gd name="connsiteY682" fmla="*/ 3354654 h 4525940"/>
              <a:gd name="connsiteX683" fmla="*/ 606273 w 4545947"/>
              <a:gd name="connsiteY683" fmla="*/ 3378788 h 4525940"/>
              <a:gd name="connsiteX684" fmla="*/ 601264 w 4545947"/>
              <a:gd name="connsiteY684" fmla="*/ 3348772 h 4525940"/>
              <a:gd name="connsiteX685" fmla="*/ 590611 w 4545947"/>
              <a:gd name="connsiteY685" fmla="*/ 3322956 h 4525940"/>
              <a:gd name="connsiteX686" fmla="*/ 587549 w 4545947"/>
              <a:gd name="connsiteY686" fmla="*/ 3300251 h 4525940"/>
              <a:gd name="connsiteX687" fmla="*/ 4154664 w 4545947"/>
              <a:gd name="connsiteY687" fmla="*/ 3279903 h 4525940"/>
              <a:gd name="connsiteX688" fmla="*/ 4148160 w 4545947"/>
              <a:gd name="connsiteY688" fmla="*/ 3310449 h 4525940"/>
              <a:gd name="connsiteX689" fmla="*/ 4154873 w 4545947"/>
              <a:gd name="connsiteY689" fmla="*/ 3347448 h 4525940"/>
              <a:gd name="connsiteX690" fmla="*/ 4157387 w 4545947"/>
              <a:gd name="connsiteY690" fmla="*/ 3373723 h 4525940"/>
              <a:gd name="connsiteX691" fmla="*/ 4162336 w 4545947"/>
              <a:gd name="connsiteY691" fmla="*/ 3393890 h 4525940"/>
              <a:gd name="connsiteX692" fmla="*/ 4171844 w 4545947"/>
              <a:gd name="connsiteY692" fmla="*/ 3428710 h 4525940"/>
              <a:gd name="connsiteX693" fmla="*/ 4190840 w 4545947"/>
              <a:gd name="connsiteY693" fmla="*/ 3430334 h 4525940"/>
              <a:gd name="connsiteX694" fmla="*/ 4184264 w 4545947"/>
              <a:gd name="connsiteY694" fmla="*/ 3354731 h 4525940"/>
              <a:gd name="connsiteX695" fmla="*/ 4178032 w 4545947"/>
              <a:gd name="connsiteY695" fmla="*/ 3338904 h 4525940"/>
              <a:gd name="connsiteX696" fmla="*/ 4168795 w 4545947"/>
              <a:gd name="connsiteY696" fmla="*/ 3323077 h 4525940"/>
              <a:gd name="connsiteX697" fmla="*/ 4163412 w 4545947"/>
              <a:gd name="connsiteY697" fmla="*/ 3302505 h 4525940"/>
              <a:gd name="connsiteX698" fmla="*/ 4154664 w 4545947"/>
              <a:gd name="connsiteY698" fmla="*/ 3279903 h 4525940"/>
              <a:gd name="connsiteX699" fmla="*/ 3384462 w 4545947"/>
              <a:gd name="connsiteY699" fmla="*/ 3266400 h 4525940"/>
              <a:gd name="connsiteX700" fmla="*/ 3379525 w 4545947"/>
              <a:gd name="connsiteY700" fmla="*/ 3272430 h 4525940"/>
              <a:gd name="connsiteX701" fmla="*/ 3379925 w 4545947"/>
              <a:gd name="connsiteY701" fmla="*/ 3355951 h 4525940"/>
              <a:gd name="connsiteX702" fmla="*/ 3385390 w 4545947"/>
              <a:gd name="connsiteY702" fmla="*/ 3380219 h 4525940"/>
              <a:gd name="connsiteX703" fmla="*/ 3373548 w 4545947"/>
              <a:gd name="connsiteY703" fmla="*/ 3404295 h 4525940"/>
              <a:gd name="connsiteX704" fmla="*/ 3363543 w 4545947"/>
              <a:gd name="connsiteY704" fmla="*/ 3438014 h 4525940"/>
              <a:gd name="connsiteX705" fmla="*/ 3377229 w 4545947"/>
              <a:gd name="connsiteY705" fmla="*/ 3482289 h 4525940"/>
              <a:gd name="connsiteX706" fmla="*/ 3388329 w 4545947"/>
              <a:gd name="connsiteY706" fmla="*/ 3506757 h 4525940"/>
              <a:gd name="connsiteX707" fmla="*/ 3392701 w 4545947"/>
              <a:gd name="connsiteY707" fmla="*/ 3522499 h 4525940"/>
              <a:gd name="connsiteX708" fmla="*/ 3397074 w 4545947"/>
              <a:gd name="connsiteY708" fmla="*/ 3538273 h 4525940"/>
              <a:gd name="connsiteX709" fmla="*/ 3405820 w 4545947"/>
              <a:gd name="connsiteY709" fmla="*/ 3554153 h 4525940"/>
              <a:gd name="connsiteX710" fmla="*/ 3414566 w 4545947"/>
              <a:gd name="connsiteY710" fmla="*/ 3570407 h 4525940"/>
              <a:gd name="connsiteX711" fmla="*/ 3418939 w 4545947"/>
              <a:gd name="connsiteY711" fmla="*/ 3582642 h 4525940"/>
              <a:gd name="connsiteX712" fmla="*/ 3423312 w 4545947"/>
              <a:gd name="connsiteY712" fmla="*/ 3597414 h 4525940"/>
              <a:gd name="connsiteX713" fmla="*/ 3426227 w 4545947"/>
              <a:gd name="connsiteY713" fmla="*/ 3616406 h 4525940"/>
              <a:gd name="connsiteX714" fmla="*/ 3446895 w 4545947"/>
              <a:gd name="connsiteY714" fmla="*/ 3610613 h 4525940"/>
              <a:gd name="connsiteX715" fmla="*/ 3445741 w 4545947"/>
              <a:gd name="connsiteY715" fmla="*/ 3569980 h 4525940"/>
              <a:gd name="connsiteX716" fmla="*/ 3438964 w 4545947"/>
              <a:gd name="connsiteY716" fmla="*/ 3531995 h 4525940"/>
              <a:gd name="connsiteX717" fmla="*/ 3432296 w 4545947"/>
              <a:gd name="connsiteY717" fmla="*/ 3494010 h 4525940"/>
              <a:gd name="connsiteX718" fmla="*/ 3425497 w 4545947"/>
              <a:gd name="connsiteY718" fmla="*/ 3443363 h 4525940"/>
              <a:gd name="connsiteX719" fmla="*/ 3418484 w 4545947"/>
              <a:gd name="connsiteY719" fmla="*/ 3392716 h 4525940"/>
              <a:gd name="connsiteX720" fmla="*/ 3414566 w 4545947"/>
              <a:gd name="connsiteY720" fmla="*/ 3374498 h 4525940"/>
              <a:gd name="connsiteX721" fmla="*/ 3408222 w 4545947"/>
              <a:gd name="connsiteY721" fmla="*/ 3348660 h 4525940"/>
              <a:gd name="connsiteX722" fmla="*/ 3400570 w 4545947"/>
              <a:gd name="connsiteY722" fmla="*/ 3308969 h 4525940"/>
              <a:gd name="connsiteX723" fmla="*/ 3391484 w 4545947"/>
              <a:gd name="connsiteY723" fmla="*/ 3269917 h 4525940"/>
              <a:gd name="connsiteX724" fmla="*/ 3384462 w 4545947"/>
              <a:gd name="connsiteY724" fmla="*/ 3266400 h 4525940"/>
              <a:gd name="connsiteX725" fmla="*/ 3348864 w 4545947"/>
              <a:gd name="connsiteY725" fmla="*/ 3248793 h 4525940"/>
              <a:gd name="connsiteX726" fmla="*/ 3339131 w 4545947"/>
              <a:gd name="connsiteY726" fmla="*/ 3252124 h 4525940"/>
              <a:gd name="connsiteX727" fmla="*/ 3346508 w 4545947"/>
              <a:gd name="connsiteY727" fmla="*/ 3297753 h 4525940"/>
              <a:gd name="connsiteX728" fmla="*/ 3356934 w 4545947"/>
              <a:gd name="connsiteY728" fmla="*/ 3289624 h 4525940"/>
              <a:gd name="connsiteX729" fmla="*/ 3348864 w 4545947"/>
              <a:gd name="connsiteY729" fmla="*/ 3248793 h 4525940"/>
              <a:gd name="connsiteX730" fmla="*/ 313287 w 4545947"/>
              <a:gd name="connsiteY730" fmla="*/ 3234445 h 4525940"/>
              <a:gd name="connsiteX731" fmla="*/ 305415 w 4545947"/>
              <a:gd name="connsiteY731" fmla="*/ 3256085 h 4525940"/>
              <a:gd name="connsiteX732" fmla="*/ 318534 w 4545947"/>
              <a:gd name="connsiteY732" fmla="*/ 3297753 h 4525940"/>
              <a:gd name="connsiteX733" fmla="*/ 328998 w 4545947"/>
              <a:gd name="connsiteY733" fmla="*/ 3287739 h 4525940"/>
              <a:gd name="connsiteX734" fmla="*/ 313287 w 4545947"/>
              <a:gd name="connsiteY734" fmla="*/ 3234445 h 4525940"/>
              <a:gd name="connsiteX735" fmla="*/ 4380392 w 4545947"/>
              <a:gd name="connsiteY735" fmla="*/ 3159521 h 4525940"/>
              <a:gd name="connsiteX736" fmla="*/ 4371629 w 4545947"/>
              <a:gd name="connsiteY736" fmla="*/ 3212287 h 4525940"/>
              <a:gd name="connsiteX737" fmla="*/ 4377095 w 4545947"/>
              <a:gd name="connsiteY737" fmla="*/ 3265043 h 4525940"/>
              <a:gd name="connsiteX738" fmla="*/ 4380982 w 4545947"/>
              <a:gd name="connsiteY738" fmla="*/ 3275924 h 4525940"/>
              <a:gd name="connsiteX739" fmla="*/ 4396210 w 4545947"/>
              <a:gd name="connsiteY739" fmla="*/ 3266447 h 4525940"/>
              <a:gd name="connsiteX740" fmla="*/ 4395554 w 4545947"/>
              <a:gd name="connsiteY740" fmla="*/ 3164378 h 4525940"/>
              <a:gd name="connsiteX741" fmla="*/ 4380392 w 4545947"/>
              <a:gd name="connsiteY741" fmla="*/ 3159521 h 4525940"/>
              <a:gd name="connsiteX742" fmla="*/ 608431 w 4545947"/>
              <a:gd name="connsiteY742" fmla="*/ 3076110 h 4525940"/>
              <a:gd name="connsiteX743" fmla="*/ 602272 w 4545947"/>
              <a:gd name="connsiteY743" fmla="*/ 3083464 h 4525940"/>
              <a:gd name="connsiteX744" fmla="*/ 603005 w 4545947"/>
              <a:gd name="connsiteY744" fmla="*/ 3130192 h 4525940"/>
              <a:gd name="connsiteX745" fmla="*/ 605816 w 4545947"/>
              <a:gd name="connsiteY745" fmla="*/ 3141644 h 4525940"/>
              <a:gd name="connsiteX746" fmla="*/ 621984 w 4545947"/>
              <a:gd name="connsiteY746" fmla="*/ 3177467 h 4525940"/>
              <a:gd name="connsiteX747" fmla="*/ 639944 w 4545947"/>
              <a:gd name="connsiteY747" fmla="*/ 3205956 h 4525940"/>
              <a:gd name="connsiteX748" fmla="*/ 626855 w 4545947"/>
              <a:gd name="connsiteY748" fmla="*/ 3208107 h 4525940"/>
              <a:gd name="connsiteX749" fmla="*/ 601711 w 4545947"/>
              <a:gd name="connsiteY749" fmla="*/ 3189354 h 4525940"/>
              <a:gd name="connsiteX750" fmla="*/ 589378 w 4545947"/>
              <a:gd name="connsiteY750" fmla="*/ 3174540 h 4525940"/>
              <a:gd name="connsiteX751" fmla="*/ 585043 w 4545947"/>
              <a:gd name="connsiteY751" fmla="*/ 3165981 h 4525940"/>
              <a:gd name="connsiteX752" fmla="*/ 577206 w 4545947"/>
              <a:gd name="connsiteY752" fmla="*/ 3154710 h 4525940"/>
              <a:gd name="connsiteX753" fmla="*/ 575492 w 4545947"/>
              <a:gd name="connsiteY753" fmla="*/ 3142456 h 4525940"/>
              <a:gd name="connsiteX754" fmla="*/ 581420 w 4545947"/>
              <a:gd name="connsiteY754" fmla="*/ 3126820 h 4525940"/>
              <a:gd name="connsiteX755" fmla="*/ 574489 w 4545947"/>
              <a:gd name="connsiteY755" fmla="*/ 3102739 h 4525940"/>
              <a:gd name="connsiteX756" fmla="*/ 556997 w 4545947"/>
              <a:gd name="connsiteY756" fmla="*/ 3109463 h 4525940"/>
              <a:gd name="connsiteX757" fmla="*/ 556129 w 4545947"/>
              <a:gd name="connsiteY757" fmla="*/ 3135846 h 4525940"/>
              <a:gd name="connsiteX758" fmla="*/ 560000 w 4545947"/>
              <a:gd name="connsiteY758" fmla="*/ 3151929 h 4525940"/>
              <a:gd name="connsiteX759" fmla="*/ 563838 w 4545947"/>
              <a:gd name="connsiteY759" fmla="*/ 3181366 h 4525940"/>
              <a:gd name="connsiteX760" fmla="*/ 574180 w 4545947"/>
              <a:gd name="connsiteY760" fmla="*/ 3202392 h 4525940"/>
              <a:gd name="connsiteX761" fmla="*/ 600152 w 4545947"/>
              <a:gd name="connsiteY761" fmla="*/ 3246045 h 4525940"/>
              <a:gd name="connsiteX762" fmla="*/ 601046 w 4545947"/>
              <a:gd name="connsiteY762" fmla="*/ 3251855 h 4525940"/>
              <a:gd name="connsiteX763" fmla="*/ 603100 w 4545947"/>
              <a:gd name="connsiteY763" fmla="*/ 3266099 h 4525940"/>
              <a:gd name="connsiteX764" fmla="*/ 609854 w 4545947"/>
              <a:gd name="connsiteY764" fmla="*/ 3283509 h 4525940"/>
              <a:gd name="connsiteX765" fmla="*/ 617032 w 4545947"/>
              <a:gd name="connsiteY765" fmla="*/ 3308832 h 4525940"/>
              <a:gd name="connsiteX766" fmla="*/ 617946 w 4545947"/>
              <a:gd name="connsiteY766" fmla="*/ 3316746 h 4525940"/>
              <a:gd name="connsiteX767" fmla="*/ 623970 w 4545947"/>
              <a:gd name="connsiteY767" fmla="*/ 3328567 h 4525940"/>
              <a:gd name="connsiteX768" fmla="*/ 633385 w 4545947"/>
              <a:gd name="connsiteY768" fmla="*/ 3352836 h 4525940"/>
              <a:gd name="connsiteX769" fmla="*/ 658577 w 4545947"/>
              <a:gd name="connsiteY769" fmla="*/ 3369716 h 4525940"/>
              <a:gd name="connsiteX770" fmla="*/ 671077 w 4545947"/>
              <a:gd name="connsiteY770" fmla="*/ 3350809 h 4525940"/>
              <a:gd name="connsiteX771" fmla="*/ 690819 w 4545947"/>
              <a:gd name="connsiteY771" fmla="*/ 3346003 h 4525940"/>
              <a:gd name="connsiteX772" fmla="*/ 704860 w 4545947"/>
              <a:gd name="connsiteY772" fmla="*/ 3315662 h 4525940"/>
              <a:gd name="connsiteX773" fmla="*/ 683069 w 4545947"/>
              <a:gd name="connsiteY773" fmla="*/ 3313581 h 4525940"/>
              <a:gd name="connsiteX774" fmla="*/ 648396 w 4545947"/>
              <a:gd name="connsiteY774" fmla="*/ 3281551 h 4525940"/>
              <a:gd name="connsiteX775" fmla="*/ 638964 w 4545947"/>
              <a:gd name="connsiteY775" fmla="*/ 3252310 h 4525940"/>
              <a:gd name="connsiteX776" fmla="*/ 636844 w 4545947"/>
              <a:gd name="connsiteY776" fmla="*/ 3230703 h 4525940"/>
              <a:gd name="connsiteX777" fmla="*/ 644091 w 4545947"/>
              <a:gd name="connsiteY777" fmla="*/ 3233414 h 4525940"/>
              <a:gd name="connsiteX778" fmla="*/ 653357 w 4545947"/>
              <a:gd name="connsiteY778" fmla="*/ 3247106 h 4525940"/>
              <a:gd name="connsiteX779" fmla="*/ 659622 w 4545947"/>
              <a:gd name="connsiteY779" fmla="*/ 3255622 h 4525940"/>
              <a:gd name="connsiteX780" fmla="*/ 668613 w 4545947"/>
              <a:gd name="connsiteY780" fmla="*/ 3275916 h 4525940"/>
              <a:gd name="connsiteX781" fmla="*/ 686690 w 4545947"/>
              <a:gd name="connsiteY781" fmla="*/ 3279479 h 4525940"/>
              <a:gd name="connsiteX782" fmla="*/ 698996 w 4545947"/>
              <a:gd name="connsiteY782" fmla="*/ 3278800 h 4525940"/>
              <a:gd name="connsiteX783" fmla="*/ 718657 w 4545947"/>
              <a:gd name="connsiteY783" fmla="*/ 3266012 h 4525940"/>
              <a:gd name="connsiteX784" fmla="*/ 702258 w 4545947"/>
              <a:gd name="connsiteY784" fmla="*/ 3248307 h 4525940"/>
              <a:gd name="connsiteX785" fmla="*/ 685860 w 4545947"/>
              <a:gd name="connsiteY785" fmla="*/ 3218686 h 4525940"/>
              <a:gd name="connsiteX786" fmla="*/ 671132 w 4545947"/>
              <a:gd name="connsiteY786" fmla="*/ 3168421 h 4525940"/>
              <a:gd name="connsiteX787" fmla="*/ 649936 w 4545947"/>
              <a:gd name="connsiteY787" fmla="*/ 3145813 h 4525940"/>
              <a:gd name="connsiteX788" fmla="*/ 623889 w 4545947"/>
              <a:gd name="connsiteY788" fmla="*/ 3101236 h 4525940"/>
              <a:gd name="connsiteX789" fmla="*/ 608431 w 4545947"/>
              <a:gd name="connsiteY789" fmla="*/ 3076110 h 4525940"/>
              <a:gd name="connsiteX790" fmla="*/ 299116 w 4545947"/>
              <a:gd name="connsiteY790" fmla="*/ 2844933 h 4525940"/>
              <a:gd name="connsiteX791" fmla="*/ 305415 w 4545947"/>
              <a:gd name="connsiteY791" fmla="*/ 2859317 h 4525940"/>
              <a:gd name="connsiteX792" fmla="*/ 312354 w 4545947"/>
              <a:gd name="connsiteY792" fmla="*/ 2885111 h 4525940"/>
              <a:gd name="connsiteX793" fmla="*/ 314006 w 4545947"/>
              <a:gd name="connsiteY793" fmla="*/ 2908678 h 4525940"/>
              <a:gd name="connsiteX794" fmla="*/ 303161 w 4545947"/>
              <a:gd name="connsiteY794" fmla="*/ 2917902 h 4525940"/>
              <a:gd name="connsiteX795" fmla="*/ 295229 w 4545947"/>
              <a:gd name="connsiteY795" fmla="*/ 2926867 h 4525940"/>
              <a:gd name="connsiteX796" fmla="*/ 301032 w 4545947"/>
              <a:gd name="connsiteY796" fmla="*/ 3016030 h 4525940"/>
              <a:gd name="connsiteX797" fmla="*/ 307082 w 4545947"/>
              <a:gd name="connsiteY797" fmla="*/ 3039770 h 4525940"/>
              <a:gd name="connsiteX798" fmla="*/ 314244 w 4545947"/>
              <a:gd name="connsiteY798" fmla="*/ 3057181 h 4525940"/>
              <a:gd name="connsiteX799" fmla="*/ 311975 w 4545947"/>
              <a:gd name="connsiteY799" fmla="*/ 3120489 h 4525940"/>
              <a:gd name="connsiteX800" fmla="*/ 314431 w 4545947"/>
              <a:gd name="connsiteY800" fmla="*/ 3160411 h 4525940"/>
              <a:gd name="connsiteX801" fmla="*/ 322659 w 4545947"/>
              <a:gd name="connsiteY801" fmla="*/ 3172228 h 4525940"/>
              <a:gd name="connsiteX802" fmla="*/ 333101 w 4545947"/>
              <a:gd name="connsiteY802" fmla="*/ 3196459 h 4525940"/>
              <a:gd name="connsiteX803" fmla="*/ 351673 w 4545947"/>
              <a:gd name="connsiteY803" fmla="*/ 3244221 h 4525940"/>
              <a:gd name="connsiteX804" fmla="*/ 357674 w 4545947"/>
              <a:gd name="connsiteY804" fmla="*/ 3270391 h 4525940"/>
              <a:gd name="connsiteX805" fmla="*/ 360077 w 4545947"/>
              <a:gd name="connsiteY805" fmla="*/ 3300043 h 4525940"/>
              <a:gd name="connsiteX806" fmla="*/ 362263 w 4545947"/>
              <a:gd name="connsiteY806" fmla="*/ 3345235 h 4525940"/>
              <a:gd name="connsiteX807" fmla="*/ 371009 w 4545947"/>
              <a:gd name="connsiteY807" fmla="*/ 3371539 h 4525940"/>
              <a:gd name="connsiteX808" fmla="*/ 359940 w 4545947"/>
              <a:gd name="connsiteY808" fmla="*/ 3386385 h 4525940"/>
              <a:gd name="connsiteX809" fmla="*/ 348358 w 4545947"/>
              <a:gd name="connsiteY809" fmla="*/ 3410274 h 4525940"/>
              <a:gd name="connsiteX810" fmla="*/ 353518 w 4545947"/>
              <a:gd name="connsiteY810" fmla="*/ 3431779 h 4525940"/>
              <a:gd name="connsiteX811" fmla="*/ 366316 w 4545947"/>
              <a:gd name="connsiteY811" fmla="*/ 3457788 h 4525940"/>
              <a:gd name="connsiteX812" fmla="*/ 388501 w 4545947"/>
              <a:gd name="connsiteY812" fmla="*/ 3503581 h 4525940"/>
              <a:gd name="connsiteX813" fmla="*/ 397247 w 4545947"/>
              <a:gd name="connsiteY813" fmla="*/ 3519333 h 4525940"/>
              <a:gd name="connsiteX814" fmla="*/ 405993 w 4545947"/>
              <a:gd name="connsiteY814" fmla="*/ 3538971 h 4525940"/>
              <a:gd name="connsiteX815" fmla="*/ 416925 w 4545947"/>
              <a:gd name="connsiteY815" fmla="*/ 3572583 h 4525940"/>
              <a:gd name="connsiteX816" fmla="*/ 400289 w 4545947"/>
              <a:gd name="connsiteY816" fmla="*/ 3581960 h 4525940"/>
              <a:gd name="connsiteX817" fmla="*/ 374258 w 4545947"/>
              <a:gd name="connsiteY817" fmla="*/ 3529946 h 4525940"/>
              <a:gd name="connsiteX818" fmla="*/ 357004 w 4545947"/>
              <a:gd name="connsiteY818" fmla="*/ 3495233 h 4525940"/>
              <a:gd name="connsiteX819" fmla="*/ 349145 w 4545947"/>
              <a:gd name="connsiteY819" fmla="*/ 3472244 h 4525940"/>
              <a:gd name="connsiteX820" fmla="*/ 333840 w 4545947"/>
              <a:gd name="connsiteY820" fmla="*/ 3440626 h 4525940"/>
              <a:gd name="connsiteX821" fmla="*/ 318534 w 4545947"/>
              <a:gd name="connsiteY821" fmla="*/ 3411084 h 4525940"/>
              <a:gd name="connsiteX822" fmla="*/ 307602 w 4545947"/>
              <a:gd name="connsiteY822" fmla="*/ 3383774 h 4525940"/>
              <a:gd name="connsiteX823" fmla="*/ 296670 w 4545947"/>
              <a:gd name="connsiteY823" fmla="*/ 3361833 h 4525940"/>
              <a:gd name="connsiteX824" fmla="*/ 291204 w 4545947"/>
              <a:gd name="connsiteY824" fmla="*/ 3341156 h 4525940"/>
              <a:gd name="connsiteX825" fmla="*/ 291204 w 4545947"/>
              <a:gd name="connsiteY825" fmla="*/ 3324887 h 4525940"/>
              <a:gd name="connsiteX826" fmla="*/ 292297 w 4545947"/>
              <a:gd name="connsiteY826" fmla="*/ 3288257 h 4525940"/>
              <a:gd name="connsiteX827" fmla="*/ 287924 w 4545947"/>
              <a:gd name="connsiteY827" fmla="*/ 3268298 h 4525940"/>
              <a:gd name="connsiteX828" fmla="*/ 279316 w 4545947"/>
              <a:gd name="connsiteY828" fmla="*/ 3248993 h 4525940"/>
              <a:gd name="connsiteX829" fmla="*/ 271663 w 4545947"/>
              <a:gd name="connsiteY829" fmla="*/ 3209582 h 4525940"/>
              <a:gd name="connsiteX830" fmla="*/ 255824 w 4545947"/>
              <a:gd name="connsiteY830" fmla="*/ 3151135 h 4525940"/>
              <a:gd name="connsiteX831" fmla="*/ 240519 w 4545947"/>
              <a:gd name="connsiteY831" fmla="*/ 3114065 h 4525940"/>
              <a:gd name="connsiteX832" fmla="*/ 275363 w 4545947"/>
              <a:gd name="connsiteY832" fmla="*/ 3076636 h 4525940"/>
              <a:gd name="connsiteX833" fmla="*/ 287016 w 4545947"/>
              <a:gd name="connsiteY833" fmla="*/ 3068260 h 4525940"/>
              <a:gd name="connsiteX834" fmla="*/ 271736 w 4545947"/>
              <a:gd name="connsiteY834" fmla="*/ 3019134 h 4525940"/>
              <a:gd name="connsiteX835" fmla="*/ 248567 w 4545947"/>
              <a:gd name="connsiteY835" fmla="*/ 2993872 h 4525940"/>
              <a:gd name="connsiteX836" fmla="*/ 219553 w 4545947"/>
              <a:gd name="connsiteY836" fmla="*/ 2968611 h 4525940"/>
              <a:gd name="connsiteX837" fmla="*/ 198550 w 4545947"/>
              <a:gd name="connsiteY837" fmla="*/ 2952433 h 4525940"/>
              <a:gd name="connsiteX838" fmla="*/ 209422 w 4545947"/>
              <a:gd name="connsiteY838" fmla="*/ 2911571 h 4525940"/>
              <a:gd name="connsiteX839" fmla="*/ 225158 w 4545947"/>
              <a:gd name="connsiteY839" fmla="*/ 2894161 h 4525940"/>
              <a:gd name="connsiteX840" fmla="*/ 245762 w 4545947"/>
              <a:gd name="connsiteY840" fmla="*/ 2861125 h 4525940"/>
              <a:gd name="connsiteX841" fmla="*/ 247013 w 4545947"/>
              <a:gd name="connsiteY841" fmla="*/ 2875360 h 4525940"/>
              <a:gd name="connsiteX842" fmla="*/ 275118 w 4545947"/>
              <a:gd name="connsiteY842" fmla="*/ 2914326 h 4525940"/>
              <a:gd name="connsiteX843" fmla="*/ 276532 w 4545947"/>
              <a:gd name="connsiteY843" fmla="*/ 2870294 h 4525940"/>
              <a:gd name="connsiteX844" fmla="*/ 281659 w 4545947"/>
              <a:gd name="connsiteY844" fmla="*/ 2848100 h 4525940"/>
              <a:gd name="connsiteX845" fmla="*/ 299116 w 4545947"/>
              <a:gd name="connsiteY845" fmla="*/ 2844933 h 4525940"/>
              <a:gd name="connsiteX846" fmla="*/ 4347140 w 4545947"/>
              <a:gd name="connsiteY846" fmla="*/ 2808314 h 4525940"/>
              <a:gd name="connsiteX847" fmla="*/ 4335975 w 4545947"/>
              <a:gd name="connsiteY847" fmla="*/ 2820272 h 4525940"/>
              <a:gd name="connsiteX848" fmla="*/ 4313472 w 4545947"/>
              <a:gd name="connsiteY848" fmla="*/ 2830622 h 4525940"/>
              <a:gd name="connsiteX849" fmla="*/ 4287024 w 4545947"/>
              <a:gd name="connsiteY849" fmla="*/ 2841656 h 4525940"/>
              <a:gd name="connsiteX850" fmla="*/ 4290942 w 4545947"/>
              <a:gd name="connsiteY850" fmla="*/ 2866625 h 4525940"/>
              <a:gd name="connsiteX851" fmla="*/ 4293523 w 4545947"/>
              <a:gd name="connsiteY851" fmla="*/ 2892578 h 4525940"/>
              <a:gd name="connsiteX852" fmla="*/ 4298383 w 4545947"/>
              <a:gd name="connsiteY852" fmla="*/ 2914961 h 4525940"/>
              <a:gd name="connsiteX853" fmla="*/ 4316481 w 4545947"/>
              <a:gd name="connsiteY853" fmla="*/ 2894457 h 4525940"/>
              <a:gd name="connsiteX854" fmla="*/ 4322232 w 4545947"/>
              <a:gd name="connsiteY854" fmla="*/ 2867098 h 4525940"/>
              <a:gd name="connsiteX855" fmla="*/ 4344228 w 4545947"/>
              <a:gd name="connsiteY855" fmla="*/ 2883547 h 4525940"/>
              <a:gd name="connsiteX856" fmla="*/ 4341331 w 4545947"/>
              <a:gd name="connsiteY856" fmla="*/ 2930563 h 4525940"/>
              <a:gd name="connsiteX857" fmla="*/ 4341235 w 4545947"/>
              <a:gd name="connsiteY857" fmla="*/ 2950611 h 4525940"/>
              <a:gd name="connsiteX858" fmla="*/ 4346422 w 4545947"/>
              <a:gd name="connsiteY858" fmla="*/ 2978045 h 4525940"/>
              <a:gd name="connsiteX859" fmla="*/ 4351599 w 4545947"/>
              <a:gd name="connsiteY859" fmla="*/ 3011069 h 4525940"/>
              <a:gd name="connsiteX860" fmla="*/ 4353681 w 4545947"/>
              <a:gd name="connsiteY860" fmla="*/ 3026896 h 4525940"/>
              <a:gd name="connsiteX861" fmla="*/ 4358733 w 4545947"/>
              <a:gd name="connsiteY861" fmla="*/ 3042735 h 4525940"/>
              <a:gd name="connsiteX862" fmla="*/ 4374735 w 4545947"/>
              <a:gd name="connsiteY862" fmla="*/ 3041806 h 4525940"/>
              <a:gd name="connsiteX863" fmla="*/ 4376609 w 4545947"/>
              <a:gd name="connsiteY863" fmla="*/ 3009699 h 4525940"/>
              <a:gd name="connsiteX864" fmla="*/ 4372236 w 4545947"/>
              <a:gd name="connsiteY864" fmla="*/ 2977671 h 4525940"/>
              <a:gd name="connsiteX865" fmla="*/ 4376609 w 4545947"/>
              <a:gd name="connsiteY865" fmla="*/ 2949556 h 4525940"/>
              <a:gd name="connsiteX866" fmla="*/ 4375625 w 4545947"/>
              <a:gd name="connsiteY866" fmla="*/ 2919010 h 4525940"/>
              <a:gd name="connsiteX867" fmla="*/ 4374793 w 4545947"/>
              <a:gd name="connsiteY867" fmla="*/ 2900334 h 4525940"/>
              <a:gd name="connsiteX868" fmla="*/ 4376745 w 4545947"/>
              <a:gd name="connsiteY868" fmla="*/ 2841931 h 4525940"/>
              <a:gd name="connsiteX869" fmla="*/ 4372236 w 4545947"/>
              <a:gd name="connsiteY869" fmla="*/ 2835149 h 4525940"/>
              <a:gd name="connsiteX870" fmla="*/ 4347140 w 4545947"/>
              <a:gd name="connsiteY870" fmla="*/ 2808314 h 4525940"/>
              <a:gd name="connsiteX871" fmla="*/ 185194 w 4545947"/>
              <a:gd name="connsiteY871" fmla="*/ 2800466 h 4525940"/>
              <a:gd name="connsiteX872" fmla="*/ 202843 w 4545947"/>
              <a:gd name="connsiteY872" fmla="*/ 2804051 h 4525940"/>
              <a:gd name="connsiteX873" fmla="*/ 209063 w 4545947"/>
              <a:gd name="connsiteY873" fmla="*/ 2816874 h 4525940"/>
              <a:gd name="connsiteX874" fmla="*/ 178601 w 4545947"/>
              <a:gd name="connsiteY874" fmla="*/ 2813244 h 4525940"/>
              <a:gd name="connsiteX875" fmla="*/ 185194 w 4545947"/>
              <a:gd name="connsiteY875" fmla="*/ 2800466 h 4525940"/>
              <a:gd name="connsiteX876" fmla="*/ 222256 w 4545947"/>
              <a:gd name="connsiteY876" fmla="*/ 2788186 h 4525940"/>
              <a:gd name="connsiteX877" fmla="*/ 241934 w 4545947"/>
              <a:gd name="connsiteY877" fmla="*/ 2788517 h 4525940"/>
              <a:gd name="connsiteX878" fmla="*/ 257313 w 4545947"/>
              <a:gd name="connsiteY878" fmla="*/ 2810982 h 4525940"/>
              <a:gd name="connsiteX879" fmla="*/ 249103 w 4545947"/>
              <a:gd name="connsiteY879" fmla="*/ 2829270 h 4525940"/>
              <a:gd name="connsiteX880" fmla="*/ 235449 w 4545947"/>
              <a:gd name="connsiteY880" fmla="*/ 2819774 h 4525940"/>
              <a:gd name="connsiteX881" fmla="*/ 223981 w 4545947"/>
              <a:gd name="connsiteY881" fmla="*/ 2810277 h 4525940"/>
              <a:gd name="connsiteX882" fmla="*/ 222256 w 4545947"/>
              <a:gd name="connsiteY882" fmla="*/ 2788186 h 4525940"/>
              <a:gd name="connsiteX883" fmla="*/ 4412081 w 4545947"/>
              <a:gd name="connsiteY883" fmla="*/ 2689991 h 4525940"/>
              <a:gd name="connsiteX884" fmla="*/ 4428685 w 4545947"/>
              <a:gd name="connsiteY884" fmla="*/ 2766566 h 4525940"/>
              <a:gd name="connsiteX885" fmla="*/ 4416240 w 4545947"/>
              <a:gd name="connsiteY885" fmla="*/ 2811021 h 4525940"/>
              <a:gd name="connsiteX886" fmla="*/ 4408816 w 4545947"/>
              <a:gd name="connsiteY886" fmla="*/ 2744370 h 4525940"/>
              <a:gd name="connsiteX887" fmla="*/ 4412081 w 4545947"/>
              <a:gd name="connsiteY887" fmla="*/ 2689991 h 4525940"/>
              <a:gd name="connsiteX888" fmla="*/ 127218 w 4545947"/>
              <a:gd name="connsiteY888" fmla="*/ 2621494 h 4525940"/>
              <a:gd name="connsiteX889" fmla="*/ 122846 w 4545947"/>
              <a:gd name="connsiteY889" fmla="*/ 2670901 h 4525940"/>
              <a:gd name="connsiteX890" fmla="*/ 117380 w 4545947"/>
              <a:gd name="connsiteY890" fmla="*/ 2645235 h 4525940"/>
              <a:gd name="connsiteX891" fmla="*/ 127218 w 4545947"/>
              <a:gd name="connsiteY891" fmla="*/ 2621494 h 4525940"/>
              <a:gd name="connsiteX892" fmla="*/ 202062 w 4545947"/>
              <a:gd name="connsiteY892" fmla="*/ 2494799 h 4525940"/>
              <a:gd name="connsiteX893" fmla="*/ 208469 w 4545947"/>
              <a:gd name="connsiteY893" fmla="*/ 2507415 h 4525940"/>
              <a:gd name="connsiteX894" fmla="*/ 216859 w 4545947"/>
              <a:gd name="connsiteY894" fmla="*/ 2533762 h 4525940"/>
              <a:gd name="connsiteX895" fmla="*/ 226703 w 4545947"/>
              <a:gd name="connsiteY895" fmla="*/ 2556236 h 4525940"/>
              <a:gd name="connsiteX896" fmla="*/ 231595 w 4545947"/>
              <a:gd name="connsiteY896" fmla="*/ 2574254 h 4525940"/>
              <a:gd name="connsiteX897" fmla="*/ 227222 w 4545947"/>
              <a:gd name="connsiteY897" fmla="*/ 2624068 h 4525940"/>
              <a:gd name="connsiteX898" fmla="*/ 224867 w 4545947"/>
              <a:gd name="connsiteY898" fmla="*/ 2696743 h 4525940"/>
              <a:gd name="connsiteX899" fmla="*/ 244545 w 4545947"/>
              <a:gd name="connsiteY899" fmla="*/ 2698068 h 4525940"/>
              <a:gd name="connsiteX900" fmla="*/ 257313 w 4545947"/>
              <a:gd name="connsiteY900" fmla="*/ 2706368 h 4525940"/>
              <a:gd name="connsiteX901" fmla="*/ 242983 w 4545947"/>
              <a:gd name="connsiteY901" fmla="*/ 2721645 h 4525940"/>
              <a:gd name="connsiteX902" fmla="*/ 214289 w 4545947"/>
              <a:gd name="connsiteY902" fmla="*/ 2740638 h 4525940"/>
              <a:gd name="connsiteX903" fmla="*/ 187346 w 4545947"/>
              <a:gd name="connsiteY903" fmla="*/ 2731669 h 4525940"/>
              <a:gd name="connsiteX904" fmla="*/ 182313 w 4545947"/>
              <a:gd name="connsiteY904" fmla="*/ 2701279 h 4525940"/>
              <a:gd name="connsiteX905" fmla="*/ 175205 w 4545947"/>
              <a:gd name="connsiteY905" fmla="*/ 2662649 h 4525940"/>
              <a:gd name="connsiteX906" fmla="*/ 169307 w 4545947"/>
              <a:gd name="connsiteY906" fmla="*/ 2623027 h 4525940"/>
              <a:gd name="connsiteX907" fmla="*/ 165482 w 4545947"/>
              <a:gd name="connsiteY907" fmla="*/ 2600985 h 4525940"/>
              <a:gd name="connsiteX908" fmla="*/ 176156 w 4545947"/>
              <a:gd name="connsiteY908" fmla="*/ 2582366 h 4525940"/>
              <a:gd name="connsiteX909" fmla="*/ 193816 w 4545947"/>
              <a:gd name="connsiteY909" fmla="*/ 2531949 h 4525940"/>
              <a:gd name="connsiteX910" fmla="*/ 202062 w 4545947"/>
              <a:gd name="connsiteY910" fmla="*/ 2494799 h 4525940"/>
              <a:gd name="connsiteX911" fmla="*/ 154003 w 4545947"/>
              <a:gd name="connsiteY911" fmla="*/ 2487403 h 4525940"/>
              <a:gd name="connsiteX912" fmla="*/ 165482 w 4545947"/>
              <a:gd name="connsiteY912" fmla="*/ 2545173 h 4525940"/>
              <a:gd name="connsiteX913" fmla="*/ 140337 w 4545947"/>
              <a:gd name="connsiteY913" fmla="*/ 2556845 h 4525940"/>
              <a:gd name="connsiteX914" fmla="*/ 139428 w 4545947"/>
              <a:gd name="connsiteY914" fmla="*/ 2529713 h 4525940"/>
              <a:gd name="connsiteX915" fmla="*/ 147656 w 4545947"/>
              <a:gd name="connsiteY915" fmla="*/ 2515110 h 4525940"/>
              <a:gd name="connsiteX916" fmla="*/ 154003 w 4545947"/>
              <a:gd name="connsiteY916" fmla="*/ 2487403 h 4525940"/>
              <a:gd name="connsiteX917" fmla="*/ 4489212 w 4545947"/>
              <a:gd name="connsiteY917" fmla="*/ 2459669 h 4525940"/>
              <a:gd name="connsiteX918" fmla="*/ 4507796 w 4545947"/>
              <a:gd name="connsiteY918" fmla="*/ 2490415 h 4525940"/>
              <a:gd name="connsiteX919" fmla="*/ 4512956 w 4545947"/>
              <a:gd name="connsiteY919" fmla="*/ 2514162 h 4525940"/>
              <a:gd name="connsiteX920" fmla="*/ 4514448 w 4545947"/>
              <a:gd name="connsiteY920" fmla="*/ 2528934 h 4525940"/>
              <a:gd name="connsiteX921" fmla="*/ 4511569 w 4545947"/>
              <a:gd name="connsiteY921" fmla="*/ 2546369 h 4525940"/>
              <a:gd name="connsiteX922" fmla="*/ 4507545 w 4545947"/>
              <a:gd name="connsiteY922" fmla="*/ 2577386 h 4525940"/>
              <a:gd name="connsiteX923" fmla="*/ 4513150 w 4545947"/>
              <a:gd name="connsiteY923" fmla="*/ 2616549 h 4525940"/>
              <a:gd name="connsiteX924" fmla="*/ 4531819 w 4545947"/>
              <a:gd name="connsiteY924" fmla="*/ 2636631 h 4525940"/>
              <a:gd name="connsiteX925" fmla="*/ 4544130 w 4545947"/>
              <a:gd name="connsiteY925" fmla="*/ 2661031 h 4525940"/>
              <a:gd name="connsiteX926" fmla="*/ 4539364 w 4545947"/>
              <a:gd name="connsiteY926" fmla="*/ 2691419 h 4525940"/>
              <a:gd name="connsiteX927" fmla="*/ 4520915 w 4545947"/>
              <a:gd name="connsiteY927" fmla="*/ 2683088 h 4525940"/>
              <a:gd name="connsiteX928" fmla="*/ 4514355 w 4545947"/>
              <a:gd name="connsiteY928" fmla="*/ 2666957 h 4525940"/>
              <a:gd name="connsiteX929" fmla="*/ 4507796 w 4545947"/>
              <a:gd name="connsiteY929" fmla="*/ 2648681 h 4525940"/>
              <a:gd name="connsiteX930" fmla="*/ 4476606 w 4545947"/>
              <a:gd name="connsiteY930" fmla="*/ 2627651 h 4525940"/>
              <a:gd name="connsiteX931" fmla="*/ 4472248 w 4545947"/>
              <a:gd name="connsiteY931" fmla="*/ 2654666 h 4525940"/>
              <a:gd name="connsiteX932" fmla="*/ 4478572 w 4545947"/>
              <a:gd name="connsiteY932" fmla="*/ 2676289 h 4525940"/>
              <a:gd name="connsiteX933" fmla="*/ 4516779 w 4545947"/>
              <a:gd name="connsiteY933" fmla="*/ 2707060 h 4525940"/>
              <a:gd name="connsiteX934" fmla="*/ 4523632 w 4545947"/>
              <a:gd name="connsiteY934" fmla="*/ 2733459 h 4525940"/>
              <a:gd name="connsiteX935" fmla="*/ 4516542 w 4545947"/>
              <a:gd name="connsiteY935" fmla="*/ 2777165 h 4525940"/>
              <a:gd name="connsiteX936" fmla="*/ 4500806 w 4545947"/>
              <a:gd name="connsiteY936" fmla="*/ 2805311 h 4525940"/>
              <a:gd name="connsiteX937" fmla="*/ 4500806 w 4545947"/>
              <a:gd name="connsiteY937" fmla="*/ 2805310 h 4525940"/>
              <a:gd name="connsiteX938" fmla="*/ 4487024 w 4545947"/>
              <a:gd name="connsiteY938" fmla="*/ 2793817 h 4525940"/>
              <a:gd name="connsiteX939" fmla="*/ 4475000 w 4545947"/>
              <a:gd name="connsiteY939" fmla="*/ 2792234 h 4525940"/>
              <a:gd name="connsiteX940" fmla="*/ 4468440 w 4545947"/>
              <a:gd name="connsiteY940" fmla="*/ 2775457 h 4525940"/>
              <a:gd name="connsiteX941" fmla="*/ 4464067 w 4545947"/>
              <a:gd name="connsiteY941" fmla="*/ 2759630 h 4525940"/>
              <a:gd name="connsiteX942" fmla="*/ 4459694 w 4545947"/>
              <a:gd name="connsiteY942" fmla="*/ 2747342 h 4525940"/>
              <a:gd name="connsiteX943" fmla="*/ 4464067 w 4545947"/>
              <a:gd name="connsiteY943" fmla="*/ 2731141 h 4525940"/>
              <a:gd name="connsiteX944" fmla="*/ 4463558 w 4545947"/>
              <a:gd name="connsiteY944" fmla="*/ 2689991 h 4525940"/>
              <a:gd name="connsiteX945" fmla="*/ 4460961 w 4545947"/>
              <a:gd name="connsiteY945" fmla="*/ 2677329 h 4525940"/>
              <a:gd name="connsiteX946" fmla="*/ 4459285 w 4545947"/>
              <a:gd name="connsiteY946" fmla="*/ 2664667 h 4525940"/>
              <a:gd name="connsiteX947" fmla="*/ 4455321 w 4545947"/>
              <a:gd name="connsiteY947" fmla="*/ 2629110 h 4525940"/>
              <a:gd name="connsiteX948" fmla="*/ 4464775 w 4545947"/>
              <a:gd name="connsiteY948" fmla="*/ 2597130 h 4525940"/>
              <a:gd name="connsiteX949" fmla="*/ 4484058 w 4545947"/>
              <a:gd name="connsiteY949" fmla="*/ 2553425 h 4525940"/>
              <a:gd name="connsiteX950" fmla="*/ 4463930 w 4545947"/>
              <a:gd name="connsiteY950" fmla="*/ 2554058 h 4525940"/>
              <a:gd name="connsiteX951" fmla="*/ 4417058 w 4545947"/>
              <a:gd name="connsiteY951" fmla="*/ 2525589 h 4525940"/>
              <a:gd name="connsiteX952" fmla="*/ 4398473 w 4545947"/>
              <a:gd name="connsiteY952" fmla="*/ 2483464 h 4525940"/>
              <a:gd name="connsiteX953" fmla="*/ 4413779 w 4545947"/>
              <a:gd name="connsiteY953" fmla="*/ 2471995 h 4525940"/>
              <a:gd name="connsiteX954" fmla="*/ 4429084 w 4545947"/>
              <a:gd name="connsiteY954" fmla="*/ 2469116 h 4525940"/>
              <a:gd name="connsiteX955" fmla="*/ 4451173 w 4545947"/>
              <a:gd name="connsiteY955" fmla="*/ 2475117 h 4525940"/>
              <a:gd name="connsiteX956" fmla="*/ 4468085 w 4545947"/>
              <a:gd name="connsiteY956" fmla="*/ 2479925 h 4525940"/>
              <a:gd name="connsiteX957" fmla="*/ 4477186 w 4545947"/>
              <a:gd name="connsiteY957" fmla="*/ 2463602 h 4525940"/>
              <a:gd name="connsiteX958" fmla="*/ 4489212 w 4545947"/>
              <a:gd name="connsiteY958" fmla="*/ 2459669 h 4525940"/>
              <a:gd name="connsiteX959" fmla="*/ 7746 w 4545947"/>
              <a:gd name="connsiteY959" fmla="*/ 2436756 h 4525940"/>
              <a:gd name="connsiteX960" fmla="*/ 15909 w 4545947"/>
              <a:gd name="connsiteY960" fmla="*/ 2478985 h 4525940"/>
              <a:gd name="connsiteX961" fmla="*/ 9149 w 4545947"/>
              <a:gd name="connsiteY961" fmla="*/ 2523829 h 4525940"/>
              <a:gd name="connsiteX962" fmla="*/ 3624 w 4545947"/>
              <a:gd name="connsiteY962" fmla="*/ 2495844 h 4525940"/>
              <a:gd name="connsiteX963" fmla="*/ 927 w 4545947"/>
              <a:gd name="connsiteY963" fmla="*/ 2451001 h 4525940"/>
              <a:gd name="connsiteX964" fmla="*/ 7746 w 4545947"/>
              <a:gd name="connsiteY964" fmla="*/ 2436756 h 4525940"/>
              <a:gd name="connsiteX965" fmla="*/ 4451449 w 4545947"/>
              <a:gd name="connsiteY965" fmla="*/ 2180169 h 4525940"/>
              <a:gd name="connsiteX966" fmla="*/ 4461168 w 4545947"/>
              <a:gd name="connsiteY966" fmla="*/ 2183599 h 4525940"/>
              <a:gd name="connsiteX967" fmla="*/ 4460788 w 4545947"/>
              <a:gd name="connsiteY967" fmla="*/ 2194337 h 4525940"/>
              <a:gd name="connsiteX968" fmla="*/ 4455322 w 4545947"/>
              <a:gd name="connsiteY968" fmla="*/ 2218869 h 4525940"/>
              <a:gd name="connsiteX969" fmla="*/ 4450949 w 4545947"/>
              <a:gd name="connsiteY969" fmla="*/ 2240500 h 4525940"/>
              <a:gd name="connsiteX970" fmla="*/ 4453135 w 4545947"/>
              <a:gd name="connsiteY970" fmla="*/ 2272154 h 4525940"/>
              <a:gd name="connsiteX971" fmla="*/ 4452776 w 4545947"/>
              <a:gd name="connsiteY971" fmla="*/ 2299966 h 4525940"/>
              <a:gd name="connsiteX972" fmla="*/ 4445124 w 4545947"/>
              <a:gd name="connsiteY972" fmla="*/ 2303309 h 4525940"/>
              <a:gd name="connsiteX973" fmla="*/ 4438922 w 4545947"/>
              <a:gd name="connsiteY973" fmla="*/ 2299616 h 4525940"/>
              <a:gd name="connsiteX974" fmla="*/ 4438923 w 4545947"/>
              <a:gd name="connsiteY974" fmla="*/ 2299616 h 4525940"/>
              <a:gd name="connsiteX975" fmla="*/ 4438704 w 4545947"/>
              <a:gd name="connsiteY975" fmla="*/ 2248097 h 4525940"/>
              <a:gd name="connsiteX976" fmla="*/ 4438704 w 4545947"/>
              <a:gd name="connsiteY976" fmla="*/ 2240500 h 4525940"/>
              <a:gd name="connsiteX977" fmla="*/ 4433457 w 4545947"/>
              <a:gd name="connsiteY977" fmla="*/ 2227838 h 4525940"/>
              <a:gd name="connsiteX978" fmla="*/ 4437830 w 4545947"/>
              <a:gd name="connsiteY978" fmla="*/ 2215176 h 4525940"/>
              <a:gd name="connsiteX979" fmla="*/ 4442203 w 4545947"/>
              <a:gd name="connsiteY979" fmla="*/ 2205680 h 4525940"/>
              <a:gd name="connsiteX980" fmla="*/ 4446833 w 4545947"/>
              <a:gd name="connsiteY980" fmla="*/ 2196184 h 4525940"/>
              <a:gd name="connsiteX981" fmla="*/ 4448948 w 4545947"/>
              <a:gd name="connsiteY981" fmla="*/ 2190290 h 4525940"/>
              <a:gd name="connsiteX982" fmla="*/ 4451449 w 4545947"/>
              <a:gd name="connsiteY982" fmla="*/ 2180169 h 4525940"/>
              <a:gd name="connsiteX983" fmla="*/ 34606 w 4545947"/>
              <a:gd name="connsiteY983" fmla="*/ 2069567 h 4525940"/>
              <a:gd name="connsiteX984" fmla="*/ 53749 w 4545947"/>
              <a:gd name="connsiteY984" fmla="*/ 2077480 h 4525940"/>
              <a:gd name="connsiteX985" fmla="*/ 68742 w 4545947"/>
              <a:gd name="connsiteY985" fmla="*/ 2094705 h 4525940"/>
              <a:gd name="connsiteX986" fmla="*/ 78162 w 4545947"/>
              <a:gd name="connsiteY986" fmla="*/ 2113698 h 4525940"/>
              <a:gd name="connsiteX987" fmla="*/ 84722 w 4545947"/>
              <a:gd name="connsiteY987" fmla="*/ 2135668 h 4525940"/>
              <a:gd name="connsiteX988" fmla="*/ 91142 w 4545947"/>
              <a:gd name="connsiteY988" fmla="*/ 2159094 h 4525940"/>
              <a:gd name="connsiteX989" fmla="*/ 98649 w 4545947"/>
              <a:gd name="connsiteY989" fmla="*/ 2176313 h 4525940"/>
              <a:gd name="connsiteX990" fmla="*/ 100678 w 4545947"/>
              <a:gd name="connsiteY990" fmla="*/ 2197213 h 4525940"/>
              <a:gd name="connsiteX991" fmla="*/ 94264 w 4545947"/>
              <a:gd name="connsiteY991" fmla="*/ 2240455 h 4525940"/>
              <a:gd name="connsiteX992" fmla="*/ 103228 w 4545947"/>
              <a:gd name="connsiteY992" fmla="*/ 2275221 h 4525940"/>
              <a:gd name="connsiteX993" fmla="*/ 111157 w 4545947"/>
              <a:gd name="connsiteY993" fmla="*/ 2288996 h 4525940"/>
              <a:gd name="connsiteX994" fmla="*/ 115154 w 4545947"/>
              <a:gd name="connsiteY994" fmla="*/ 2299745 h 4525940"/>
              <a:gd name="connsiteX995" fmla="*/ 119839 w 4545947"/>
              <a:gd name="connsiteY995" fmla="*/ 2335089 h 4525940"/>
              <a:gd name="connsiteX996" fmla="*/ 121247 w 4545947"/>
              <a:gd name="connsiteY996" fmla="*/ 2367166 h 4525940"/>
              <a:gd name="connsiteX997" fmla="*/ 134871 w 4545947"/>
              <a:gd name="connsiteY997" fmla="*/ 2434853 h 4525940"/>
              <a:gd name="connsiteX998" fmla="*/ 105354 w 4545947"/>
              <a:gd name="connsiteY998" fmla="*/ 2463831 h 4525940"/>
              <a:gd name="connsiteX999" fmla="*/ 91142 w 4545947"/>
              <a:gd name="connsiteY999" fmla="*/ 2442687 h 4525940"/>
              <a:gd name="connsiteX1000" fmla="*/ 86424 w 4545947"/>
              <a:gd name="connsiteY1000" fmla="*/ 2424095 h 4525940"/>
              <a:gd name="connsiteX1001" fmla="*/ 83144 w 4545947"/>
              <a:gd name="connsiteY1001" fmla="*/ 2376598 h 4525940"/>
              <a:gd name="connsiteX1002" fmla="*/ 81303 w 4545947"/>
              <a:gd name="connsiteY1002" fmla="*/ 2329117 h 4525940"/>
              <a:gd name="connsiteX1003" fmla="*/ 78023 w 4545947"/>
              <a:gd name="connsiteY1003" fmla="*/ 2282860 h 4525940"/>
              <a:gd name="connsiteX1004" fmla="*/ 56084 w 4545947"/>
              <a:gd name="connsiteY1004" fmla="*/ 2206845 h 4525940"/>
              <a:gd name="connsiteX1005" fmla="*/ 43040 w 4545947"/>
              <a:gd name="connsiteY1005" fmla="*/ 2151714 h 4525940"/>
              <a:gd name="connsiteX1006" fmla="*/ 31014 w 4545947"/>
              <a:gd name="connsiteY1006" fmla="*/ 2102364 h 4525940"/>
              <a:gd name="connsiteX1007" fmla="*/ 21175 w 4545947"/>
              <a:gd name="connsiteY1007" fmla="*/ 2084954 h 4525940"/>
              <a:gd name="connsiteX1008" fmla="*/ 34606 w 4545947"/>
              <a:gd name="connsiteY1008" fmla="*/ 2069567 h 4525940"/>
              <a:gd name="connsiteX1009" fmla="*/ 4460614 w 4545947"/>
              <a:gd name="connsiteY1009" fmla="*/ 2037913 h 4525940"/>
              <a:gd name="connsiteX1010" fmla="*/ 4466134 w 4545947"/>
              <a:gd name="connsiteY1010" fmla="*/ 2064819 h 4525940"/>
              <a:gd name="connsiteX1011" fmla="*/ 4453412 w 4545947"/>
              <a:gd name="connsiteY1011" fmla="*/ 2101221 h 4525940"/>
              <a:gd name="connsiteX1012" fmla="*/ 4442203 w 4545947"/>
              <a:gd name="connsiteY1012" fmla="*/ 2110717 h 4525940"/>
              <a:gd name="connsiteX1013" fmla="*/ 4432921 w 4545947"/>
              <a:gd name="connsiteY1013" fmla="*/ 2120214 h 4525940"/>
              <a:gd name="connsiteX1014" fmla="*/ 4429084 w 4545947"/>
              <a:gd name="connsiteY1014" fmla="*/ 2110717 h 4525940"/>
              <a:gd name="connsiteX1015" fmla="*/ 4424711 w 4545947"/>
              <a:gd name="connsiteY1015" fmla="*/ 2101221 h 4525940"/>
              <a:gd name="connsiteX1016" fmla="*/ 4420338 w 4545947"/>
              <a:gd name="connsiteY1016" fmla="*/ 2092252 h 4525940"/>
              <a:gd name="connsiteX1017" fmla="*/ 4415178 w 4545947"/>
              <a:gd name="connsiteY1017" fmla="*/ 2080794 h 4525940"/>
              <a:gd name="connsiteX1018" fmla="*/ 4428412 w 4545947"/>
              <a:gd name="connsiteY1018" fmla="*/ 2056905 h 4525940"/>
              <a:gd name="connsiteX1019" fmla="*/ 4446576 w 4545947"/>
              <a:gd name="connsiteY1019" fmla="*/ 2047409 h 4525940"/>
              <a:gd name="connsiteX1020" fmla="*/ 4460614 w 4545947"/>
              <a:gd name="connsiteY1020" fmla="*/ 2037913 h 4525940"/>
              <a:gd name="connsiteX1021" fmla="*/ 103803 w 4545947"/>
              <a:gd name="connsiteY1021" fmla="*/ 1997172 h 4525940"/>
              <a:gd name="connsiteX1022" fmla="*/ 109790 w 4545947"/>
              <a:gd name="connsiteY1022" fmla="*/ 2015136 h 4525940"/>
              <a:gd name="connsiteX1023" fmla="*/ 99888 w 4545947"/>
              <a:gd name="connsiteY1023" fmla="*/ 2009798 h 4525940"/>
              <a:gd name="connsiteX1024" fmla="*/ 103803 w 4545947"/>
              <a:gd name="connsiteY1024" fmla="*/ 1997172 h 4525940"/>
              <a:gd name="connsiteX1025" fmla="*/ 4417411 w 4545947"/>
              <a:gd name="connsiteY1025" fmla="*/ 1842865 h 4525940"/>
              <a:gd name="connsiteX1026" fmla="*/ 4440321 w 4545947"/>
              <a:gd name="connsiteY1026" fmla="*/ 1848354 h 4525940"/>
              <a:gd name="connsiteX1027" fmla="*/ 4446576 w 4545947"/>
              <a:gd name="connsiteY1027" fmla="*/ 1896026 h 4525940"/>
              <a:gd name="connsiteX1028" fmla="*/ 4433604 w 4545947"/>
              <a:gd name="connsiteY1028" fmla="*/ 1955393 h 4525940"/>
              <a:gd name="connsiteX1029" fmla="*/ 4410134 w 4545947"/>
              <a:gd name="connsiteY1029" fmla="*/ 1970383 h 4525940"/>
              <a:gd name="connsiteX1030" fmla="*/ 4407219 w 4545947"/>
              <a:gd name="connsiteY1030" fmla="*/ 1948678 h 4525940"/>
              <a:gd name="connsiteX1031" fmla="*/ 4400659 w 4545947"/>
              <a:gd name="connsiteY1031" fmla="*/ 1921696 h 4525940"/>
              <a:gd name="connsiteX1032" fmla="*/ 4398473 w 4545947"/>
              <a:gd name="connsiteY1032" fmla="*/ 1860649 h 4525940"/>
              <a:gd name="connsiteX1033" fmla="*/ 4401754 w 4545947"/>
              <a:gd name="connsiteY1033" fmla="*/ 1852735 h 4525940"/>
              <a:gd name="connsiteX1034" fmla="*/ 4417411 w 4545947"/>
              <a:gd name="connsiteY1034" fmla="*/ 1842865 h 4525940"/>
              <a:gd name="connsiteX1035" fmla="*/ 4344905 w 4545947"/>
              <a:gd name="connsiteY1035" fmla="*/ 1614950 h 4525940"/>
              <a:gd name="connsiteX1036" fmla="*/ 4352557 w 4545947"/>
              <a:gd name="connsiteY1036" fmla="*/ 1626407 h 4525940"/>
              <a:gd name="connsiteX1037" fmla="*/ 4344905 w 4545947"/>
              <a:gd name="connsiteY1037" fmla="*/ 1637863 h 4525940"/>
              <a:gd name="connsiteX1038" fmla="*/ 4337253 w 4545947"/>
              <a:gd name="connsiteY1038" fmla="*/ 1626407 h 4525940"/>
              <a:gd name="connsiteX1039" fmla="*/ 4344905 w 4545947"/>
              <a:gd name="connsiteY1039" fmla="*/ 1614950 h 4525940"/>
              <a:gd name="connsiteX1040" fmla="*/ 4204363 w 4545947"/>
              <a:gd name="connsiteY1040" fmla="*/ 1582188 h 4525940"/>
              <a:gd name="connsiteX1041" fmla="*/ 4198605 w 4545947"/>
              <a:gd name="connsiteY1041" fmla="*/ 1612163 h 4525940"/>
              <a:gd name="connsiteX1042" fmla="*/ 4221888 w 4545947"/>
              <a:gd name="connsiteY1042" fmla="*/ 1704182 h 4525940"/>
              <a:gd name="connsiteX1043" fmla="*/ 4243234 w 4545947"/>
              <a:gd name="connsiteY1043" fmla="*/ 1696654 h 4525940"/>
              <a:gd name="connsiteX1044" fmla="*/ 4257843 w 4545947"/>
              <a:gd name="connsiteY1044" fmla="*/ 1674394 h 4525940"/>
              <a:gd name="connsiteX1045" fmla="*/ 4235464 w 4545947"/>
              <a:gd name="connsiteY1045" fmla="*/ 1634601 h 4525940"/>
              <a:gd name="connsiteX1046" fmla="*/ 4226892 w 4545947"/>
              <a:gd name="connsiteY1046" fmla="*/ 1613755 h 4525940"/>
              <a:gd name="connsiteX1047" fmla="*/ 4204363 w 4545947"/>
              <a:gd name="connsiteY1047" fmla="*/ 1582188 h 4525940"/>
              <a:gd name="connsiteX1048" fmla="*/ 4407219 w 4545947"/>
              <a:gd name="connsiteY1048" fmla="*/ 1487128 h 4525940"/>
              <a:gd name="connsiteX1049" fmla="*/ 4411592 w 4545947"/>
              <a:gd name="connsiteY1049" fmla="*/ 1496625 h 4525940"/>
              <a:gd name="connsiteX1050" fmla="*/ 4407219 w 4545947"/>
              <a:gd name="connsiteY1050" fmla="*/ 1506120 h 4525940"/>
              <a:gd name="connsiteX1051" fmla="*/ 4402846 w 4545947"/>
              <a:gd name="connsiteY1051" fmla="*/ 1496625 h 4525940"/>
              <a:gd name="connsiteX1052" fmla="*/ 4407219 w 4545947"/>
              <a:gd name="connsiteY1052" fmla="*/ 1487128 h 4525940"/>
              <a:gd name="connsiteX1053" fmla="*/ 4317718 w 4545947"/>
              <a:gd name="connsiteY1053" fmla="*/ 1474466 h 4525940"/>
              <a:gd name="connsiteX1054" fmla="*/ 4345998 w 4545947"/>
              <a:gd name="connsiteY1054" fmla="*/ 1518157 h 4525940"/>
              <a:gd name="connsiteX1055" fmla="*/ 4327663 w 4545947"/>
              <a:gd name="connsiteY1055" fmla="*/ 1517200 h 4525940"/>
              <a:gd name="connsiteX1056" fmla="*/ 4317718 w 4545947"/>
              <a:gd name="connsiteY1056" fmla="*/ 1474466 h 4525940"/>
              <a:gd name="connsiteX1057" fmla="*/ 4293987 w 4545947"/>
              <a:gd name="connsiteY1057" fmla="*/ 1306730 h 4525940"/>
              <a:gd name="connsiteX1058" fmla="*/ 4303395 w 4545947"/>
              <a:gd name="connsiteY1058" fmla="*/ 1311043 h 4525940"/>
              <a:gd name="connsiteX1059" fmla="*/ 4318980 w 4545947"/>
              <a:gd name="connsiteY1059" fmla="*/ 1376275 h 4525940"/>
              <a:gd name="connsiteX1060" fmla="*/ 4300491 w 4545947"/>
              <a:gd name="connsiteY1060" fmla="*/ 1383107 h 4525940"/>
              <a:gd name="connsiteX1061" fmla="*/ 4285001 w 4545947"/>
              <a:gd name="connsiteY1061" fmla="*/ 1360511 h 4525940"/>
              <a:gd name="connsiteX1062" fmla="*/ 4282590 w 4545947"/>
              <a:gd name="connsiteY1062" fmla="*/ 1335187 h 4525940"/>
              <a:gd name="connsiteX1063" fmla="*/ 4289150 w 4545947"/>
              <a:gd name="connsiteY1063" fmla="*/ 1318959 h 4525940"/>
              <a:gd name="connsiteX1064" fmla="*/ 4293987 w 4545947"/>
              <a:gd name="connsiteY1064" fmla="*/ 1306730 h 4525940"/>
              <a:gd name="connsiteX1065" fmla="*/ 4289150 w 4545947"/>
              <a:gd name="connsiteY1065" fmla="*/ 1180082 h 4525940"/>
              <a:gd name="connsiteX1066" fmla="*/ 4293523 w 4545947"/>
              <a:gd name="connsiteY1066" fmla="*/ 1186038 h 4525940"/>
              <a:gd name="connsiteX1067" fmla="*/ 4289150 w 4545947"/>
              <a:gd name="connsiteY1067" fmla="*/ 1195908 h 4525940"/>
              <a:gd name="connsiteX1068" fmla="*/ 4284778 w 4545947"/>
              <a:gd name="connsiteY1068" fmla="*/ 1189951 h 4525940"/>
              <a:gd name="connsiteX1069" fmla="*/ 4289150 w 4545947"/>
              <a:gd name="connsiteY1069" fmla="*/ 1180082 h 4525940"/>
              <a:gd name="connsiteX1070" fmla="*/ 4345236 w 4545947"/>
              <a:gd name="connsiteY1070" fmla="*/ 1176916 h 4525940"/>
              <a:gd name="connsiteX1071" fmla="*/ 4370740 w 4545947"/>
              <a:gd name="connsiteY1071" fmla="*/ 1217745 h 4525940"/>
              <a:gd name="connsiteX1072" fmla="*/ 4345998 w 4545947"/>
              <a:gd name="connsiteY1072" fmla="*/ 1218067 h 4525940"/>
              <a:gd name="connsiteX1073" fmla="*/ 4341625 w 4545947"/>
              <a:gd name="connsiteY1073" fmla="*/ 1208570 h 4525940"/>
              <a:gd name="connsiteX1074" fmla="*/ 4337253 w 4545947"/>
              <a:gd name="connsiteY1074" fmla="*/ 1192743 h 4525940"/>
              <a:gd name="connsiteX1075" fmla="*/ 4345236 w 4545947"/>
              <a:gd name="connsiteY1075" fmla="*/ 1176916 h 4525940"/>
              <a:gd name="connsiteX1076" fmla="*/ 4039894 w 4545947"/>
              <a:gd name="connsiteY1076" fmla="*/ 1107277 h 4525940"/>
              <a:gd name="connsiteX1077" fmla="*/ 4039019 w 4545947"/>
              <a:gd name="connsiteY1077" fmla="*/ 1162988 h 4525940"/>
              <a:gd name="connsiteX1078" fmla="*/ 4019800 w 4545947"/>
              <a:gd name="connsiteY1078" fmla="*/ 1156998 h 4525940"/>
              <a:gd name="connsiteX1079" fmla="*/ 4016936 w 4545947"/>
              <a:gd name="connsiteY1079" fmla="*/ 1140644 h 4525940"/>
              <a:gd name="connsiteX1080" fmla="*/ 4022402 w 4545947"/>
              <a:gd name="connsiteY1080" fmla="*/ 1128907 h 4525940"/>
              <a:gd name="connsiteX1081" fmla="*/ 4028961 w 4545947"/>
              <a:gd name="connsiteY1081" fmla="*/ 1119938 h 4525940"/>
              <a:gd name="connsiteX1082" fmla="*/ 4035521 w 4545947"/>
              <a:gd name="connsiteY1082" fmla="*/ 1113607 h 4525940"/>
              <a:gd name="connsiteX1083" fmla="*/ 4039894 w 4545947"/>
              <a:gd name="connsiteY1083" fmla="*/ 1107277 h 4525940"/>
              <a:gd name="connsiteX1084" fmla="*/ 4144916 w 4545947"/>
              <a:gd name="connsiteY1084" fmla="*/ 1053528 h 4525940"/>
              <a:gd name="connsiteX1085" fmla="*/ 4140471 w 4545947"/>
              <a:gd name="connsiteY1085" fmla="*/ 1069291 h 4525940"/>
              <a:gd name="connsiteX1086" fmla="*/ 4134098 w 4545947"/>
              <a:gd name="connsiteY1086" fmla="*/ 1063398 h 4525940"/>
              <a:gd name="connsiteX1087" fmla="*/ 4144916 w 4545947"/>
              <a:gd name="connsiteY1087" fmla="*/ 1053528 h 4525940"/>
              <a:gd name="connsiteX1088" fmla="*/ 3987419 w 4545947"/>
              <a:gd name="connsiteY1088" fmla="*/ 990156 h 4525940"/>
              <a:gd name="connsiteX1089" fmla="*/ 3983046 w 4545947"/>
              <a:gd name="connsiteY1089" fmla="*/ 992947 h 4525940"/>
              <a:gd name="connsiteX1090" fmla="*/ 3987419 w 4545947"/>
              <a:gd name="connsiteY1090" fmla="*/ 999652 h 4525940"/>
              <a:gd name="connsiteX1091" fmla="*/ 3991792 w 4545947"/>
              <a:gd name="connsiteY1091" fmla="*/ 996860 h 4525940"/>
              <a:gd name="connsiteX1092" fmla="*/ 3987419 w 4545947"/>
              <a:gd name="connsiteY1092" fmla="*/ 990156 h 4525940"/>
              <a:gd name="connsiteX1093" fmla="*/ 4173388 w 4545947"/>
              <a:gd name="connsiteY1093" fmla="*/ 892398 h 4525940"/>
              <a:gd name="connsiteX1094" fmla="*/ 4182372 w 4545947"/>
              <a:gd name="connsiteY1094" fmla="*/ 907667 h 4525940"/>
              <a:gd name="connsiteX1095" fmla="*/ 4178395 w 4545947"/>
              <a:gd name="connsiteY1095" fmla="*/ 932991 h 4525940"/>
              <a:gd name="connsiteX1096" fmla="*/ 4163952 w 4545947"/>
              <a:gd name="connsiteY1096" fmla="*/ 928430 h 4525940"/>
              <a:gd name="connsiteX1097" fmla="*/ 4166648 w 4545947"/>
              <a:gd name="connsiteY1097" fmla="*/ 903107 h 4525940"/>
              <a:gd name="connsiteX1098" fmla="*/ 4173388 w 4545947"/>
              <a:gd name="connsiteY1098" fmla="*/ 892398 h 4525940"/>
              <a:gd name="connsiteX1099" fmla="*/ 4006132 w 4545947"/>
              <a:gd name="connsiteY1099" fmla="*/ 869101 h 4525940"/>
              <a:gd name="connsiteX1100" fmla="*/ 4005256 w 4545947"/>
              <a:gd name="connsiteY1100" fmla="*/ 875673 h 4525940"/>
              <a:gd name="connsiteX1101" fmla="*/ 4007552 w 4545947"/>
              <a:gd name="connsiteY1101" fmla="*/ 883982 h 4525940"/>
              <a:gd name="connsiteX1102" fmla="*/ 4007897 w 4545947"/>
              <a:gd name="connsiteY1102" fmla="*/ 871848 h 4525940"/>
              <a:gd name="connsiteX1103" fmla="*/ 4007897 w 4545947"/>
              <a:gd name="connsiteY1103" fmla="*/ 871848 h 4525940"/>
              <a:gd name="connsiteX1104" fmla="*/ 4006132 w 4545947"/>
              <a:gd name="connsiteY1104" fmla="*/ 869101 h 4525940"/>
              <a:gd name="connsiteX1105" fmla="*/ 4268481 w 4545947"/>
              <a:gd name="connsiteY1105" fmla="*/ 836466 h 4525940"/>
              <a:gd name="connsiteX1106" fmla="*/ 4272461 w 4545947"/>
              <a:gd name="connsiteY1106" fmla="*/ 852405 h 4525940"/>
              <a:gd name="connsiteX1107" fmla="*/ 4298063 w 4545947"/>
              <a:gd name="connsiteY1107" fmla="*/ 860052 h 4525940"/>
              <a:gd name="connsiteX1108" fmla="*/ 4319761 w 4545947"/>
              <a:gd name="connsiteY1108" fmla="*/ 891455 h 4525940"/>
              <a:gd name="connsiteX1109" fmla="*/ 4315033 w 4545947"/>
              <a:gd name="connsiteY1109" fmla="*/ 933496 h 4525940"/>
              <a:gd name="connsiteX1110" fmla="*/ 4296867 w 4545947"/>
              <a:gd name="connsiteY1110" fmla="*/ 919625 h 4525940"/>
              <a:gd name="connsiteX1111" fmla="*/ 4286139 w 4545947"/>
              <a:gd name="connsiteY1111" fmla="*/ 912555 h 4525940"/>
              <a:gd name="connsiteX1112" fmla="*/ 4283218 w 4545947"/>
              <a:gd name="connsiteY1112" fmla="*/ 931206 h 4525940"/>
              <a:gd name="connsiteX1113" fmla="*/ 4284339 w 4545947"/>
              <a:gd name="connsiteY1113" fmla="*/ 950245 h 4525940"/>
              <a:gd name="connsiteX1114" fmla="*/ 4309434 w 4545947"/>
              <a:gd name="connsiteY1114" fmla="*/ 952171 h 4525940"/>
              <a:gd name="connsiteX1115" fmla="*/ 4324134 w 4545947"/>
              <a:gd name="connsiteY1115" fmla="*/ 948089 h 4525940"/>
              <a:gd name="connsiteX1116" fmla="*/ 4338345 w 4545947"/>
              <a:gd name="connsiteY1116" fmla="*/ 959380 h 4525940"/>
              <a:gd name="connsiteX1117" fmla="*/ 4353914 w 4545947"/>
              <a:gd name="connsiteY1117" fmla="*/ 978828 h 4525940"/>
              <a:gd name="connsiteX1118" fmla="*/ 4361566 w 4545947"/>
              <a:gd name="connsiteY1118" fmla="*/ 999968 h 4525940"/>
              <a:gd name="connsiteX1119" fmla="*/ 4367863 w 4545947"/>
              <a:gd name="connsiteY1119" fmla="*/ 1018968 h 4525940"/>
              <a:gd name="connsiteX1120" fmla="*/ 4374106 w 4545947"/>
              <a:gd name="connsiteY1120" fmla="*/ 1039440 h 4525940"/>
              <a:gd name="connsiteX1121" fmla="*/ 4381726 w 4545947"/>
              <a:gd name="connsiteY1121" fmla="*/ 1094615 h 4525940"/>
              <a:gd name="connsiteX1122" fmla="*/ 4374326 w 4545947"/>
              <a:gd name="connsiteY1122" fmla="*/ 1088058 h 4525940"/>
              <a:gd name="connsiteX1123" fmla="*/ 4355483 w 4545947"/>
              <a:gd name="connsiteY1123" fmla="*/ 1082503 h 4525940"/>
              <a:gd name="connsiteX1124" fmla="*/ 4304542 w 4545947"/>
              <a:gd name="connsiteY1124" fmla="*/ 1078559 h 4525940"/>
              <a:gd name="connsiteX1125" fmla="*/ 4277212 w 4545947"/>
              <a:gd name="connsiteY1125" fmla="*/ 1084565 h 4525940"/>
              <a:gd name="connsiteX1126" fmla="*/ 4284778 w 4545947"/>
              <a:gd name="connsiteY1126" fmla="*/ 1102482 h 4525940"/>
              <a:gd name="connsiteX1127" fmla="*/ 4292039 w 4545947"/>
              <a:gd name="connsiteY1127" fmla="*/ 1121061 h 4525940"/>
              <a:gd name="connsiteX1128" fmla="*/ 4280650 w 4545947"/>
              <a:gd name="connsiteY1128" fmla="*/ 1132702 h 4525940"/>
              <a:gd name="connsiteX1129" fmla="*/ 4258269 w 4545947"/>
              <a:gd name="connsiteY1129" fmla="*/ 1132810 h 4525940"/>
              <a:gd name="connsiteX1130" fmla="*/ 4239604 w 4545947"/>
              <a:gd name="connsiteY1130" fmla="*/ 1108859 h 4525940"/>
              <a:gd name="connsiteX1131" fmla="*/ 4238427 w 4545947"/>
              <a:gd name="connsiteY1131" fmla="*/ 1056630 h 4525940"/>
              <a:gd name="connsiteX1132" fmla="*/ 4236655 w 4545947"/>
              <a:gd name="connsiteY1132" fmla="*/ 986990 h 4525940"/>
              <a:gd name="connsiteX1133" fmla="*/ 4237269 w 4545947"/>
              <a:gd name="connsiteY1133" fmla="*/ 933495 h 4525940"/>
              <a:gd name="connsiteX1134" fmla="*/ 4241048 w 4545947"/>
              <a:gd name="connsiteY1134" fmla="*/ 916085 h 4525940"/>
              <a:gd name="connsiteX1135" fmla="*/ 4245421 w 4545947"/>
              <a:gd name="connsiteY1135" fmla="*/ 904689 h 4525940"/>
              <a:gd name="connsiteX1136" fmla="*/ 4249794 w 4545947"/>
              <a:gd name="connsiteY1136" fmla="*/ 873712 h 4525940"/>
              <a:gd name="connsiteX1137" fmla="*/ 4256711 w 4545947"/>
              <a:gd name="connsiteY1137" fmla="*/ 838893 h 4525940"/>
              <a:gd name="connsiteX1138" fmla="*/ 4268481 w 4545947"/>
              <a:gd name="connsiteY1138" fmla="*/ 836466 h 4525940"/>
              <a:gd name="connsiteX1139" fmla="*/ 1503102 w 4545947"/>
              <a:gd name="connsiteY1139" fmla="*/ 801258 h 4525940"/>
              <a:gd name="connsiteX1140" fmla="*/ 1489315 w 4545947"/>
              <a:gd name="connsiteY1140" fmla="*/ 822388 h 4525940"/>
              <a:gd name="connsiteX1141" fmla="*/ 1490647 w 4545947"/>
              <a:gd name="connsiteY1141" fmla="*/ 856262 h 4525940"/>
              <a:gd name="connsiteX1142" fmla="*/ 1530226 w 4545947"/>
              <a:gd name="connsiteY1142" fmla="*/ 866125 h 4525940"/>
              <a:gd name="connsiteX1143" fmla="*/ 1532021 w 4545947"/>
              <a:gd name="connsiteY1143" fmla="*/ 819901 h 4525940"/>
              <a:gd name="connsiteX1144" fmla="*/ 1520594 w 4545947"/>
              <a:gd name="connsiteY1144" fmla="*/ 807589 h 4525940"/>
              <a:gd name="connsiteX1145" fmla="*/ 1503102 w 4545947"/>
              <a:gd name="connsiteY1145" fmla="*/ 801258 h 4525940"/>
              <a:gd name="connsiteX1146" fmla="*/ 3729804 w 4545947"/>
              <a:gd name="connsiteY1146" fmla="*/ 798436 h 4525940"/>
              <a:gd name="connsiteX1147" fmla="*/ 3719615 w 4545947"/>
              <a:gd name="connsiteY1147" fmla="*/ 808547 h 4525940"/>
              <a:gd name="connsiteX1148" fmla="*/ 3717041 w 4545947"/>
              <a:gd name="connsiteY1148" fmla="*/ 813557 h 4525940"/>
              <a:gd name="connsiteX1149" fmla="*/ 3718483 w 4545947"/>
              <a:gd name="connsiteY1149" fmla="*/ 830980 h 4525940"/>
              <a:gd name="connsiteX1150" fmla="*/ 3721246 w 4545947"/>
              <a:gd name="connsiteY1150" fmla="*/ 854042 h 4525940"/>
              <a:gd name="connsiteX1151" fmla="*/ 3718912 w 4545947"/>
              <a:gd name="connsiteY1151" fmla="*/ 922278 h 4525940"/>
              <a:gd name="connsiteX1152" fmla="*/ 3722944 w 4545947"/>
              <a:gd name="connsiteY1152" fmla="*/ 942470 h 4525940"/>
              <a:gd name="connsiteX1153" fmla="*/ 3747598 w 4545947"/>
              <a:gd name="connsiteY1153" fmla="*/ 980659 h 4525940"/>
              <a:gd name="connsiteX1154" fmla="*/ 3757482 w 4545947"/>
              <a:gd name="connsiteY1154" fmla="*/ 976816 h 4525940"/>
              <a:gd name="connsiteX1155" fmla="*/ 3760153 w 4545947"/>
              <a:gd name="connsiteY1155" fmla="*/ 920630 h 4525940"/>
              <a:gd name="connsiteX1156" fmla="*/ 3753030 w 4545947"/>
              <a:gd name="connsiteY1156" fmla="*/ 885437 h 4525940"/>
              <a:gd name="connsiteX1157" fmla="*/ 3746345 w 4545947"/>
              <a:gd name="connsiteY1157" fmla="*/ 854042 h 4525940"/>
              <a:gd name="connsiteX1158" fmla="*/ 3742535 w 4545947"/>
              <a:gd name="connsiteY1158" fmla="*/ 825977 h 4525940"/>
              <a:gd name="connsiteX1159" fmla="*/ 3729804 w 4545947"/>
              <a:gd name="connsiteY1159" fmla="*/ 798436 h 4525940"/>
              <a:gd name="connsiteX1160" fmla="*/ 4044267 w 4545947"/>
              <a:gd name="connsiteY1160" fmla="*/ 755914 h 4525940"/>
              <a:gd name="connsiteX1161" fmla="*/ 4052223 w 4545947"/>
              <a:gd name="connsiteY1161" fmla="*/ 770158 h 4525940"/>
              <a:gd name="connsiteX1162" fmla="*/ 4044267 w 4545947"/>
              <a:gd name="connsiteY1162" fmla="*/ 784403 h 4525940"/>
              <a:gd name="connsiteX1163" fmla="*/ 4036310 w 4545947"/>
              <a:gd name="connsiteY1163" fmla="*/ 770158 h 4525940"/>
              <a:gd name="connsiteX1164" fmla="*/ 4044267 w 4545947"/>
              <a:gd name="connsiteY1164" fmla="*/ 755914 h 4525940"/>
              <a:gd name="connsiteX1165" fmla="*/ 4191963 w 4545947"/>
              <a:gd name="connsiteY1165" fmla="*/ 753633 h 4525940"/>
              <a:gd name="connsiteX1166" fmla="*/ 4213395 w 4545947"/>
              <a:gd name="connsiteY1166" fmla="*/ 793226 h 4525940"/>
              <a:gd name="connsiteX1167" fmla="*/ 4208313 w 4545947"/>
              <a:gd name="connsiteY1167" fmla="*/ 816057 h 4525940"/>
              <a:gd name="connsiteX1168" fmla="*/ 4202744 w 4545947"/>
              <a:gd name="connsiteY1168" fmla="*/ 800369 h 4525940"/>
              <a:gd name="connsiteX1169" fmla="*/ 4196694 w 4545947"/>
              <a:gd name="connsiteY1169" fmla="*/ 780951 h 4525940"/>
              <a:gd name="connsiteX1170" fmla="*/ 4188573 w 4545947"/>
              <a:gd name="connsiteY1170" fmla="*/ 764983 h 4525940"/>
              <a:gd name="connsiteX1171" fmla="*/ 4191963 w 4545947"/>
              <a:gd name="connsiteY1171" fmla="*/ 753633 h 4525940"/>
              <a:gd name="connsiteX1172" fmla="*/ 2207638 w 4545947"/>
              <a:gd name="connsiteY1172" fmla="*/ 740087 h 4525940"/>
              <a:gd name="connsiteX1173" fmla="*/ 2203265 w 4545947"/>
              <a:gd name="connsiteY1173" fmla="*/ 749119 h 4525940"/>
              <a:gd name="connsiteX1174" fmla="*/ 2195613 w 4545947"/>
              <a:gd name="connsiteY1174" fmla="*/ 761046 h 4525940"/>
              <a:gd name="connsiteX1175" fmla="*/ 2194738 w 4545947"/>
              <a:gd name="connsiteY1175" fmla="*/ 764676 h 4525940"/>
              <a:gd name="connsiteX1176" fmla="*/ 2206763 w 4545947"/>
              <a:gd name="connsiteY1176" fmla="*/ 757813 h 4525940"/>
              <a:gd name="connsiteX1177" fmla="*/ 2207638 w 4545947"/>
              <a:gd name="connsiteY1177" fmla="*/ 740087 h 4525940"/>
              <a:gd name="connsiteX1178" fmla="*/ 2492685 w 4545947"/>
              <a:gd name="connsiteY1178" fmla="*/ 661279 h 4525940"/>
              <a:gd name="connsiteX1179" fmla="*/ 2487033 w 4545947"/>
              <a:gd name="connsiteY1179" fmla="*/ 671621 h 4525940"/>
              <a:gd name="connsiteX1180" fmla="*/ 2481109 w 4545947"/>
              <a:gd name="connsiteY1180" fmla="*/ 700808 h 4525940"/>
              <a:gd name="connsiteX1181" fmla="*/ 2491725 w 4545947"/>
              <a:gd name="connsiteY1181" fmla="*/ 713470 h 4525940"/>
              <a:gd name="connsiteX1182" fmla="*/ 2504127 w 4545947"/>
              <a:gd name="connsiteY1182" fmla="*/ 692066 h 4525940"/>
              <a:gd name="connsiteX1183" fmla="*/ 2498966 w 4545947"/>
              <a:gd name="connsiteY1183" fmla="*/ 664751 h 4525940"/>
              <a:gd name="connsiteX1184" fmla="*/ 2492685 w 4545947"/>
              <a:gd name="connsiteY1184" fmla="*/ 661279 h 4525940"/>
              <a:gd name="connsiteX1185" fmla="*/ 1542281 w 4545947"/>
              <a:gd name="connsiteY1185" fmla="*/ 646751 h 4525940"/>
              <a:gd name="connsiteX1186" fmla="*/ 1547326 w 4545947"/>
              <a:gd name="connsiteY1186" fmla="*/ 654093 h 4525940"/>
              <a:gd name="connsiteX1187" fmla="*/ 1540402 w 4545947"/>
              <a:gd name="connsiteY1187" fmla="*/ 664117 h 4525940"/>
              <a:gd name="connsiteX1188" fmla="*/ 1535210 w 4545947"/>
              <a:gd name="connsiteY1188" fmla="*/ 656599 h 4525940"/>
              <a:gd name="connsiteX1189" fmla="*/ 1542281 w 4545947"/>
              <a:gd name="connsiteY1189" fmla="*/ 646751 h 4525940"/>
              <a:gd name="connsiteX1190" fmla="*/ 4233596 w 4545947"/>
              <a:gd name="connsiteY1190" fmla="*/ 626131 h 4525940"/>
              <a:gd name="connsiteX1191" fmla="*/ 4297896 w 4545947"/>
              <a:gd name="connsiteY1191" fmla="*/ 718993 h 4525940"/>
              <a:gd name="connsiteX1192" fmla="*/ 4291336 w 4545947"/>
              <a:gd name="connsiteY1192" fmla="*/ 729715 h 4525940"/>
              <a:gd name="connsiteX1193" fmla="*/ 4284778 w 4545947"/>
              <a:gd name="connsiteY1193" fmla="*/ 755341 h 4525940"/>
              <a:gd name="connsiteX1194" fmla="*/ 4266012 w 4545947"/>
              <a:gd name="connsiteY1194" fmla="*/ 772883 h 4525940"/>
              <a:gd name="connsiteX1195" fmla="*/ 4256152 w 4545947"/>
              <a:gd name="connsiteY1195" fmla="*/ 754391 h 4525940"/>
              <a:gd name="connsiteX1196" fmla="*/ 4254030 w 4545947"/>
              <a:gd name="connsiteY1196" fmla="*/ 746418 h 4525940"/>
              <a:gd name="connsiteX1197" fmla="*/ 4249794 w 4545947"/>
              <a:gd name="connsiteY1197" fmla="*/ 730392 h 4525940"/>
              <a:gd name="connsiteX1198" fmla="*/ 4242141 w 4545947"/>
              <a:gd name="connsiteY1198" fmla="*/ 710456 h 4525940"/>
              <a:gd name="connsiteX1199" fmla="*/ 4214811 w 4545947"/>
              <a:gd name="connsiteY1199" fmla="*/ 669344 h 4525940"/>
              <a:gd name="connsiteX1200" fmla="*/ 4218709 w 4545947"/>
              <a:gd name="connsiteY1200" fmla="*/ 657786 h 4525940"/>
              <a:gd name="connsiteX1201" fmla="*/ 4225352 w 4545947"/>
              <a:gd name="connsiteY1201" fmla="*/ 641959 h 4525940"/>
              <a:gd name="connsiteX1202" fmla="*/ 4233596 w 4545947"/>
              <a:gd name="connsiteY1202" fmla="*/ 626131 h 4525940"/>
              <a:gd name="connsiteX1203" fmla="*/ 2100311 w 4545947"/>
              <a:gd name="connsiteY1203" fmla="*/ 609600 h 4525940"/>
              <a:gd name="connsiteX1204" fmla="*/ 2108154 w 4545947"/>
              <a:gd name="connsiteY1204" fmla="*/ 610589 h 4525940"/>
              <a:gd name="connsiteX1205" fmla="*/ 2122602 w 4545947"/>
              <a:gd name="connsiteY1205" fmla="*/ 631911 h 4525940"/>
              <a:gd name="connsiteX1206" fmla="*/ 2101230 w 4545947"/>
              <a:gd name="connsiteY1206" fmla="*/ 634573 h 4525940"/>
              <a:gd name="connsiteX1207" fmla="*/ 2098315 w 4545947"/>
              <a:gd name="connsiteY1207" fmla="*/ 618319 h 4525940"/>
              <a:gd name="connsiteX1208" fmla="*/ 2100311 w 4545947"/>
              <a:gd name="connsiteY1208" fmla="*/ 609600 h 4525940"/>
              <a:gd name="connsiteX1209" fmla="*/ 4009611 w 4545947"/>
              <a:gd name="connsiteY1209" fmla="*/ 608352 h 4525940"/>
              <a:gd name="connsiteX1210" fmla="*/ 4014312 w 4545947"/>
              <a:gd name="connsiteY1210" fmla="*/ 616635 h 4525940"/>
              <a:gd name="connsiteX1211" fmla="*/ 4009611 w 4545947"/>
              <a:gd name="connsiteY1211" fmla="*/ 624918 h 4525940"/>
              <a:gd name="connsiteX1212" fmla="*/ 4004911 w 4545947"/>
              <a:gd name="connsiteY1212" fmla="*/ 616635 h 4525940"/>
              <a:gd name="connsiteX1213" fmla="*/ 4009611 w 4545947"/>
              <a:gd name="connsiteY1213" fmla="*/ 608352 h 4525940"/>
              <a:gd name="connsiteX1214" fmla="*/ 4096448 w 4545947"/>
              <a:gd name="connsiteY1214" fmla="*/ 583964 h 4525940"/>
              <a:gd name="connsiteX1215" fmla="*/ 4107195 w 4545947"/>
              <a:gd name="connsiteY1215" fmla="*/ 593827 h 4525940"/>
              <a:gd name="connsiteX1216" fmla="*/ 4128369 w 4545947"/>
              <a:gd name="connsiteY1216" fmla="*/ 607139 h 4525940"/>
              <a:gd name="connsiteX1217" fmla="*/ 4153590 w 4545947"/>
              <a:gd name="connsiteY1217" fmla="*/ 630348 h 4525940"/>
              <a:gd name="connsiteX1218" fmla="*/ 4149141 w 4545947"/>
              <a:gd name="connsiteY1218" fmla="*/ 641890 h 4525940"/>
              <a:gd name="connsiteX1219" fmla="*/ 4120525 w 4545947"/>
              <a:gd name="connsiteY1219" fmla="*/ 642281 h 4525940"/>
              <a:gd name="connsiteX1220" fmla="*/ 4067481 w 4545947"/>
              <a:gd name="connsiteY1220" fmla="*/ 703404 h 4525940"/>
              <a:gd name="connsiteX1221" fmla="*/ 4035521 w 4545947"/>
              <a:gd name="connsiteY1221" fmla="*/ 724260 h 4525940"/>
              <a:gd name="connsiteX1222" fmla="*/ 4039894 w 4545947"/>
              <a:gd name="connsiteY1222" fmla="*/ 714763 h 4525940"/>
              <a:gd name="connsiteX1223" fmla="*/ 4039254 w 4545947"/>
              <a:gd name="connsiteY1223" fmla="*/ 671317 h 4525940"/>
              <a:gd name="connsiteX1224" fmla="*/ 4044061 w 4545947"/>
              <a:gd name="connsiteY1224" fmla="*/ 629112 h 4525940"/>
              <a:gd name="connsiteX1225" fmla="*/ 4057125 w 4545947"/>
              <a:gd name="connsiteY1225" fmla="*/ 614000 h 4525940"/>
              <a:gd name="connsiteX1226" fmla="*/ 4081844 w 4545947"/>
              <a:gd name="connsiteY1226" fmla="*/ 587951 h 4525940"/>
              <a:gd name="connsiteX1227" fmla="*/ 4096448 w 4545947"/>
              <a:gd name="connsiteY1227" fmla="*/ 583964 h 4525940"/>
              <a:gd name="connsiteX1228" fmla="*/ 3399607 w 4545947"/>
              <a:gd name="connsiteY1228" fmla="*/ 565410 h 4525940"/>
              <a:gd name="connsiteX1229" fmla="*/ 3390710 w 4545947"/>
              <a:gd name="connsiteY1229" fmla="*/ 595369 h 4525940"/>
              <a:gd name="connsiteX1230" fmla="*/ 3412518 w 4545947"/>
              <a:gd name="connsiteY1230" fmla="*/ 593840 h 4525940"/>
              <a:gd name="connsiteX1231" fmla="*/ 3399607 w 4545947"/>
              <a:gd name="connsiteY1231" fmla="*/ 565410 h 4525940"/>
              <a:gd name="connsiteX1232" fmla="*/ 3753272 w 4545947"/>
              <a:gd name="connsiteY1232" fmla="*/ 543830 h 4525940"/>
              <a:gd name="connsiteX1233" fmla="*/ 3790519 w 4545947"/>
              <a:gd name="connsiteY1233" fmla="*/ 599225 h 4525940"/>
              <a:gd name="connsiteX1234" fmla="*/ 3794812 w 4545947"/>
              <a:gd name="connsiteY1234" fmla="*/ 607139 h 4525940"/>
              <a:gd name="connsiteX1235" fmla="*/ 3804642 w 4545947"/>
              <a:gd name="connsiteY1235" fmla="*/ 659368 h 4525940"/>
              <a:gd name="connsiteX1236" fmla="*/ 3808129 w 4545947"/>
              <a:gd name="connsiteY1236" fmla="*/ 664117 h 4525940"/>
              <a:gd name="connsiteX1237" fmla="*/ 3812502 w 4545947"/>
              <a:gd name="connsiteY1237" fmla="*/ 679944 h 4525940"/>
              <a:gd name="connsiteX1238" fmla="*/ 3805943 w 4545947"/>
              <a:gd name="connsiteY1238" fmla="*/ 695771 h 4525940"/>
              <a:gd name="connsiteX1239" fmla="*/ 3799383 w 4545947"/>
              <a:gd name="connsiteY1239" fmla="*/ 686189 h 4525940"/>
              <a:gd name="connsiteX1240" fmla="*/ 3795328 w 4545947"/>
              <a:gd name="connsiteY1240" fmla="*/ 665613 h 4525940"/>
              <a:gd name="connsiteX1241" fmla="*/ 3788882 w 4545947"/>
              <a:gd name="connsiteY1241" fmla="*/ 643446 h 4525940"/>
              <a:gd name="connsiteX1242" fmla="*/ 3776114 w 4545947"/>
              <a:gd name="connsiteY1242" fmla="*/ 626562 h 4525940"/>
              <a:gd name="connsiteX1243" fmla="*/ 3757864 w 4545947"/>
              <a:gd name="connsiteY1243" fmla="*/ 596585 h 4525940"/>
              <a:gd name="connsiteX1244" fmla="*/ 3745624 w 4545947"/>
              <a:gd name="connsiteY1244" fmla="*/ 568210 h 4525940"/>
              <a:gd name="connsiteX1245" fmla="*/ 3753272 w 4545947"/>
              <a:gd name="connsiteY1245" fmla="*/ 543830 h 4525940"/>
              <a:gd name="connsiteX1246" fmla="*/ 2508411 w 4545947"/>
              <a:gd name="connsiteY1246" fmla="*/ 515434 h 4525940"/>
              <a:gd name="connsiteX1247" fmla="*/ 2493352 w 4545947"/>
              <a:gd name="connsiteY1247" fmla="*/ 518847 h 4525940"/>
              <a:gd name="connsiteX1248" fmla="*/ 2472948 w 4545947"/>
              <a:gd name="connsiteY1248" fmla="*/ 519406 h 4525940"/>
              <a:gd name="connsiteX1249" fmla="*/ 2426655 w 4545947"/>
              <a:gd name="connsiteY1249" fmla="*/ 542091 h 4525940"/>
              <a:gd name="connsiteX1250" fmla="*/ 2421860 w 4545947"/>
              <a:gd name="connsiteY1250" fmla="*/ 628589 h 4525940"/>
              <a:gd name="connsiteX1251" fmla="*/ 2426284 w 4545947"/>
              <a:gd name="connsiteY1251" fmla="*/ 648832 h 4525940"/>
              <a:gd name="connsiteX1252" fmla="*/ 2440777 w 4545947"/>
              <a:gd name="connsiteY1252" fmla="*/ 700519 h 4525940"/>
              <a:gd name="connsiteX1253" fmla="*/ 2459393 w 4545947"/>
              <a:gd name="connsiteY1253" fmla="*/ 699389 h 4525940"/>
              <a:gd name="connsiteX1254" fmla="*/ 2459081 w 4545947"/>
              <a:gd name="connsiteY1254" fmla="*/ 657786 h 4525940"/>
              <a:gd name="connsiteX1255" fmla="*/ 2459470 w 4545947"/>
              <a:gd name="connsiteY1255" fmla="*/ 641298 h 4525940"/>
              <a:gd name="connsiteX1256" fmla="*/ 2477551 w 4545947"/>
              <a:gd name="connsiteY1256" fmla="*/ 632480 h 4525940"/>
              <a:gd name="connsiteX1257" fmla="*/ 2483722 w 4545947"/>
              <a:gd name="connsiteY1257" fmla="*/ 619800 h 4525940"/>
              <a:gd name="connsiteX1258" fmla="*/ 2478759 w 4545947"/>
              <a:gd name="connsiteY1258" fmla="*/ 588146 h 4525940"/>
              <a:gd name="connsiteX1259" fmla="*/ 2485319 w 4545947"/>
              <a:gd name="connsiteY1259" fmla="*/ 556492 h 4525940"/>
              <a:gd name="connsiteX1260" fmla="*/ 2491878 w 4545947"/>
              <a:gd name="connsiteY1260" fmla="*/ 564659 h 4525940"/>
              <a:gd name="connsiteX1261" fmla="*/ 2508588 w 4545947"/>
              <a:gd name="connsiteY1261" fmla="*/ 599558 h 4525940"/>
              <a:gd name="connsiteX1262" fmla="*/ 2525299 w 4545947"/>
              <a:gd name="connsiteY1262" fmla="*/ 626289 h 4525940"/>
              <a:gd name="connsiteX1263" fmla="*/ 2539199 w 4545947"/>
              <a:gd name="connsiteY1263" fmla="*/ 616250 h 4525940"/>
              <a:gd name="connsiteX1264" fmla="*/ 2548428 w 4545947"/>
              <a:gd name="connsiteY1264" fmla="*/ 572052 h 4525940"/>
              <a:gd name="connsiteX1265" fmla="*/ 2546291 w 4545947"/>
              <a:gd name="connsiteY1265" fmla="*/ 558312 h 4525940"/>
              <a:gd name="connsiteX1266" fmla="*/ 2542439 w 4545947"/>
              <a:gd name="connsiteY1266" fmla="*/ 552299 h 4525940"/>
              <a:gd name="connsiteX1267" fmla="*/ 2537847 w 4545947"/>
              <a:gd name="connsiteY1267" fmla="*/ 548256 h 4525940"/>
              <a:gd name="connsiteX1268" fmla="*/ 2523962 w 4545947"/>
              <a:gd name="connsiteY1268" fmla="*/ 526189 h 4525940"/>
              <a:gd name="connsiteX1269" fmla="*/ 2508411 w 4545947"/>
              <a:gd name="connsiteY1269" fmla="*/ 515434 h 4525940"/>
              <a:gd name="connsiteX1270" fmla="*/ 3394917 w 4545947"/>
              <a:gd name="connsiteY1270" fmla="*/ 499514 h 4525940"/>
              <a:gd name="connsiteX1271" fmla="*/ 3385075 w 4545947"/>
              <a:gd name="connsiteY1271" fmla="*/ 540733 h 4525940"/>
              <a:gd name="connsiteX1272" fmla="*/ 3404022 w 4545947"/>
              <a:gd name="connsiteY1272" fmla="*/ 534348 h 4525940"/>
              <a:gd name="connsiteX1273" fmla="*/ 3394917 w 4545947"/>
              <a:gd name="connsiteY1273" fmla="*/ 499514 h 4525940"/>
              <a:gd name="connsiteX1274" fmla="*/ 2473972 w 4545947"/>
              <a:gd name="connsiteY1274" fmla="*/ 490389 h 4525940"/>
              <a:gd name="connsiteX1275" fmla="*/ 2475523 w 4545947"/>
              <a:gd name="connsiteY1275" fmla="*/ 502376 h 4525940"/>
              <a:gd name="connsiteX1276" fmla="*/ 2480591 w 4545947"/>
              <a:gd name="connsiteY1276" fmla="*/ 497291 h 4525940"/>
              <a:gd name="connsiteX1277" fmla="*/ 2473972 w 4545947"/>
              <a:gd name="connsiteY1277" fmla="*/ 490389 h 4525940"/>
              <a:gd name="connsiteX1278" fmla="*/ 2576610 w 4545947"/>
              <a:gd name="connsiteY1278" fmla="*/ 482359 h 4525940"/>
              <a:gd name="connsiteX1279" fmla="*/ 2586852 w 4545947"/>
              <a:gd name="connsiteY1279" fmla="*/ 505111 h 4525940"/>
              <a:gd name="connsiteX1280" fmla="*/ 2586989 w 4545947"/>
              <a:gd name="connsiteY1280" fmla="*/ 501481 h 4525940"/>
              <a:gd name="connsiteX1281" fmla="*/ 2579336 w 4545947"/>
              <a:gd name="connsiteY1281" fmla="*/ 488499 h 4525940"/>
              <a:gd name="connsiteX1282" fmla="*/ 2576610 w 4545947"/>
              <a:gd name="connsiteY1282" fmla="*/ 482359 h 4525940"/>
              <a:gd name="connsiteX1283" fmla="*/ 2585636 w 4545947"/>
              <a:gd name="connsiteY1283" fmla="*/ 469292 h 4525940"/>
              <a:gd name="connsiteX1284" fmla="*/ 2590998 w 4545947"/>
              <a:gd name="connsiteY1284" fmla="*/ 485006 h 4525940"/>
              <a:gd name="connsiteX1285" fmla="*/ 2600616 w 4545947"/>
              <a:gd name="connsiteY1285" fmla="*/ 491243 h 4525940"/>
              <a:gd name="connsiteX1286" fmla="*/ 2595253 w 4545947"/>
              <a:gd name="connsiteY1286" fmla="*/ 475529 h 4525940"/>
              <a:gd name="connsiteX1287" fmla="*/ 2585636 w 4545947"/>
              <a:gd name="connsiteY1287" fmla="*/ 469292 h 4525940"/>
              <a:gd name="connsiteX1288" fmla="*/ 3422903 w 4545947"/>
              <a:gd name="connsiteY1288" fmla="*/ 465059 h 4525940"/>
              <a:gd name="connsiteX1289" fmla="*/ 3418939 w 4545947"/>
              <a:gd name="connsiteY1289" fmla="*/ 477730 h 4525940"/>
              <a:gd name="connsiteX1290" fmla="*/ 3424580 w 4545947"/>
              <a:gd name="connsiteY1290" fmla="*/ 474182 h 4525940"/>
              <a:gd name="connsiteX1291" fmla="*/ 3422903 w 4545947"/>
              <a:gd name="connsiteY1291" fmla="*/ 465059 h 4525940"/>
              <a:gd name="connsiteX1292" fmla="*/ 3788764 w 4545947"/>
              <a:gd name="connsiteY1292" fmla="*/ 436206 h 4525940"/>
              <a:gd name="connsiteX1293" fmla="*/ 3799916 w 4545947"/>
              <a:gd name="connsiteY1293" fmla="*/ 450450 h 4525940"/>
              <a:gd name="connsiteX1294" fmla="*/ 3813589 w 4545947"/>
              <a:gd name="connsiteY1294" fmla="*/ 475438 h 4525940"/>
              <a:gd name="connsiteX1295" fmla="*/ 3819205 w 4545947"/>
              <a:gd name="connsiteY1295" fmla="*/ 492847 h 4525940"/>
              <a:gd name="connsiteX1296" fmla="*/ 3796103 w 4545947"/>
              <a:gd name="connsiteY1296" fmla="*/ 490044 h 4525940"/>
              <a:gd name="connsiteX1297" fmla="*/ 3790637 w 4545947"/>
              <a:gd name="connsiteY1297" fmla="*/ 475233 h 4525940"/>
              <a:gd name="connsiteX1298" fmla="*/ 3784337 w 4545947"/>
              <a:gd name="connsiteY1298" fmla="*/ 461842 h 4525940"/>
              <a:gd name="connsiteX1299" fmla="*/ 3788764 w 4545947"/>
              <a:gd name="connsiteY1299" fmla="*/ 436206 h 4525940"/>
              <a:gd name="connsiteX1300" fmla="*/ 2416536 w 4545947"/>
              <a:gd name="connsiteY1300" fmla="*/ 393600 h 4525940"/>
              <a:gd name="connsiteX1301" fmla="*/ 2421911 w 4545947"/>
              <a:gd name="connsiteY1301" fmla="*/ 404024 h 4525940"/>
              <a:gd name="connsiteX1302" fmla="*/ 2415031 w 4545947"/>
              <a:gd name="connsiteY1302" fmla="*/ 417213 h 4525940"/>
              <a:gd name="connsiteX1303" fmla="*/ 2409565 w 4545947"/>
              <a:gd name="connsiteY1303" fmla="*/ 406659 h 4525940"/>
              <a:gd name="connsiteX1304" fmla="*/ 2416536 w 4545947"/>
              <a:gd name="connsiteY1304" fmla="*/ 393600 h 4525940"/>
              <a:gd name="connsiteX1305" fmla="*/ 3384911 w 4545947"/>
              <a:gd name="connsiteY1305" fmla="*/ 341340 h 4525940"/>
              <a:gd name="connsiteX1306" fmla="*/ 3372417 w 4545947"/>
              <a:gd name="connsiteY1306" fmla="*/ 369731 h 4525940"/>
              <a:gd name="connsiteX1307" fmla="*/ 3380538 w 4545947"/>
              <a:gd name="connsiteY1307" fmla="*/ 378728 h 4525940"/>
              <a:gd name="connsiteX1308" fmla="*/ 3380675 w 4545947"/>
              <a:gd name="connsiteY1308" fmla="*/ 375035 h 4525940"/>
              <a:gd name="connsiteX1309" fmla="*/ 3380675 w 4545947"/>
              <a:gd name="connsiteY1309" fmla="*/ 375035 h 4525940"/>
              <a:gd name="connsiteX1310" fmla="*/ 3375209 w 4545947"/>
              <a:gd name="connsiteY1310" fmla="*/ 359334 h 4525940"/>
              <a:gd name="connsiteX1311" fmla="*/ 3378698 w 4545947"/>
              <a:gd name="connsiteY1311" fmla="*/ 349948 h 4525940"/>
              <a:gd name="connsiteX1312" fmla="*/ 3388537 w 4545947"/>
              <a:gd name="connsiteY1312" fmla="*/ 347252 h 4525940"/>
              <a:gd name="connsiteX1313" fmla="*/ 3384911 w 4545947"/>
              <a:gd name="connsiteY1313" fmla="*/ 341340 h 4525940"/>
              <a:gd name="connsiteX1314" fmla="*/ 3481752 w 4545947"/>
              <a:gd name="connsiteY1314" fmla="*/ 328581 h 4525940"/>
              <a:gd name="connsiteX1315" fmla="*/ 3473209 w 4545947"/>
              <a:gd name="connsiteY1315" fmla="*/ 344408 h 4525940"/>
              <a:gd name="connsiteX1316" fmla="*/ 3451077 w 4545947"/>
              <a:gd name="connsiteY1316" fmla="*/ 360235 h 4525940"/>
              <a:gd name="connsiteX1317" fmla="*/ 3425989 w 4545947"/>
              <a:gd name="connsiteY1317" fmla="*/ 367943 h 4525940"/>
              <a:gd name="connsiteX1318" fmla="*/ 3435239 w 4545947"/>
              <a:gd name="connsiteY1318" fmla="*/ 429875 h 4525940"/>
              <a:gd name="connsiteX1319" fmla="*/ 3440516 w 4545947"/>
              <a:gd name="connsiteY1319" fmla="*/ 463112 h 4525940"/>
              <a:gd name="connsiteX1320" fmla="*/ 3443678 w 4545947"/>
              <a:gd name="connsiteY1320" fmla="*/ 486853 h 4525940"/>
              <a:gd name="connsiteX1321" fmla="*/ 3449549 w 4545947"/>
              <a:gd name="connsiteY1321" fmla="*/ 501624 h 4525940"/>
              <a:gd name="connsiteX1322" fmla="*/ 3464675 w 4545947"/>
              <a:gd name="connsiteY1322" fmla="*/ 523522 h 4525940"/>
              <a:gd name="connsiteX1323" fmla="*/ 3474924 w 4545947"/>
              <a:gd name="connsiteY1323" fmla="*/ 480522 h 4525940"/>
              <a:gd name="connsiteX1324" fmla="*/ 3480390 w 4545947"/>
              <a:gd name="connsiteY1324" fmla="*/ 433357 h 4525940"/>
              <a:gd name="connsiteX1325" fmla="*/ 3484532 w 4545947"/>
              <a:gd name="connsiteY1325" fmla="*/ 412781 h 4525940"/>
              <a:gd name="connsiteX1326" fmla="*/ 3490938 w 4545947"/>
              <a:gd name="connsiteY1326" fmla="*/ 398220 h 4525940"/>
              <a:gd name="connsiteX1327" fmla="*/ 3504808 w 4545947"/>
              <a:gd name="connsiteY1327" fmla="*/ 364853 h 4525940"/>
              <a:gd name="connsiteX1328" fmla="*/ 3481752 w 4545947"/>
              <a:gd name="connsiteY1328" fmla="*/ 328581 h 4525940"/>
              <a:gd name="connsiteX1329" fmla="*/ 3250209 w 4545947"/>
              <a:gd name="connsiteY1329" fmla="*/ 322250 h 4525940"/>
              <a:gd name="connsiteX1330" fmla="*/ 3218734 w 4545947"/>
              <a:gd name="connsiteY1330" fmla="*/ 345991 h 4525940"/>
              <a:gd name="connsiteX1331" fmla="*/ 3207511 w 4545947"/>
              <a:gd name="connsiteY1331" fmla="*/ 353905 h 4525940"/>
              <a:gd name="connsiteX1332" fmla="*/ 3185026 w 4545947"/>
              <a:gd name="connsiteY1332" fmla="*/ 391710 h 4525940"/>
              <a:gd name="connsiteX1333" fmla="*/ 3190049 w 4545947"/>
              <a:gd name="connsiteY1333" fmla="*/ 417333 h 4525940"/>
              <a:gd name="connsiteX1334" fmla="*/ 3209038 w 4545947"/>
              <a:gd name="connsiteY1334" fmla="*/ 423965 h 4525940"/>
              <a:gd name="connsiteX1335" fmla="*/ 3221064 w 4545947"/>
              <a:gd name="connsiteY1335" fmla="*/ 416051 h 4525940"/>
              <a:gd name="connsiteX1336" fmla="*/ 3234472 w 4545947"/>
              <a:gd name="connsiteY1336" fmla="*/ 396638 h 4525940"/>
              <a:gd name="connsiteX1337" fmla="*/ 3252767 w 4545947"/>
              <a:gd name="connsiteY1337" fmla="*/ 392871 h 4525940"/>
              <a:gd name="connsiteX1338" fmla="*/ 3261513 w 4545947"/>
              <a:gd name="connsiteY1338" fmla="*/ 395055 h 4525940"/>
              <a:gd name="connsiteX1339" fmla="*/ 3250209 w 4545947"/>
              <a:gd name="connsiteY1339" fmla="*/ 322250 h 4525940"/>
              <a:gd name="connsiteX1340" fmla="*/ 3735611 w 4545947"/>
              <a:gd name="connsiteY1340" fmla="*/ 303258 h 4525940"/>
              <a:gd name="connsiteX1341" fmla="*/ 3742535 w 4545947"/>
              <a:gd name="connsiteY1341" fmla="*/ 312227 h 4525940"/>
              <a:gd name="connsiteX1342" fmla="*/ 3747682 w 4545947"/>
              <a:gd name="connsiteY1342" fmla="*/ 323679 h 4525940"/>
              <a:gd name="connsiteX1343" fmla="*/ 3749611 w 4545947"/>
              <a:gd name="connsiteY1343" fmla="*/ 333703 h 4525940"/>
              <a:gd name="connsiteX1344" fmla="*/ 3736483 w 4545947"/>
              <a:gd name="connsiteY1344" fmla="*/ 330164 h 4525940"/>
              <a:gd name="connsiteX1345" fmla="*/ 3731235 w 4545947"/>
              <a:gd name="connsiteY1345" fmla="*/ 311171 h 4525940"/>
              <a:gd name="connsiteX1346" fmla="*/ 3735611 w 4545947"/>
              <a:gd name="connsiteY1346" fmla="*/ 303258 h 4525940"/>
              <a:gd name="connsiteX1347" fmla="*/ 2667524 w 4545947"/>
              <a:gd name="connsiteY1347" fmla="*/ 278974 h 4525940"/>
              <a:gd name="connsiteX1348" fmla="*/ 2658117 w 4545947"/>
              <a:gd name="connsiteY1348" fmla="*/ 316447 h 4525940"/>
              <a:gd name="connsiteX1349" fmla="*/ 2673175 w 4545947"/>
              <a:gd name="connsiteY1349" fmla="*/ 346258 h 4525940"/>
              <a:gd name="connsiteX1350" fmla="*/ 2682100 w 4545947"/>
              <a:gd name="connsiteY1350" fmla="*/ 316609 h 4525940"/>
              <a:gd name="connsiteX1351" fmla="*/ 2674323 w 4545947"/>
              <a:gd name="connsiteY1351" fmla="*/ 281790 h 4525940"/>
              <a:gd name="connsiteX1352" fmla="*/ 2667524 w 4545947"/>
              <a:gd name="connsiteY1352" fmla="*/ 278974 h 4525940"/>
              <a:gd name="connsiteX1353" fmla="*/ 2403748 w 4545947"/>
              <a:gd name="connsiteY1353" fmla="*/ 222584 h 4525940"/>
              <a:gd name="connsiteX1354" fmla="*/ 2408792 w 4545947"/>
              <a:gd name="connsiteY1354" fmla="*/ 229925 h 4525940"/>
              <a:gd name="connsiteX1355" fmla="*/ 2401869 w 4545947"/>
              <a:gd name="connsiteY1355" fmla="*/ 239949 h 4525940"/>
              <a:gd name="connsiteX1356" fmla="*/ 2396676 w 4545947"/>
              <a:gd name="connsiteY1356" fmla="*/ 232431 h 4525940"/>
              <a:gd name="connsiteX1357" fmla="*/ 2403748 w 4545947"/>
              <a:gd name="connsiteY1357" fmla="*/ 222584 h 4525940"/>
              <a:gd name="connsiteX1358" fmla="*/ 3661635 w 4545947"/>
              <a:gd name="connsiteY1358" fmla="*/ 214625 h 4525940"/>
              <a:gd name="connsiteX1359" fmla="*/ 3668195 w 4545947"/>
              <a:gd name="connsiteY1359" fmla="*/ 227287 h 4525940"/>
              <a:gd name="connsiteX1360" fmla="*/ 3661635 w 4545947"/>
              <a:gd name="connsiteY1360" fmla="*/ 239949 h 4525940"/>
              <a:gd name="connsiteX1361" fmla="*/ 3655077 w 4545947"/>
              <a:gd name="connsiteY1361" fmla="*/ 227287 h 4525940"/>
              <a:gd name="connsiteX1362" fmla="*/ 3661635 w 4545947"/>
              <a:gd name="connsiteY1362" fmla="*/ 214625 h 4525940"/>
              <a:gd name="connsiteX1363" fmla="*/ 2458546 w 4545947"/>
              <a:gd name="connsiteY1363" fmla="*/ 189624 h 4525940"/>
              <a:gd name="connsiteX1364" fmla="*/ 2468139 w 4545947"/>
              <a:gd name="connsiteY1364" fmla="*/ 196363 h 4525940"/>
              <a:gd name="connsiteX1365" fmla="*/ 2489869 w 4545947"/>
              <a:gd name="connsiteY1365" fmla="*/ 200371 h 4525940"/>
              <a:gd name="connsiteX1366" fmla="*/ 2518076 w 4545947"/>
              <a:gd name="connsiteY1366" fmla="*/ 215902 h 4525940"/>
              <a:gd name="connsiteX1367" fmla="*/ 2525165 w 4545947"/>
              <a:gd name="connsiteY1367" fmla="*/ 243549 h 4525940"/>
              <a:gd name="connsiteX1368" fmla="*/ 2511500 w 4545947"/>
              <a:gd name="connsiteY1368" fmla="*/ 238403 h 4525940"/>
              <a:gd name="connsiteX1369" fmla="*/ 2489102 w 4545947"/>
              <a:gd name="connsiteY1369" fmla="*/ 239473 h 4525940"/>
              <a:gd name="connsiteX1370" fmla="*/ 2470013 w 4545947"/>
              <a:gd name="connsiteY1370" fmla="*/ 246218 h 4525940"/>
              <a:gd name="connsiteX1371" fmla="*/ 2461268 w 4545947"/>
              <a:gd name="connsiteY1371" fmla="*/ 222653 h 4525940"/>
              <a:gd name="connsiteX1372" fmla="*/ 2452522 w 4545947"/>
              <a:gd name="connsiteY1372" fmla="*/ 200557 h 4525940"/>
              <a:gd name="connsiteX1373" fmla="*/ 2458546 w 4545947"/>
              <a:gd name="connsiteY1373" fmla="*/ 189624 h 4525940"/>
              <a:gd name="connsiteX1374" fmla="*/ 2511298 w 4545947"/>
              <a:gd name="connsiteY1374" fmla="*/ 176640 h 4525940"/>
              <a:gd name="connsiteX1375" fmla="*/ 2518116 w 4545947"/>
              <a:gd name="connsiteY1375" fmla="*/ 182971 h 4525940"/>
              <a:gd name="connsiteX1376" fmla="*/ 2514001 w 4545947"/>
              <a:gd name="connsiteY1376" fmla="*/ 189302 h 4525940"/>
              <a:gd name="connsiteX1377" fmla="*/ 2507183 w 4545947"/>
              <a:gd name="connsiteY1377" fmla="*/ 182971 h 4525940"/>
              <a:gd name="connsiteX1378" fmla="*/ 2511298 w 4545947"/>
              <a:gd name="connsiteY1378" fmla="*/ 176640 h 4525940"/>
              <a:gd name="connsiteX1379" fmla="*/ 2555929 w 4545947"/>
              <a:gd name="connsiteY1379" fmla="*/ 171777 h 4525940"/>
              <a:gd name="connsiteX1380" fmla="*/ 2582482 w 4545947"/>
              <a:gd name="connsiteY1380" fmla="*/ 177792 h 4525940"/>
              <a:gd name="connsiteX1381" fmla="*/ 2574699 w 4545947"/>
              <a:gd name="connsiteY1381" fmla="*/ 193528 h 4525940"/>
              <a:gd name="connsiteX1382" fmla="*/ 2555286 w 4545947"/>
              <a:gd name="connsiteY1382" fmla="*/ 195633 h 4525940"/>
              <a:gd name="connsiteX1383" fmla="*/ 2544095 w 4545947"/>
              <a:gd name="connsiteY1383" fmla="*/ 189302 h 4525940"/>
              <a:gd name="connsiteX1384" fmla="*/ 2535607 w 4545947"/>
              <a:gd name="connsiteY1384" fmla="*/ 181183 h 4525940"/>
              <a:gd name="connsiteX1385" fmla="*/ 2555929 w 4545947"/>
              <a:gd name="connsiteY1385" fmla="*/ 171777 h 4525940"/>
              <a:gd name="connsiteX1386" fmla="*/ 2651238 w 4545947"/>
              <a:gd name="connsiteY1386" fmla="*/ 166688 h 4525940"/>
              <a:gd name="connsiteX1387" fmla="*/ 2662423 w 4545947"/>
              <a:gd name="connsiteY1387" fmla="*/ 186823 h 4525940"/>
              <a:gd name="connsiteX1388" fmla="*/ 2658132 w 4545947"/>
              <a:gd name="connsiteY1388" fmla="*/ 201964 h 4525940"/>
              <a:gd name="connsiteX1389" fmla="*/ 2651099 w 4545947"/>
              <a:gd name="connsiteY1389" fmla="*/ 217791 h 4525940"/>
              <a:gd name="connsiteX1390" fmla="*/ 2631294 w 4545947"/>
              <a:gd name="connsiteY1390" fmla="*/ 228870 h 4525940"/>
              <a:gd name="connsiteX1391" fmla="*/ 2631294 w 4545947"/>
              <a:gd name="connsiteY1391" fmla="*/ 219374 h 4525940"/>
              <a:gd name="connsiteX1392" fmla="*/ 2627439 w 4545947"/>
              <a:gd name="connsiteY1392" fmla="*/ 214625 h 4525940"/>
              <a:gd name="connsiteX1393" fmla="*/ 2631687 w 4545947"/>
              <a:gd name="connsiteY1393" fmla="*/ 178004 h 4525940"/>
              <a:gd name="connsiteX1394" fmla="*/ 2651238 w 4545947"/>
              <a:gd name="connsiteY1394" fmla="*/ 166688 h 4525940"/>
              <a:gd name="connsiteX1395" fmla="*/ 3294675 w 4545947"/>
              <a:gd name="connsiteY1395" fmla="*/ 163979 h 4525940"/>
              <a:gd name="connsiteX1396" fmla="*/ 3292944 w 4545947"/>
              <a:gd name="connsiteY1396" fmla="*/ 181520 h 4525940"/>
              <a:gd name="connsiteX1397" fmla="*/ 3287751 w 4545947"/>
              <a:gd name="connsiteY1397" fmla="*/ 174003 h 4525940"/>
              <a:gd name="connsiteX1398" fmla="*/ 3294675 w 4545947"/>
              <a:gd name="connsiteY1398" fmla="*/ 163979 h 4525940"/>
              <a:gd name="connsiteX1399" fmla="*/ 3593184 w 4545947"/>
              <a:gd name="connsiteY1399" fmla="*/ 152944 h 4525940"/>
              <a:gd name="connsiteX1400" fmla="*/ 3598229 w 4545947"/>
              <a:gd name="connsiteY1400" fmla="*/ 160286 h 4525940"/>
              <a:gd name="connsiteX1401" fmla="*/ 3591305 w 4545947"/>
              <a:gd name="connsiteY1401" fmla="*/ 170310 h 4525940"/>
              <a:gd name="connsiteX1402" fmla="*/ 3586112 w 4545947"/>
              <a:gd name="connsiteY1402" fmla="*/ 162792 h 4525940"/>
              <a:gd name="connsiteX1403" fmla="*/ 3593184 w 4545947"/>
              <a:gd name="connsiteY1403" fmla="*/ 152944 h 4525940"/>
              <a:gd name="connsiteX1404" fmla="*/ 2447768 w 4545947"/>
              <a:gd name="connsiteY1404" fmla="*/ 122488 h 4525940"/>
              <a:gd name="connsiteX1405" fmla="*/ 2445825 w 4545947"/>
              <a:gd name="connsiteY1405" fmla="*/ 151317 h 4525940"/>
              <a:gd name="connsiteX1406" fmla="*/ 2436499 w 4545947"/>
              <a:gd name="connsiteY1406" fmla="*/ 141395 h 4525940"/>
              <a:gd name="connsiteX1407" fmla="*/ 2447768 w 4545947"/>
              <a:gd name="connsiteY1407" fmla="*/ 122488 h 4525940"/>
              <a:gd name="connsiteX1408" fmla="*/ 2758453 w 4545947"/>
              <a:gd name="connsiteY1408" fmla="*/ 113837 h 4525940"/>
              <a:gd name="connsiteX1409" fmla="*/ 2752343 w 4545947"/>
              <a:gd name="connsiteY1409" fmla="*/ 114355 h 4525940"/>
              <a:gd name="connsiteX1410" fmla="*/ 2739995 w 4545947"/>
              <a:gd name="connsiteY1410" fmla="*/ 163342 h 4525940"/>
              <a:gd name="connsiteX1411" fmla="*/ 2756797 w 4545947"/>
              <a:gd name="connsiteY1411" fmla="*/ 236783 h 4525940"/>
              <a:gd name="connsiteX1412" fmla="*/ 2776577 w 4545947"/>
              <a:gd name="connsiteY1412" fmla="*/ 277579 h 4525940"/>
              <a:gd name="connsiteX1413" fmla="*/ 2784864 w 4545947"/>
              <a:gd name="connsiteY1413" fmla="*/ 243265 h 4525940"/>
              <a:gd name="connsiteX1414" fmla="*/ 2789237 w 4545947"/>
              <a:gd name="connsiteY1414" fmla="*/ 211460 h 4525940"/>
              <a:gd name="connsiteX1415" fmla="*/ 2787050 w 4545947"/>
              <a:gd name="connsiteY1415" fmla="*/ 172599 h 4525940"/>
              <a:gd name="connsiteX1416" fmla="*/ 2780492 w 4545947"/>
              <a:gd name="connsiteY1416" fmla="*/ 159871 h 4525940"/>
              <a:gd name="connsiteX1417" fmla="*/ 2754010 w 4545947"/>
              <a:gd name="connsiteY1417" fmla="*/ 129045 h 4525940"/>
              <a:gd name="connsiteX1418" fmla="*/ 2752067 w 4545947"/>
              <a:gd name="connsiteY1418" fmla="*/ 122018 h 4525940"/>
              <a:gd name="connsiteX1419" fmla="*/ 2758453 w 4545947"/>
              <a:gd name="connsiteY1419" fmla="*/ 113837 h 4525940"/>
              <a:gd name="connsiteX1420" fmla="*/ 3208103 w 4545947"/>
              <a:gd name="connsiteY1420" fmla="*/ 91897 h 4525940"/>
              <a:gd name="connsiteX1421" fmla="*/ 3217784 w 4545947"/>
              <a:gd name="connsiteY1421" fmla="*/ 116250 h 4525940"/>
              <a:gd name="connsiteX1422" fmla="*/ 3224343 w 4545947"/>
              <a:gd name="connsiteY1422" fmla="*/ 144986 h 4525940"/>
              <a:gd name="connsiteX1423" fmla="*/ 3230903 w 4545947"/>
              <a:gd name="connsiteY1423" fmla="*/ 168372 h 4525940"/>
              <a:gd name="connsiteX1424" fmla="*/ 3237462 w 4545947"/>
              <a:gd name="connsiteY1424" fmla="*/ 193372 h 4525940"/>
              <a:gd name="connsiteX1425" fmla="*/ 3240742 w 4545947"/>
              <a:gd name="connsiteY1425" fmla="*/ 219944 h 4525940"/>
              <a:gd name="connsiteX1426" fmla="*/ 3223595 w 4545947"/>
              <a:gd name="connsiteY1426" fmla="*/ 216414 h 4525940"/>
              <a:gd name="connsiteX1427" fmla="*/ 3189004 w 4545947"/>
              <a:gd name="connsiteY1427" fmla="*/ 162600 h 4525940"/>
              <a:gd name="connsiteX1428" fmla="*/ 3194368 w 4545947"/>
              <a:gd name="connsiteY1428" fmla="*/ 124622 h 4525940"/>
              <a:gd name="connsiteX1429" fmla="*/ 3208103 w 4545947"/>
              <a:gd name="connsiteY1429" fmla="*/ 91897 h 4525940"/>
              <a:gd name="connsiteX1430" fmla="*/ 3421125 w 4545947"/>
              <a:gd name="connsiteY1430" fmla="*/ 62685 h 4525940"/>
              <a:gd name="connsiteX1431" fmla="*/ 3427684 w 4545947"/>
              <a:gd name="connsiteY1431" fmla="*/ 72181 h 4525940"/>
              <a:gd name="connsiteX1432" fmla="*/ 3431098 w 4545947"/>
              <a:gd name="connsiteY1432" fmla="*/ 81678 h 4525940"/>
              <a:gd name="connsiteX1433" fmla="*/ 3441509 w 4545947"/>
              <a:gd name="connsiteY1433" fmla="*/ 121946 h 4525940"/>
              <a:gd name="connsiteX1434" fmla="*/ 3433123 w 4545947"/>
              <a:gd name="connsiteY1434" fmla="*/ 121434 h 4525940"/>
              <a:gd name="connsiteX1435" fmla="*/ 3430102 w 4545947"/>
              <a:gd name="connsiteY1435" fmla="*/ 112791 h 4525940"/>
              <a:gd name="connsiteX1436" fmla="*/ 3427942 w 4545947"/>
              <a:gd name="connsiteY1436" fmla="*/ 107001 h 4525940"/>
              <a:gd name="connsiteX1437" fmla="*/ 3423312 w 4545947"/>
              <a:gd name="connsiteY1437" fmla="*/ 94339 h 4525940"/>
              <a:gd name="connsiteX1438" fmla="*/ 3418939 w 4545947"/>
              <a:gd name="connsiteY1438" fmla="*/ 81678 h 4525940"/>
              <a:gd name="connsiteX1439" fmla="*/ 3414566 w 4545947"/>
              <a:gd name="connsiteY1439" fmla="*/ 72181 h 4525940"/>
              <a:gd name="connsiteX1440" fmla="*/ 3421125 w 4545947"/>
              <a:gd name="connsiteY1440" fmla="*/ 62685 h 4525940"/>
              <a:gd name="connsiteX1441" fmla="*/ 3123228 w 4545947"/>
              <a:gd name="connsiteY1441" fmla="*/ 39762 h 4525940"/>
              <a:gd name="connsiteX1442" fmla="*/ 3129915 w 4545947"/>
              <a:gd name="connsiteY1442" fmla="*/ 46141 h 4525940"/>
              <a:gd name="connsiteX1443" fmla="*/ 3130996 w 4545947"/>
              <a:gd name="connsiteY1443" fmla="*/ 58920 h 4525940"/>
              <a:gd name="connsiteX1444" fmla="*/ 3124122 w 4545947"/>
              <a:gd name="connsiteY1444" fmla="*/ 52246 h 4525940"/>
              <a:gd name="connsiteX1445" fmla="*/ 3123228 w 4545947"/>
              <a:gd name="connsiteY1445" fmla="*/ 39762 h 4525940"/>
              <a:gd name="connsiteX1446" fmla="*/ 3491456 w 4545947"/>
              <a:gd name="connsiteY1446" fmla="*/ 6650 h 4525940"/>
              <a:gd name="connsiteX1447" fmla="*/ 3502024 w 4545947"/>
              <a:gd name="connsiteY1447" fmla="*/ 18369 h 4525940"/>
              <a:gd name="connsiteX1448" fmla="*/ 3517999 w 4545947"/>
              <a:gd name="connsiteY1448" fmla="*/ 31031 h 4525940"/>
              <a:gd name="connsiteX1449" fmla="*/ 3523889 w 4545947"/>
              <a:gd name="connsiteY1449" fmla="*/ 37362 h 4525940"/>
              <a:gd name="connsiteX1450" fmla="*/ 3530448 w 4545947"/>
              <a:gd name="connsiteY1450" fmla="*/ 43693 h 4525940"/>
              <a:gd name="connsiteX1451" fmla="*/ 3537008 w 4545947"/>
              <a:gd name="connsiteY1451" fmla="*/ 56677 h 4525940"/>
              <a:gd name="connsiteX1452" fmla="*/ 3573084 w 4545947"/>
              <a:gd name="connsiteY1452" fmla="*/ 113301 h 4525940"/>
              <a:gd name="connsiteX1453" fmla="*/ 3576364 w 4545947"/>
              <a:gd name="connsiteY1453" fmla="*/ 123514 h 4525940"/>
              <a:gd name="connsiteX1454" fmla="*/ 3565906 w 4545947"/>
              <a:gd name="connsiteY1454" fmla="*/ 129897 h 4525940"/>
              <a:gd name="connsiteX1455" fmla="*/ 3553610 w 4545947"/>
              <a:gd name="connsiteY1455" fmla="*/ 148893 h 4525940"/>
              <a:gd name="connsiteX1456" fmla="*/ 3559695 w 4545947"/>
              <a:gd name="connsiteY1456" fmla="*/ 178853 h 4525940"/>
              <a:gd name="connsiteX1457" fmla="*/ 3562664 w 4545947"/>
              <a:gd name="connsiteY1457" fmla="*/ 212934 h 4525940"/>
              <a:gd name="connsiteX1458" fmla="*/ 3570416 w 4545947"/>
              <a:gd name="connsiteY1458" fmla="*/ 239949 h 4525940"/>
              <a:gd name="connsiteX1459" fmla="*/ 3586126 w 4545947"/>
              <a:gd name="connsiteY1459" fmla="*/ 229122 h 4525940"/>
              <a:gd name="connsiteX1460" fmla="*/ 3598207 w 4545947"/>
              <a:gd name="connsiteY1460" fmla="*/ 227237 h 4525940"/>
              <a:gd name="connsiteX1461" fmla="*/ 3599566 w 4545947"/>
              <a:gd name="connsiteY1461" fmla="*/ 241937 h 4525940"/>
              <a:gd name="connsiteX1462" fmla="*/ 3618632 w 4545947"/>
              <a:gd name="connsiteY1462" fmla="*/ 258845 h 4525940"/>
              <a:gd name="connsiteX1463" fmla="*/ 3665357 w 4545947"/>
              <a:gd name="connsiteY1463" fmla="*/ 319085 h 4525940"/>
              <a:gd name="connsiteX1464" fmla="*/ 3664147 w 4545947"/>
              <a:gd name="connsiteY1464" fmla="*/ 355487 h 4525940"/>
              <a:gd name="connsiteX1465" fmla="*/ 3664283 w 4545947"/>
              <a:gd name="connsiteY1465" fmla="*/ 379228 h 4525940"/>
              <a:gd name="connsiteX1466" fmla="*/ 3668196 w 4545947"/>
              <a:gd name="connsiteY1466" fmla="*/ 388724 h 4525940"/>
              <a:gd name="connsiteX1467" fmla="*/ 3672568 w 4545947"/>
              <a:gd name="connsiteY1467" fmla="*/ 398220 h 4525940"/>
              <a:gd name="connsiteX1468" fmla="*/ 3676941 w 4545947"/>
              <a:gd name="connsiteY1468" fmla="*/ 421463 h 4525940"/>
              <a:gd name="connsiteX1469" fmla="*/ 3683014 w 4545947"/>
              <a:gd name="connsiteY1469" fmla="*/ 454700 h 4525940"/>
              <a:gd name="connsiteX1470" fmla="*/ 3692108 w 4545947"/>
              <a:gd name="connsiteY1470" fmla="*/ 485270 h 4525940"/>
              <a:gd name="connsiteX1471" fmla="*/ 3688220 w 4545947"/>
              <a:gd name="connsiteY1471" fmla="*/ 505845 h 4525940"/>
              <a:gd name="connsiteX1472" fmla="*/ 3682407 w 4545947"/>
              <a:gd name="connsiteY1472" fmla="*/ 498925 h 4525940"/>
              <a:gd name="connsiteX1473" fmla="*/ 3660542 w 4545947"/>
              <a:gd name="connsiteY1473" fmla="*/ 484398 h 4525940"/>
              <a:gd name="connsiteX1474" fmla="*/ 3656943 w 4545947"/>
              <a:gd name="connsiteY1474" fmla="*/ 532140 h 4525940"/>
              <a:gd name="connsiteX1475" fmla="*/ 3663823 w 4545947"/>
              <a:gd name="connsiteY1475" fmla="*/ 567545 h 4525940"/>
              <a:gd name="connsiteX1476" fmla="*/ 3672568 w 4545947"/>
              <a:gd name="connsiteY1476" fmla="*/ 599081 h 4525940"/>
              <a:gd name="connsiteX1477" fmla="*/ 3681314 w 4545947"/>
              <a:gd name="connsiteY1477" fmla="*/ 626611 h 4525940"/>
              <a:gd name="connsiteX1478" fmla="*/ 3685687 w 4545947"/>
              <a:gd name="connsiteY1478" fmla="*/ 641959 h 4525940"/>
              <a:gd name="connsiteX1479" fmla="*/ 3690060 w 4545947"/>
              <a:gd name="connsiteY1479" fmla="*/ 660343 h 4525940"/>
              <a:gd name="connsiteX1480" fmla="*/ 3714879 w 4545947"/>
              <a:gd name="connsiteY1480" fmla="*/ 694706 h 4525940"/>
              <a:gd name="connsiteX1481" fmla="*/ 3727174 w 4545947"/>
              <a:gd name="connsiteY1481" fmla="*/ 678324 h 4525940"/>
              <a:gd name="connsiteX1482" fmla="*/ 3741385 w 4545947"/>
              <a:gd name="connsiteY1482" fmla="*/ 664117 h 4525940"/>
              <a:gd name="connsiteX1483" fmla="*/ 3736264 w 4545947"/>
              <a:gd name="connsiteY1483" fmla="*/ 703575 h 4525940"/>
              <a:gd name="connsiteX1484" fmla="*/ 3721445 w 4545947"/>
              <a:gd name="connsiteY1484" fmla="*/ 766238 h 4525940"/>
              <a:gd name="connsiteX1485" fmla="*/ 3753209 w 4545947"/>
              <a:gd name="connsiteY1485" fmla="*/ 762044 h 4525940"/>
              <a:gd name="connsiteX1486" fmla="*/ 3792622 w 4545947"/>
              <a:gd name="connsiteY1486" fmla="*/ 783484 h 4525940"/>
              <a:gd name="connsiteX1487" fmla="*/ 3816087 w 4545947"/>
              <a:gd name="connsiteY1487" fmla="*/ 779639 h 4525940"/>
              <a:gd name="connsiteX1488" fmla="*/ 3832485 w 4545947"/>
              <a:gd name="connsiteY1488" fmla="*/ 748816 h 4525940"/>
              <a:gd name="connsiteX1489" fmla="*/ 3847425 w 4545947"/>
              <a:gd name="connsiteY1489" fmla="*/ 709264 h 4525940"/>
              <a:gd name="connsiteX1490" fmla="*/ 3839142 w 4545947"/>
              <a:gd name="connsiteY1490" fmla="*/ 660590 h 4525940"/>
              <a:gd name="connsiteX1491" fmla="*/ 3842989 w 4545947"/>
              <a:gd name="connsiteY1491" fmla="*/ 566799 h 4525940"/>
              <a:gd name="connsiteX1492" fmla="*/ 3847485 w 4545947"/>
              <a:gd name="connsiteY1492" fmla="*/ 549670 h 4525940"/>
              <a:gd name="connsiteX1493" fmla="*/ 3853517 w 4545947"/>
              <a:gd name="connsiteY1493" fmla="*/ 531802 h 4525940"/>
              <a:gd name="connsiteX1494" fmla="*/ 3861473 w 4545947"/>
              <a:gd name="connsiteY1494" fmla="*/ 472401 h 4525940"/>
              <a:gd name="connsiteX1495" fmla="*/ 3842299 w 4545947"/>
              <a:gd name="connsiteY1495" fmla="*/ 430355 h 4525940"/>
              <a:gd name="connsiteX1496" fmla="*/ 3823090 w 4545947"/>
              <a:gd name="connsiteY1496" fmla="*/ 390244 h 4525940"/>
              <a:gd name="connsiteX1497" fmla="*/ 3811876 w 4545947"/>
              <a:gd name="connsiteY1497" fmla="*/ 365824 h 4525940"/>
              <a:gd name="connsiteX1498" fmla="*/ 3803756 w 4545947"/>
              <a:gd name="connsiteY1498" fmla="*/ 345701 h 4525940"/>
              <a:gd name="connsiteX1499" fmla="*/ 3798290 w 4545947"/>
              <a:gd name="connsiteY1499" fmla="*/ 327206 h 4525940"/>
              <a:gd name="connsiteX1500" fmla="*/ 3783985 w 4545947"/>
              <a:gd name="connsiteY1500" fmla="*/ 271395 h 4525940"/>
              <a:gd name="connsiteX1501" fmla="*/ 3795958 w 4545947"/>
              <a:gd name="connsiteY1501" fmla="*/ 251450 h 4525940"/>
              <a:gd name="connsiteX1502" fmla="*/ 3811582 w 4545947"/>
              <a:gd name="connsiteY1502" fmla="*/ 258942 h 4525940"/>
              <a:gd name="connsiteX1503" fmla="*/ 3838594 w 4545947"/>
              <a:gd name="connsiteY1503" fmla="*/ 298509 h 4525940"/>
              <a:gd name="connsiteX1504" fmla="*/ 3843112 w 4545947"/>
              <a:gd name="connsiteY1504" fmla="*/ 309588 h 4525940"/>
              <a:gd name="connsiteX1505" fmla="*/ 3847485 w 4545947"/>
              <a:gd name="connsiteY1505" fmla="*/ 319315 h 4525940"/>
              <a:gd name="connsiteX1506" fmla="*/ 3880487 w 4545947"/>
              <a:gd name="connsiteY1506" fmla="*/ 375747 h 4525940"/>
              <a:gd name="connsiteX1507" fmla="*/ 3913488 w 4545947"/>
              <a:gd name="connsiteY1507" fmla="*/ 422452 h 4525940"/>
              <a:gd name="connsiteX1508" fmla="*/ 3912190 w 4545947"/>
              <a:gd name="connsiteY1508" fmla="*/ 462566 h 4525940"/>
              <a:gd name="connsiteX1509" fmla="*/ 3910892 w 4545947"/>
              <a:gd name="connsiteY1509" fmla="*/ 502680 h 4525940"/>
              <a:gd name="connsiteX1510" fmla="*/ 3924010 w 4545947"/>
              <a:gd name="connsiteY1510" fmla="*/ 504823 h 4525940"/>
              <a:gd name="connsiteX1511" fmla="*/ 3948063 w 4545947"/>
              <a:gd name="connsiteY1511" fmla="*/ 546577 h 4525940"/>
              <a:gd name="connsiteX1512" fmla="*/ 3957252 w 4545947"/>
              <a:gd name="connsiteY1512" fmla="*/ 587378 h 4525940"/>
              <a:gd name="connsiteX1513" fmla="*/ 3964689 w 4545947"/>
              <a:gd name="connsiteY1513" fmla="*/ 623392 h 4525940"/>
              <a:gd name="connsiteX1514" fmla="*/ 3966432 w 4545947"/>
              <a:gd name="connsiteY1514" fmla="*/ 645124 h 4525940"/>
              <a:gd name="connsiteX1515" fmla="*/ 3969927 w 4545947"/>
              <a:gd name="connsiteY1515" fmla="*/ 664117 h 4525940"/>
              <a:gd name="connsiteX1516" fmla="*/ 3961040 w 4545947"/>
              <a:gd name="connsiteY1516" fmla="*/ 683109 h 4525940"/>
              <a:gd name="connsiteX1517" fmla="*/ 3951373 w 4545947"/>
              <a:gd name="connsiteY1517" fmla="*/ 730591 h 4525940"/>
              <a:gd name="connsiteX1518" fmla="*/ 3961150 w 4545947"/>
              <a:gd name="connsiteY1518" fmla="*/ 759079 h 4525940"/>
              <a:gd name="connsiteX1519" fmla="*/ 3975786 w 4545947"/>
              <a:gd name="connsiteY1519" fmla="*/ 770572 h 4525940"/>
              <a:gd name="connsiteX1520" fmla="*/ 3993580 w 4545947"/>
              <a:gd name="connsiteY1520" fmla="*/ 785503 h 4525940"/>
              <a:gd name="connsiteX1521" fmla="*/ 4004560 w 4545947"/>
              <a:gd name="connsiteY1521" fmla="*/ 794212 h 4525940"/>
              <a:gd name="connsiteX1522" fmla="*/ 4011235 w 4545947"/>
              <a:gd name="connsiteY1522" fmla="*/ 814926 h 4525940"/>
              <a:gd name="connsiteX1523" fmla="*/ 4008872 w 4545947"/>
              <a:gd name="connsiteY1523" fmla="*/ 849310 h 4525940"/>
              <a:gd name="connsiteX1524" fmla="*/ 4041280 w 4545947"/>
              <a:gd name="connsiteY1524" fmla="*/ 845658 h 4525940"/>
              <a:gd name="connsiteX1525" fmla="*/ 4062851 w 4545947"/>
              <a:gd name="connsiteY1525" fmla="*/ 820534 h 4525940"/>
              <a:gd name="connsiteX1526" fmla="*/ 4070504 w 4545947"/>
              <a:gd name="connsiteY1526" fmla="*/ 803968 h 4525940"/>
              <a:gd name="connsiteX1527" fmla="*/ 4075068 w 4545947"/>
              <a:gd name="connsiteY1527" fmla="*/ 787397 h 4525940"/>
              <a:gd name="connsiteX1528" fmla="*/ 4092369 w 4545947"/>
              <a:gd name="connsiteY1528" fmla="*/ 816832 h 4525940"/>
              <a:gd name="connsiteX1529" fmla="*/ 4096742 w 4545947"/>
              <a:gd name="connsiteY1529" fmla="*/ 835050 h 4525940"/>
              <a:gd name="connsiteX1530" fmla="*/ 4101115 w 4545947"/>
              <a:gd name="connsiteY1530" fmla="*/ 843771 h 4525940"/>
              <a:gd name="connsiteX1531" fmla="*/ 4107393 w 4545947"/>
              <a:gd name="connsiteY1531" fmla="*/ 860036 h 4525940"/>
              <a:gd name="connsiteX1532" fmla="*/ 4116486 w 4545947"/>
              <a:gd name="connsiteY1532" fmla="*/ 886134 h 4525940"/>
              <a:gd name="connsiteX1533" fmla="*/ 4122859 w 4545947"/>
              <a:gd name="connsiteY1533" fmla="*/ 904689 h 4525940"/>
              <a:gd name="connsiteX1534" fmla="*/ 4126496 w 4545947"/>
              <a:gd name="connsiteY1534" fmla="*/ 933011 h 4525940"/>
              <a:gd name="connsiteX1535" fmla="*/ 4119395 w 4545947"/>
              <a:gd name="connsiteY1535" fmla="*/ 964833 h 4525940"/>
              <a:gd name="connsiteX1536" fmla="*/ 4109556 w 4545947"/>
              <a:gd name="connsiteY1536" fmla="*/ 1003225 h 4525940"/>
              <a:gd name="connsiteX1537" fmla="*/ 4101632 w 4545947"/>
              <a:gd name="connsiteY1537" fmla="*/ 1057038 h 4525940"/>
              <a:gd name="connsiteX1538" fmla="*/ 4119684 w 4545947"/>
              <a:gd name="connsiteY1538" fmla="*/ 1139507 h 4525940"/>
              <a:gd name="connsiteX1539" fmla="*/ 4139990 w 4545947"/>
              <a:gd name="connsiteY1539" fmla="*/ 1128881 h 4525940"/>
              <a:gd name="connsiteX1540" fmla="*/ 4165434 w 4545947"/>
              <a:gd name="connsiteY1540" fmla="*/ 1124687 h 4525940"/>
              <a:gd name="connsiteX1541" fmla="*/ 4171225 w 4545947"/>
              <a:gd name="connsiteY1541" fmla="*/ 1138931 h 4525940"/>
              <a:gd name="connsiteX1542" fmla="*/ 4177151 w 4545947"/>
              <a:gd name="connsiteY1542" fmla="*/ 1165392 h 4525940"/>
              <a:gd name="connsiteX1543" fmla="*/ 4167975 w 4545947"/>
              <a:gd name="connsiteY1543" fmla="*/ 1204976 h 4525940"/>
              <a:gd name="connsiteX1544" fmla="*/ 4151601 w 4545947"/>
              <a:gd name="connsiteY1544" fmla="*/ 1185009 h 4525940"/>
              <a:gd name="connsiteX1545" fmla="*/ 4115472 w 4545947"/>
              <a:gd name="connsiteY1545" fmla="*/ 1175190 h 4525940"/>
              <a:gd name="connsiteX1546" fmla="*/ 4097522 w 4545947"/>
              <a:gd name="connsiteY1546" fmla="*/ 1202239 h 4525940"/>
              <a:gd name="connsiteX1547" fmla="*/ 4090938 w 4545947"/>
              <a:gd name="connsiteY1547" fmla="*/ 1161908 h 4525940"/>
              <a:gd name="connsiteX1548" fmla="*/ 4084144 w 4545947"/>
              <a:gd name="connsiteY1548" fmla="*/ 1120998 h 4525940"/>
              <a:gd name="connsiteX1549" fmla="*/ 4074877 w 4545947"/>
              <a:gd name="connsiteY1549" fmla="*/ 1095063 h 4525940"/>
              <a:gd name="connsiteX1550" fmla="*/ 4063469 w 4545947"/>
              <a:gd name="connsiteY1550" fmla="*/ 1081691 h 4525940"/>
              <a:gd name="connsiteX1551" fmla="*/ 4056887 w 4545947"/>
              <a:gd name="connsiteY1551" fmla="*/ 1066994 h 4525940"/>
              <a:gd name="connsiteX1552" fmla="*/ 4057531 w 4545947"/>
              <a:gd name="connsiteY1552" fmla="*/ 1010814 h 4525940"/>
              <a:gd name="connsiteX1553" fmla="*/ 4057210 w 4545947"/>
              <a:gd name="connsiteY1553" fmla="*/ 943558 h 4525940"/>
              <a:gd name="connsiteX1554" fmla="*/ 4057842 w 4545947"/>
              <a:gd name="connsiteY1554" fmla="*/ 906579 h 4525940"/>
              <a:gd name="connsiteX1555" fmla="*/ 4035718 w 4545947"/>
              <a:gd name="connsiteY1555" fmla="*/ 883685 h 4525940"/>
              <a:gd name="connsiteX1556" fmla="*/ 4009350 w 4545947"/>
              <a:gd name="connsiteY1556" fmla="*/ 906575 h 4525940"/>
              <a:gd name="connsiteX1557" fmla="*/ 3997719 w 4545947"/>
              <a:gd name="connsiteY1557" fmla="*/ 932360 h 4525940"/>
              <a:gd name="connsiteX1558" fmla="*/ 3989704 w 4545947"/>
              <a:gd name="connsiteY1558" fmla="*/ 971623 h 4525940"/>
              <a:gd name="connsiteX1559" fmla="*/ 3992236 w 4545947"/>
              <a:gd name="connsiteY1559" fmla="*/ 1004994 h 4525940"/>
              <a:gd name="connsiteX1560" fmla="*/ 4004625 w 4545947"/>
              <a:gd name="connsiteY1560" fmla="*/ 1009239 h 4525940"/>
              <a:gd name="connsiteX1561" fmla="*/ 4018029 w 4545947"/>
              <a:gd name="connsiteY1561" fmla="*/ 1014201 h 4525940"/>
              <a:gd name="connsiteX1562" fmla="*/ 4024588 w 4545947"/>
              <a:gd name="connsiteY1562" fmla="*/ 1031306 h 4525940"/>
              <a:gd name="connsiteX1563" fmla="*/ 4031148 w 4545947"/>
              <a:gd name="connsiteY1563" fmla="*/ 1054239 h 4525940"/>
              <a:gd name="connsiteX1564" fmla="*/ 4035521 w 4545947"/>
              <a:gd name="connsiteY1564" fmla="*/ 1069291 h 4525940"/>
              <a:gd name="connsiteX1565" fmla="*/ 4039960 w 4545947"/>
              <a:gd name="connsiteY1565" fmla="*/ 1080371 h 4525940"/>
              <a:gd name="connsiteX1566" fmla="*/ 4044266 w 4545947"/>
              <a:gd name="connsiteY1566" fmla="*/ 1081953 h 4525940"/>
              <a:gd name="connsiteX1567" fmla="*/ 4048506 w 4545947"/>
              <a:gd name="connsiteY1567" fmla="*/ 1078788 h 4525940"/>
              <a:gd name="connsiteX1568" fmla="*/ 4044572 w 4545947"/>
              <a:gd name="connsiteY1568" fmla="*/ 1094114 h 4525940"/>
              <a:gd name="connsiteX1569" fmla="*/ 4029488 w 4545947"/>
              <a:gd name="connsiteY1569" fmla="*/ 1092532 h 4525940"/>
              <a:gd name="connsiteX1570" fmla="*/ 4000537 w 4545947"/>
              <a:gd name="connsiteY1570" fmla="*/ 1091450 h 4525940"/>
              <a:gd name="connsiteX1571" fmla="*/ 4001086 w 4545947"/>
              <a:gd name="connsiteY1571" fmla="*/ 1111401 h 4525940"/>
              <a:gd name="connsiteX1572" fmla="*/ 4005684 w 4545947"/>
              <a:gd name="connsiteY1572" fmla="*/ 1179458 h 4525940"/>
              <a:gd name="connsiteX1573" fmla="*/ 4011018 w 4545947"/>
              <a:gd name="connsiteY1573" fmla="*/ 1249721 h 4525940"/>
              <a:gd name="connsiteX1574" fmla="*/ 4017890 w 4545947"/>
              <a:gd name="connsiteY1574" fmla="*/ 1279365 h 4525940"/>
              <a:gd name="connsiteX1575" fmla="*/ 4041682 w 4545947"/>
              <a:gd name="connsiteY1575" fmla="*/ 1293755 h 4525940"/>
              <a:gd name="connsiteX1576" fmla="*/ 4039371 w 4545947"/>
              <a:gd name="connsiteY1576" fmla="*/ 1249254 h 4525940"/>
              <a:gd name="connsiteX1577" fmla="*/ 4035521 w 4545947"/>
              <a:gd name="connsiteY1577" fmla="*/ 1224024 h 4525940"/>
              <a:gd name="connsiteX1578" fmla="*/ 4045401 w 4545947"/>
              <a:gd name="connsiteY1578" fmla="*/ 1202239 h 4525940"/>
              <a:gd name="connsiteX1579" fmla="*/ 4068670 w 4545947"/>
              <a:gd name="connsiteY1579" fmla="*/ 1250220 h 4525940"/>
              <a:gd name="connsiteX1580" fmla="*/ 4076391 w 4545947"/>
              <a:gd name="connsiteY1580" fmla="*/ 1281537 h 4525940"/>
              <a:gd name="connsiteX1581" fmla="*/ 4098627 w 4545947"/>
              <a:gd name="connsiteY1581" fmla="*/ 1277505 h 4525940"/>
              <a:gd name="connsiteX1582" fmla="*/ 4108517 w 4545947"/>
              <a:gd name="connsiteY1582" fmla="*/ 1278416 h 4525940"/>
              <a:gd name="connsiteX1583" fmla="*/ 4126752 w 4545947"/>
              <a:gd name="connsiteY1583" fmla="*/ 1287969 h 4525940"/>
              <a:gd name="connsiteX1584" fmla="*/ 4127806 w 4545947"/>
              <a:gd name="connsiteY1584" fmla="*/ 1299575 h 4525940"/>
              <a:gd name="connsiteX1585" fmla="*/ 4133874 w 4545947"/>
              <a:gd name="connsiteY1585" fmla="*/ 1305093 h 4525940"/>
              <a:gd name="connsiteX1586" fmla="*/ 4144844 w 4545947"/>
              <a:gd name="connsiteY1586" fmla="*/ 1283803 h 4525940"/>
              <a:gd name="connsiteX1587" fmla="*/ 4153286 w 4545947"/>
              <a:gd name="connsiteY1587" fmla="*/ 1265548 h 4525940"/>
              <a:gd name="connsiteX1588" fmla="*/ 4163125 w 4545947"/>
              <a:gd name="connsiteY1588" fmla="*/ 1279728 h 4525940"/>
              <a:gd name="connsiteX1589" fmla="*/ 4172531 w 4545947"/>
              <a:gd name="connsiteY1589" fmla="*/ 1296118 h 4525940"/>
              <a:gd name="connsiteX1590" fmla="*/ 4193740 w 4545947"/>
              <a:gd name="connsiteY1590" fmla="*/ 1257851 h 4525940"/>
              <a:gd name="connsiteX1591" fmla="*/ 4196823 w 4545947"/>
              <a:gd name="connsiteY1591" fmla="*/ 1240225 h 4525940"/>
              <a:gd name="connsiteX1592" fmla="*/ 4201692 w 4545947"/>
              <a:gd name="connsiteY1592" fmla="*/ 1230729 h 4525940"/>
              <a:gd name="connsiteX1593" fmla="*/ 4212078 w 4545947"/>
              <a:gd name="connsiteY1593" fmla="*/ 1221232 h 4525940"/>
              <a:gd name="connsiteX1594" fmla="*/ 4225197 w 4545947"/>
              <a:gd name="connsiteY1594" fmla="*/ 1241016 h 4525940"/>
              <a:gd name="connsiteX1595" fmla="*/ 4227930 w 4545947"/>
              <a:gd name="connsiteY1595" fmla="*/ 1273238 h 4525940"/>
              <a:gd name="connsiteX1596" fmla="*/ 4236457 w 4545947"/>
              <a:gd name="connsiteY1596" fmla="*/ 1296187 h 4525940"/>
              <a:gd name="connsiteX1597" fmla="*/ 4258151 w 4545947"/>
              <a:gd name="connsiteY1597" fmla="*/ 1418012 h 4525940"/>
              <a:gd name="connsiteX1598" fmla="*/ 4264204 w 4545947"/>
              <a:gd name="connsiteY1598" fmla="*/ 1466038 h 4525940"/>
              <a:gd name="connsiteX1599" fmla="*/ 4291061 w 4545947"/>
              <a:gd name="connsiteY1599" fmla="*/ 1458229 h 4525940"/>
              <a:gd name="connsiteX1600" fmla="*/ 4302556 w 4545947"/>
              <a:gd name="connsiteY1600" fmla="*/ 1453466 h 4525940"/>
              <a:gd name="connsiteX1601" fmla="*/ 4288263 w 4545947"/>
              <a:gd name="connsiteY1601" fmla="*/ 1485776 h 4525940"/>
              <a:gd name="connsiteX1602" fmla="*/ 4273845 w 4545947"/>
              <a:gd name="connsiteY1602" fmla="*/ 1491271 h 4525940"/>
              <a:gd name="connsiteX1603" fmla="*/ 4274670 w 4545947"/>
              <a:gd name="connsiteY1603" fmla="*/ 1576119 h 4525940"/>
              <a:gd name="connsiteX1604" fmla="*/ 4280135 w 4545947"/>
              <a:gd name="connsiteY1604" fmla="*/ 1663208 h 4525940"/>
              <a:gd name="connsiteX1605" fmla="*/ 4284796 w 4545947"/>
              <a:gd name="connsiteY1605" fmla="*/ 1691826 h 4525940"/>
              <a:gd name="connsiteX1606" fmla="*/ 4295844 w 4545947"/>
              <a:gd name="connsiteY1606" fmla="*/ 1749682 h 4525940"/>
              <a:gd name="connsiteX1607" fmla="*/ 4309600 w 4545947"/>
              <a:gd name="connsiteY1607" fmla="*/ 1836731 h 4525940"/>
              <a:gd name="connsiteX1608" fmla="*/ 4316241 w 4545947"/>
              <a:gd name="connsiteY1608" fmla="*/ 1892303 h 4525940"/>
              <a:gd name="connsiteX1609" fmla="*/ 4310107 w 4545947"/>
              <a:gd name="connsiteY1609" fmla="*/ 1957356 h 4525940"/>
              <a:gd name="connsiteX1610" fmla="*/ 4312284 w 4545947"/>
              <a:gd name="connsiteY1610" fmla="*/ 1985845 h 4525940"/>
              <a:gd name="connsiteX1611" fmla="*/ 4322081 w 4545947"/>
              <a:gd name="connsiteY1611" fmla="*/ 2014172 h 4525940"/>
              <a:gd name="connsiteX1612" fmla="*/ 4328981 w 4545947"/>
              <a:gd name="connsiteY1612" fmla="*/ 2031582 h 4525940"/>
              <a:gd name="connsiteX1613" fmla="*/ 4332880 w 4545947"/>
              <a:gd name="connsiteY1613" fmla="*/ 2043469 h 4525940"/>
              <a:gd name="connsiteX1614" fmla="*/ 4353651 w 4545947"/>
              <a:gd name="connsiteY1614" fmla="*/ 2056924 h 4525940"/>
              <a:gd name="connsiteX1615" fmla="*/ 4363490 w 4545947"/>
              <a:gd name="connsiteY1615" fmla="*/ 2035116 h 4525940"/>
              <a:gd name="connsiteX1616" fmla="*/ 4378404 w 4545947"/>
              <a:gd name="connsiteY1616" fmla="*/ 2019721 h 4525940"/>
              <a:gd name="connsiteX1617" fmla="*/ 4381043 w 4545947"/>
              <a:gd name="connsiteY1617" fmla="*/ 2075898 h 4525940"/>
              <a:gd name="connsiteX1618" fmla="*/ 4368169 w 4545947"/>
              <a:gd name="connsiteY1618" fmla="*/ 2077583 h 4525940"/>
              <a:gd name="connsiteX1619" fmla="*/ 4352226 w 4545947"/>
              <a:gd name="connsiteY1619" fmla="*/ 2073792 h 4525940"/>
              <a:gd name="connsiteX1620" fmla="*/ 4348141 w 4545947"/>
              <a:gd name="connsiteY1620" fmla="*/ 2106926 h 4525940"/>
              <a:gd name="connsiteX1621" fmla="*/ 4351103 w 4545947"/>
              <a:gd name="connsiteY1621" fmla="*/ 2147120 h 4525940"/>
              <a:gd name="connsiteX1622" fmla="*/ 4355016 w 4545947"/>
              <a:gd name="connsiteY1622" fmla="*/ 2158199 h 4525940"/>
              <a:gd name="connsiteX1623" fmla="*/ 4359117 w 4545947"/>
              <a:gd name="connsiteY1623" fmla="*/ 2167695 h 4525940"/>
              <a:gd name="connsiteX1624" fmla="*/ 4363490 w 4545947"/>
              <a:gd name="connsiteY1624" fmla="*/ 2177191 h 4525940"/>
              <a:gd name="connsiteX1625" fmla="*/ 4362923 w 4545947"/>
              <a:gd name="connsiteY1625" fmla="*/ 2213465 h 4525940"/>
              <a:gd name="connsiteX1626" fmla="*/ 4355271 w 4545947"/>
              <a:gd name="connsiteY1626" fmla="*/ 2293337 h 4525940"/>
              <a:gd name="connsiteX1627" fmla="*/ 4360370 w 4545947"/>
              <a:gd name="connsiteY1627" fmla="*/ 2373116 h 4525940"/>
              <a:gd name="connsiteX1628" fmla="*/ 4371450 w 4545947"/>
              <a:gd name="connsiteY1628" fmla="*/ 2434355 h 4525940"/>
              <a:gd name="connsiteX1629" fmla="*/ 4362612 w 4545947"/>
              <a:gd name="connsiteY1629" fmla="*/ 2455749 h 4525940"/>
              <a:gd name="connsiteX1630" fmla="*/ 4363396 w 4545947"/>
              <a:gd name="connsiteY1630" fmla="*/ 2497396 h 4525940"/>
              <a:gd name="connsiteX1631" fmla="*/ 4369984 w 4545947"/>
              <a:gd name="connsiteY1631" fmla="*/ 2601191 h 4525940"/>
              <a:gd name="connsiteX1632" fmla="*/ 4376297 w 4545947"/>
              <a:gd name="connsiteY1632" fmla="*/ 2702374 h 4525940"/>
              <a:gd name="connsiteX1633" fmla="*/ 4383427 w 4545947"/>
              <a:gd name="connsiteY1633" fmla="*/ 2767613 h 4525940"/>
              <a:gd name="connsiteX1634" fmla="*/ 4390327 w 4545947"/>
              <a:gd name="connsiteY1634" fmla="*/ 2829270 h 4525940"/>
              <a:gd name="connsiteX1635" fmla="*/ 4394101 w 4545947"/>
              <a:gd name="connsiteY1635" fmla="*/ 2854279 h 4525940"/>
              <a:gd name="connsiteX1636" fmla="*/ 4401330 w 4545947"/>
              <a:gd name="connsiteY1636" fmla="*/ 2885145 h 4525940"/>
              <a:gd name="connsiteX1637" fmla="*/ 4403735 w 4545947"/>
              <a:gd name="connsiteY1637" fmla="*/ 2918518 h 4525940"/>
              <a:gd name="connsiteX1638" fmla="*/ 4402014 w 4545947"/>
              <a:gd name="connsiteY1638" fmla="*/ 2949378 h 4525940"/>
              <a:gd name="connsiteX1639" fmla="*/ 4413722 w 4545947"/>
              <a:gd name="connsiteY1639" fmla="*/ 2976462 h 4525940"/>
              <a:gd name="connsiteX1640" fmla="*/ 4436955 w 4545947"/>
              <a:gd name="connsiteY1640" fmla="*/ 2992606 h 4525940"/>
              <a:gd name="connsiteX1641" fmla="*/ 4438402 w 4545947"/>
              <a:gd name="connsiteY1641" fmla="*/ 2962218 h 4525940"/>
              <a:gd name="connsiteX1642" fmla="*/ 4432140 w 4545947"/>
              <a:gd name="connsiteY1642" fmla="*/ 2940257 h 4525940"/>
              <a:gd name="connsiteX1643" fmla="*/ 4420579 w 4545947"/>
              <a:gd name="connsiteY1643" fmla="*/ 2904157 h 4525940"/>
              <a:gd name="connsiteX1644" fmla="*/ 4411480 w 4545947"/>
              <a:gd name="connsiteY1644" fmla="*/ 2890017 h 4525940"/>
              <a:gd name="connsiteX1645" fmla="*/ 4423561 w 4545947"/>
              <a:gd name="connsiteY1645" fmla="*/ 2875699 h 4525940"/>
              <a:gd name="connsiteX1646" fmla="*/ 4459419 w 4545947"/>
              <a:gd name="connsiteY1646" fmla="*/ 2869941 h 4525940"/>
              <a:gd name="connsiteX1647" fmla="*/ 4452464 w 4545947"/>
              <a:gd name="connsiteY1647" fmla="*/ 2935605 h 4525940"/>
              <a:gd name="connsiteX1648" fmla="*/ 4450005 w 4545947"/>
              <a:gd name="connsiteY1648" fmla="*/ 2962218 h 4525940"/>
              <a:gd name="connsiteX1649" fmla="*/ 4461356 w 4545947"/>
              <a:gd name="connsiteY1649" fmla="*/ 2981627 h 4525940"/>
              <a:gd name="connsiteX1650" fmla="*/ 4462298 w 4545947"/>
              <a:gd name="connsiteY1650" fmla="*/ 3012197 h 4525940"/>
              <a:gd name="connsiteX1651" fmla="*/ 4458544 w 4545947"/>
              <a:gd name="connsiteY1651" fmla="*/ 3047075 h 4525940"/>
              <a:gd name="connsiteX1652" fmla="*/ 4466982 w 4545947"/>
              <a:gd name="connsiteY1652" fmla="*/ 3096545 h 4525940"/>
              <a:gd name="connsiteX1653" fmla="*/ 4476717 w 4545947"/>
              <a:gd name="connsiteY1653" fmla="*/ 3145393 h 4525940"/>
              <a:gd name="connsiteX1654" fmla="*/ 4482109 w 4545947"/>
              <a:gd name="connsiteY1654" fmla="*/ 3209351 h 4525940"/>
              <a:gd name="connsiteX1655" fmla="*/ 4491442 w 4545947"/>
              <a:gd name="connsiteY1655" fmla="*/ 3282990 h 4525940"/>
              <a:gd name="connsiteX1656" fmla="*/ 4496943 w 4545947"/>
              <a:gd name="connsiteY1656" fmla="*/ 3316228 h 4525940"/>
              <a:gd name="connsiteX1657" fmla="*/ 4479522 w 4545947"/>
              <a:gd name="connsiteY1657" fmla="*/ 3318328 h 4525940"/>
              <a:gd name="connsiteX1658" fmla="*/ 4452840 w 4545947"/>
              <a:gd name="connsiteY1658" fmla="*/ 3272430 h 4525940"/>
              <a:gd name="connsiteX1659" fmla="*/ 4442203 w 4545947"/>
              <a:gd name="connsiteY1659" fmla="*/ 3311385 h 4525940"/>
              <a:gd name="connsiteX1660" fmla="*/ 4435495 w 4545947"/>
              <a:gd name="connsiteY1660" fmla="*/ 3340023 h 4525940"/>
              <a:gd name="connsiteX1661" fmla="*/ 4431405 w 4545947"/>
              <a:gd name="connsiteY1661" fmla="*/ 3361676 h 4525940"/>
              <a:gd name="connsiteX1662" fmla="*/ 4423901 w 4545947"/>
              <a:gd name="connsiteY1662" fmla="*/ 3368237 h 4525940"/>
              <a:gd name="connsiteX1663" fmla="*/ 4411592 w 4545947"/>
              <a:gd name="connsiteY1663" fmla="*/ 3332307 h 4525940"/>
              <a:gd name="connsiteX1664" fmla="*/ 4397896 w 4545947"/>
              <a:gd name="connsiteY1664" fmla="*/ 3297338 h 4525940"/>
              <a:gd name="connsiteX1665" fmla="*/ 4381244 w 4545947"/>
              <a:gd name="connsiteY1665" fmla="*/ 3297518 h 4525940"/>
              <a:gd name="connsiteX1666" fmla="*/ 4387970 w 4545947"/>
              <a:gd name="connsiteY1666" fmla="*/ 3342585 h 4525940"/>
              <a:gd name="connsiteX1667" fmla="*/ 4389728 w 4545947"/>
              <a:gd name="connsiteY1667" fmla="*/ 3411709 h 4525940"/>
              <a:gd name="connsiteX1668" fmla="*/ 4385355 w 4545947"/>
              <a:gd name="connsiteY1668" fmla="*/ 3437032 h 4525940"/>
              <a:gd name="connsiteX1669" fmla="*/ 4389728 w 4545947"/>
              <a:gd name="connsiteY1669" fmla="*/ 3462355 h 4525940"/>
              <a:gd name="connsiteX1670" fmla="*/ 4394101 w 4545947"/>
              <a:gd name="connsiteY1670" fmla="*/ 3477824 h 4525940"/>
              <a:gd name="connsiteX1671" fmla="*/ 4403134 w 4545947"/>
              <a:gd name="connsiteY1671" fmla="*/ 3502453 h 4525940"/>
              <a:gd name="connsiteX1672" fmla="*/ 4409301 w 4545947"/>
              <a:gd name="connsiteY1672" fmla="*/ 3533741 h 4525940"/>
              <a:gd name="connsiteX1673" fmla="*/ 4411334 w 4545947"/>
              <a:gd name="connsiteY1673" fmla="*/ 3560252 h 4525940"/>
              <a:gd name="connsiteX1674" fmla="*/ 4413426 w 4545947"/>
              <a:gd name="connsiteY1674" fmla="*/ 3586301 h 4525940"/>
              <a:gd name="connsiteX1675" fmla="*/ 4417255 w 4545947"/>
              <a:gd name="connsiteY1675" fmla="*/ 3607965 h 4525940"/>
              <a:gd name="connsiteX1676" fmla="*/ 4421605 w 4545947"/>
              <a:gd name="connsiteY1676" fmla="*/ 3620627 h 4525940"/>
              <a:gd name="connsiteX1677" fmla="*/ 4413131 w 4545947"/>
              <a:gd name="connsiteY1677" fmla="*/ 3633289 h 4525940"/>
              <a:gd name="connsiteX1678" fmla="*/ 4404428 w 4545947"/>
              <a:gd name="connsiteY1678" fmla="*/ 3642785 h 4525940"/>
              <a:gd name="connsiteX1679" fmla="*/ 4393632 w 4545947"/>
              <a:gd name="connsiteY1679" fmla="*/ 3652281 h 4525940"/>
              <a:gd name="connsiteX1680" fmla="*/ 4385355 w 4545947"/>
              <a:gd name="connsiteY1680" fmla="*/ 3629925 h 4525940"/>
              <a:gd name="connsiteX1681" fmla="*/ 4391914 w 4545947"/>
              <a:gd name="connsiteY1681" fmla="*/ 3603924 h 4525940"/>
              <a:gd name="connsiteX1682" fmla="*/ 4398473 w 4545947"/>
              <a:gd name="connsiteY1682" fmla="*/ 3585352 h 4525940"/>
              <a:gd name="connsiteX1683" fmla="*/ 4373070 w 4545947"/>
              <a:gd name="connsiteY1683" fmla="*/ 3557318 h 4525940"/>
              <a:gd name="connsiteX1684" fmla="*/ 4362940 w 4545947"/>
              <a:gd name="connsiteY1684" fmla="*/ 3508318 h 4525940"/>
              <a:gd name="connsiteX1685" fmla="*/ 4359759 w 4545947"/>
              <a:gd name="connsiteY1685" fmla="*/ 3486782 h 4525940"/>
              <a:gd name="connsiteX1686" fmla="*/ 4332004 w 4545947"/>
              <a:gd name="connsiteY1686" fmla="*/ 3485660 h 4525940"/>
              <a:gd name="connsiteX1687" fmla="*/ 4317200 w 4545947"/>
              <a:gd name="connsiteY1687" fmla="*/ 3482495 h 4525940"/>
              <a:gd name="connsiteX1688" fmla="*/ 4293795 w 4545947"/>
              <a:gd name="connsiteY1688" fmla="*/ 3480613 h 4525940"/>
              <a:gd name="connsiteX1689" fmla="*/ 4300183 w 4545947"/>
              <a:gd name="connsiteY1689" fmla="*/ 3523346 h 4525940"/>
              <a:gd name="connsiteX1690" fmla="*/ 4310997 w 4545947"/>
              <a:gd name="connsiteY1690" fmla="*/ 3568024 h 4525940"/>
              <a:gd name="connsiteX1691" fmla="*/ 4315459 w 4545947"/>
              <a:gd name="connsiteY1691" fmla="*/ 3585871 h 4525940"/>
              <a:gd name="connsiteX1692" fmla="*/ 4302514 w 4545947"/>
              <a:gd name="connsiteY1692" fmla="*/ 3601634 h 4525940"/>
              <a:gd name="connsiteX1693" fmla="*/ 4271659 w 4545947"/>
              <a:gd name="connsiteY1693" fmla="*/ 3548478 h 4525940"/>
              <a:gd name="connsiteX1694" fmla="*/ 4251054 w 4545947"/>
              <a:gd name="connsiteY1694" fmla="*/ 3524081 h 4525940"/>
              <a:gd name="connsiteX1695" fmla="*/ 4236675 w 4545947"/>
              <a:gd name="connsiteY1695" fmla="*/ 3514175 h 4525940"/>
              <a:gd name="connsiteX1696" fmla="*/ 4221370 w 4545947"/>
              <a:gd name="connsiteY1696" fmla="*/ 3485789 h 4525940"/>
              <a:gd name="connsiteX1697" fmla="*/ 4206065 w 4545947"/>
              <a:gd name="connsiteY1697" fmla="*/ 3466216 h 4525940"/>
              <a:gd name="connsiteX1698" fmla="*/ 4197295 w 4545947"/>
              <a:gd name="connsiteY1698" fmla="*/ 3460530 h 4525940"/>
              <a:gd name="connsiteX1699" fmla="*/ 4181991 w 4545947"/>
              <a:gd name="connsiteY1699" fmla="*/ 3455997 h 4525940"/>
              <a:gd name="connsiteX1700" fmla="*/ 4175454 w 4545947"/>
              <a:gd name="connsiteY1700" fmla="*/ 3466856 h 4525940"/>
              <a:gd name="connsiteX1701" fmla="*/ 4159615 w 4545947"/>
              <a:gd name="connsiteY1701" fmla="*/ 3483426 h 4525940"/>
              <a:gd name="connsiteX1702" fmla="*/ 4131533 w 4545947"/>
              <a:gd name="connsiteY1702" fmla="*/ 3479975 h 4525940"/>
              <a:gd name="connsiteX1703" fmla="*/ 4116891 w 4545947"/>
              <a:gd name="connsiteY1703" fmla="*/ 3472870 h 4525940"/>
              <a:gd name="connsiteX1704" fmla="*/ 4112678 w 4545947"/>
              <a:gd name="connsiteY1704" fmla="*/ 3467929 h 4525940"/>
              <a:gd name="connsiteX1705" fmla="*/ 4109861 w 4545947"/>
              <a:gd name="connsiteY1705" fmla="*/ 3494010 h 4525940"/>
              <a:gd name="connsiteX1706" fmla="*/ 4107881 w 4545947"/>
              <a:gd name="connsiteY1706" fmla="*/ 3533957 h 4525940"/>
              <a:gd name="connsiteX1707" fmla="*/ 4111751 w 4545947"/>
              <a:gd name="connsiteY1707" fmla="*/ 3655281 h 4525940"/>
              <a:gd name="connsiteX1708" fmla="*/ 4115825 w 4545947"/>
              <a:gd name="connsiteY1708" fmla="*/ 3697990 h 4525940"/>
              <a:gd name="connsiteX1709" fmla="*/ 4100821 w 4545947"/>
              <a:gd name="connsiteY1709" fmla="*/ 3693212 h 4525940"/>
              <a:gd name="connsiteX1710" fmla="*/ 4089044 w 4545947"/>
              <a:gd name="connsiteY1710" fmla="*/ 3691653 h 4525940"/>
              <a:gd name="connsiteX1711" fmla="*/ 4082530 w 4545947"/>
              <a:gd name="connsiteY1711" fmla="*/ 3698884 h 4525940"/>
              <a:gd name="connsiteX1712" fmla="*/ 4080291 w 4545947"/>
              <a:gd name="connsiteY1712" fmla="*/ 3710817 h 4525940"/>
              <a:gd name="connsiteX1713" fmla="*/ 4080385 w 4545947"/>
              <a:gd name="connsiteY1713" fmla="*/ 3730337 h 4525940"/>
              <a:gd name="connsiteX1714" fmla="*/ 4066131 w 4545947"/>
              <a:gd name="connsiteY1714" fmla="*/ 3728475 h 4525940"/>
              <a:gd name="connsiteX1715" fmla="*/ 4057262 w 4545947"/>
              <a:gd name="connsiteY1715" fmla="*/ 3702834 h 4525940"/>
              <a:gd name="connsiteX1716" fmla="*/ 4050961 w 4545947"/>
              <a:gd name="connsiteY1716" fmla="*/ 3689949 h 4525940"/>
              <a:gd name="connsiteX1717" fmla="*/ 4049965 w 4545947"/>
              <a:gd name="connsiteY1717" fmla="*/ 3683935 h 4525940"/>
              <a:gd name="connsiteX1718" fmla="*/ 4040220 w 4545947"/>
              <a:gd name="connsiteY1718" fmla="*/ 3663718 h 4525940"/>
              <a:gd name="connsiteX1719" fmla="*/ 4039152 w 4545947"/>
              <a:gd name="connsiteY1719" fmla="*/ 3641032 h 4525940"/>
              <a:gd name="connsiteX1720" fmla="*/ 4032349 w 4545947"/>
              <a:gd name="connsiteY1720" fmla="*/ 3604142 h 4525940"/>
              <a:gd name="connsiteX1721" fmla="*/ 4021554 w 4545947"/>
              <a:gd name="connsiteY1721" fmla="*/ 3580466 h 4525940"/>
              <a:gd name="connsiteX1722" fmla="*/ 4017114 w 4545947"/>
              <a:gd name="connsiteY1722" fmla="*/ 3577808 h 4525940"/>
              <a:gd name="connsiteX1723" fmla="*/ 4006744 w 4545947"/>
              <a:gd name="connsiteY1723" fmla="*/ 3605307 h 4525940"/>
              <a:gd name="connsiteX1724" fmla="*/ 3996422 w 4545947"/>
              <a:gd name="connsiteY1724" fmla="*/ 3630123 h 4525940"/>
              <a:gd name="connsiteX1725" fmla="*/ 3976929 w 4545947"/>
              <a:gd name="connsiteY1725" fmla="*/ 3557734 h 4525940"/>
              <a:gd name="connsiteX1726" fmla="*/ 3967010 w 4545947"/>
              <a:gd name="connsiteY1726" fmla="*/ 3524497 h 4525940"/>
              <a:gd name="connsiteX1727" fmla="*/ 3936518 w 4545947"/>
              <a:gd name="connsiteY1727" fmla="*/ 3522521 h 4525940"/>
              <a:gd name="connsiteX1728" fmla="*/ 3956830 w 4545947"/>
              <a:gd name="connsiteY1728" fmla="*/ 3588973 h 4525940"/>
              <a:gd name="connsiteX1729" fmla="*/ 3961181 w 4545947"/>
              <a:gd name="connsiteY1729" fmla="*/ 3603827 h 4525940"/>
              <a:gd name="connsiteX1730" fmla="*/ 3977941 w 4545947"/>
              <a:gd name="connsiteY1730" fmla="*/ 3658612 h 4525940"/>
              <a:gd name="connsiteX1731" fmla="*/ 3989531 w 4545947"/>
              <a:gd name="connsiteY1731" fmla="*/ 3709893 h 4525940"/>
              <a:gd name="connsiteX1732" fmla="*/ 3978673 w 4545947"/>
              <a:gd name="connsiteY1732" fmla="*/ 3722438 h 4525940"/>
              <a:gd name="connsiteX1733" fmla="*/ 3962900 w 4545947"/>
              <a:gd name="connsiteY1733" fmla="*/ 3690266 h 4525940"/>
              <a:gd name="connsiteX1734" fmla="*/ 3952435 w 4545947"/>
              <a:gd name="connsiteY1734" fmla="*/ 3684056 h 4525940"/>
              <a:gd name="connsiteX1735" fmla="*/ 3942083 w 4545947"/>
              <a:gd name="connsiteY1735" fmla="*/ 3674084 h 4525940"/>
              <a:gd name="connsiteX1736" fmla="*/ 3920131 w 4545947"/>
              <a:gd name="connsiteY1736" fmla="*/ 3685884 h 4525940"/>
              <a:gd name="connsiteX1737" fmla="*/ 3913664 w 4545947"/>
              <a:gd name="connsiteY1737" fmla="*/ 3719597 h 4525940"/>
              <a:gd name="connsiteX1738" fmla="*/ 3920091 w 4545947"/>
              <a:gd name="connsiteY1738" fmla="*/ 3744079 h 4525940"/>
              <a:gd name="connsiteX1739" fmla="*/ 3924301 w 4545947"/>
              <a:gd name="connsiteY1739" fmla="*/ 3764654 h 4525940"/>
              <a:gd name="connsiteX1740" fmla="*/ 3918458 w 4545947"/>
              <a:gd name="connsiteY1740" fmla="*/ 3778898 h 4525940"/>
              <a:gd name="connsiteX1741" fmla="*/ 3906709 w 4545947"/>
              <a:gd name="connsiteY1741" fmla="*/ 3750028 h 4525940"/>
              <a:gd name="connsiteX1742" fmla="*/ 3894186 w 4545947"/>
              <a:gd name="connsiteY1742" fmla="*/ 3723122 h 4525940"/>
              <a:gd name="connsiteX1743" fmla="*/ 3883222 w 4545947"/>
              <a:gd name="connsiteY1743" fmla="*/ 3739717 h 4525940"/>
              <a:gd name="connsiteX1744" fmla="*/ 3875601 w 4545947"/>
              <a:gd name="connsiteY1744" fmla="*/ 3757787 h 4525940"/>
              <a:gd name="connsiteX1745" fmla="*/ 3872041 w 4545947"/>
              <a:gd name="connsiteY1745" fmla="*/ 3776393 h 4525940"/>
              <a:gd name="connsiteX1746" fmla="*/ 3863739 w 4545947"/>
              <a:gd name="connsiteY1746" fmla="*/ 3783647 h 4525940"/>
              <a:gd name="connsiteX1747" fmla="*/ 3862885 w 4545947"/>
              <a:gd name="connsiteY1747" fmla="*/ 3785229 h 4525940"/>
              <a:gd name="connsiteX1748" fmla="*/ 3874122 w 4545947"/>
              <a:gd name="connsiteY1748" fmla="*/ 3823214 h 4525940"/>
              <a:gd name="connsiteX1749" fmla="*/ 3883234 w 4545947"/>
              <a:gd name="connsiteY1749" fmla="*/ 3899185 h 4525940"/>
              <a:gd name="connsiteX1750" fmla="*/ 3862599 w 4545947"/>
              <a:gd name="connsiteY1750" fmla="*/ 3845738 h 4525940"/>
              <a:gd name="connsiteX1751" fmla="*/ 3854301 w 4545947"/>
              <a:gd name="connsiteY1751" fmla="*/ 3812039 h 4525940"/>
              <a:gd name="connsiteX1752" fmla="*/ 3846160 w 4545947"/>
              <a:gd name="connsiteY1752" fmla="*/ 3796165 h 4525940"/>
              <a:gd name="connsiteX1753" fmla="*/ 3819335 w 4545947"/>
              <a:gd name="connsiteY1753" fmla="*/ 3805472 h 4525940"/>
              <a:gd name="connsiteX1754" fmla="*/ 3810462 w 4545947"/>
              <a:gd name="connsiteY1754" fmla="*/ 3833067 h 4525940"/>
              <a:gd name="connsiteX1755" fmla="*/ 3788709 w 4545947"/>
              <a:gd name="connsiteY1755" fmla="*/ 3831946 h 4525940"/>
              <a:gd name="connsiteX1756" fmla="*/ 3767992 w 4545947"/>
              <a:gd name="connsiteY1756" fmla="*/ 3797873 h 4525940"/>
              <a:gd name="connsiteX1757" fmla="*/ 3746015 w 4545947"/>
              <a:gd name="connsiteY1757" fmla="*/ 3752380 h 4525940"/>
              <a:gd name="connsiteX1758" fmla="*/ 3711733 w 4545947"/>
              <a:gd name="connsiteY1758" fmla="*/ 3702928 h 4525940"/>
              <a:gd name="connsiteX1759" fmla="*/ 3701350 w 4545947"/>
              <a:gd name="connsiteY1759" fmla="*/ 3706771 h 4525940"/>
              <a:gd name="connsiteX1760" fmla="*/ 3698806 w 4545947"/>
              <a:gd name="connsiteY1760" fmla="*/ 3728251 h 4525940"/>
              <a:gd name="connsiteX1761" fmla="*/ 3703179 w 4545947"/>
              <a:gd name="connsiteY1761" fmla="*/ 3747244 h 4525940"/>
              <a:gd name="connsiteX1762" fmla="*/ 3707552 w 4545947"/>
              <a:gd name="connsiteY1762" fmla="*/ 3766237 h 4525940"/>
              <a:gd name="connsiteX1763" fmla="*/ 3711925 w 4545947"/>
              <a:gd name="connsiteY1763" fmla="*/ 3776107 h 4525940"/>
              <a:gd name="connsiteX1764" fmla="*/ 3716310 w 4545947"/>
              <a:gd name="connsiteY1764" fmla="*/ 3782052 h 4525940"/>
              <a:gd name="connsiteX1765" fmla="*/ 3718822 w 4545947"/>
              <a:gd name="connsiteY1765" fmla="*/ 3792758 h 4525940"/>
              <a:gd name="connsiteX1766" fmla="*/ 3716622 w 4545947"/>
              <a:gd name="connsiteY1766" fmla="*/ 3815301 h 4525940"/>
              <a:gd name="connsiteX1767" fmla="*/ 3709009 w 4545947"/>
              <a:gd name="connsiteY1767" fmla="*/ 3823214 h 4525940"/>
              <a:gd name="connsiteX1768" fmla="*/ 3704652 w 4545947"/>
              <a:gd name="connsiteY1768" fmla="*/ 3827457 h 4525940"/>
              <a:gd name="connsiteX1769" fmla="*/ 3700954 w 4545947"/>
              <a:gd name="connsiteY1769" fmla="*/ 3846344 h 4525940"/>
              <a:gd name="connsiteX1770" fmla="*/ 3690971 w 4545947"/>
              <a:gd name="connsiteY1770" fmla="*/ 3884370 h 4525940"/>
              <a:gd name="connsiteX1771" fmla="*/ 3672702 w 4545947"/>
              <a:gd name="connsiteY1771" fmla="*/ 3896534 h 4525940"/>
              <a:gd name="connsiteX1772" fmla="*/ 3664440 w 4545947"/>
              <a:gd name="connsiteY1772" fmla="*/ 3880192 h 4525940"/>
              <a:gd name="connsiteX1773" fmla="*/ 3657424 w 4545947"/>
              <a:gd name="connsiteY1773" fmla="*/ 3839042 h 4525940"/>
              <a:gd name="connsiteX1774" fmla="*/ 3650356 w 4545947"/>
              <a:gd name="connsiteY1774" fmla="*/ 3797891 h 4525940"/>
              <a:gd name="connsiteX1775" fmla="*/ 3646331 w 4545947"/>
              <a:gd name="connsiteY1775" fmla="*/ 3780002 h 4525940"/>
              <a:gd name="connsiteX1776" fmla="*/ 3636210 w 4545947"/>
              <a:gd name="connsiteY1776" fmla="*/ 3748347 h 4525940"/>
              <a:gd name="connsiteX1777" fmla="*/ 3622279 w 4545947"/>
              <a:gd name="connsiteY1777" fmla="*/ 3740913 h 4525940"/>
              <a:gd name="connsiteX1778" fmla="*/ 3620351 w 4545947"/>
              <a:gd name="connsiteY1778" fmla="*/ 3747244 h 4525940"/>
              <a:gd name="connsiteX1779" fmla="*/ 3615720 w 4545947"/>
              <a:gd name="connsiteY1779" fmla="*/ 3739557 h 4525940"/>
              <a:gd name="connsiteX1780" fmla="*/ 3609235 w 4545947"/>
              <a:gd name="connsiteY1780" fmla="*/ 3741257 h 4525940"/>
              <a:gd name="connsiteX1781" fmla="*/ 3607022 w 4545947"/>
              <a:gd name="connsiteY1781" fmla="*/ 3883441 h 4525940"/>
              <a:gd name="connsiteX1782" fmla="*/ 3620970 w 4545947"/>
              <a:gd name="connsiteY1782" fmla="*/ 3926650 h 4525940"/>
              <a:gd name="connsiteX1783" fmla="*/ 3635418 w 4545947"/>
              <a:gd name="connsiteY1783" fmla="*/ 3966357 h 4525940"/>
              <a:gd name="connsiteX1784" fmla="*/ 3641958 w 4545947"/>
              <a:gd name="connsiteY1784" fmla="*/ 3982842 h 4525940"/>
              <a:gd name="connsiteX1785" fmla="*/ 3653242 w 4545947"/>
              <a:gd name="connsiteY1785" fmla="*/ 4009926 h 4525940"/>
              <a:gd name="connsiteX1786" fmla="*/ 3661604 w 4545947"/>
              <a:gd name="connsiteY1786" fmla="*/ 4040922 h 4525940"/>
              <a:gd name="connsiteX1787" fmla="*/ 3669309 w 4545947"/>
              <a:gd name="connsiteY1787" fmla="*/ 4087671 h 4525940"/>
              <a:gd name="connsiteX1788" fmla="*/ 3678511 w 4545947"/>
              <a:gd name="connsiteY1788" fmla="*/ 4112573 h 4525940"/>
              <a:gd name="connsiteX1789" fmla="*/ 3681769 w 4545947"/>
              <a:gd name="connsiteY1789" fmla="*/ 4123786 h 4525940"/>
              <a:gd name="connsiteX1790" fmla="*/ 3680561 w 4545947"/>
              <a:gd name="connsiteY1790" fmla="*/ 4130756 h 4525940"/>
              <a:gd name="connsiteX1791" fmla="*/ 3678018 w 4545947"/>
              <a:gd name="connsiteY1791" fmla="*/ 4172994 h 4525940"/>
              <a:gd name="connsiteX1792" fmla="*/ 3686423 w 4545947"/>
              <a:gd name="connsiteY1792" fmla="*/ 4203066 h 4525940"/>
              <a:gd name="connsiteX1793" fmla="*/ 3687445 w 4545947"/>
              <a:gd name="connsiteY1793" fmla="*/ 4242725 h 4525940"/>
              <a:gd name="connsiteX1794" fmla="*/ 3674851 w 4545947"/>
              <a:gd name="connsiteY1794" fmla="*/ 4234494 h 4525940"/>
              <a:gd name="connsiteX1795" fmla="*/ 3672639 w 4545947"/>
              <a:gd name="connsiteY1795" fmla="*/ 4225288 h 4525940"/>
              <a:gd name="connsiteX1796" fmla="*/ 3668195 w 4545947"/>
              <a:gd name="connsiteY1796" fmla="*/ 4209798 h 4525940"/>
              <a:gd name="connsiteX1797" fmla="*/ 3661635 w 4545947"/>
              <a:gd name="connsiteY1797" fmla="*/ 4190404 h 4525940"/>
              <a:gd name="connsiteX1798" fmla="*/ 3655077 w 4545947"/>
              <a:gd name="connsiteY1798" fmla="*/ 4164306 h 4525940"/>
              <a:gd name="connsiteX1799" fmla="*/ 3650704 w 4545947"/>
              <a:gd name="connsiteY1799" fmla="*/ 4146088 h 4525940"/>
              <a:gd name="connsiteX1800" fmla="*/ 3646331 w 4545947"/>
              <a:gd name="connsiteY1800" fmla="*/ 4127870 h 4525940"/>
              <a:gd name="connsiteX1801" fmla="*/ 3640215 w 4545947"/>
              <a:gd name="connsiteY1801" fmla="*/ 4102305 h 4525940"/>
              <a:gd name="connsiteX1802" fmla="*/ 3628573 w 4545947"/>
              <a:gd name="connsiteY1802" fmla="*/ 4030629 h 4525940"/>
              <a:gd name="connsiteX1803" fmla="*/ 3619343 w 4545947"/>
              <a:gd name="connsiteY1803" fmla="*/ 4010560 h 4525940"/>
              <a:gd name="connsiteX1804" fmla="*/ 3613087 w 4545947"/>
              <a:gd name="connsiteY1804" fmla="*/ 3995194 h 4525940"/>
              <a:gd name="connsiteX1805" fmla="*/ 3611643 w 4545947"/>
              <a:gd name="connsiteY1805" fmla="*/ 3986775 h 4525940"/>
              <a:gd name="connsiteX1806" fmla="*/ 3606039 w 4545947"/>
              <a:gd name="connsiteY1806" fmla="*/ 3968824 h 4525940"/>
              <a:gd name="connsiteX1807" fmla="*/ 3589225 w 4545947"/>
              <a:gd name="connsiteY1807" fmla="*/ 3937170 h 4525940"/>
              <a:gd name="connsiteX1808" fmla="*/ 3580737 w 4545947"/>
              <a:gd name="connsiteY1808" fmla="*/ 3924882 h 4525940"/>
              <a:gd name="connsiteX1809" fmla="*/ 3576929 w 4545947"/>
              <a:gd name="connsiteY1809" fmla="*/ 3909186 h 4525940"/>
              <a:gd name="connsiteX1810" fmla="*/ 3570603 w 4545947"/>
              <a:gd name="connsiteY1810" fmla="*/ 3888238 h 4525940"/>
              <a:gd name="connsiteX1811" fmla="*/ 3554944 w 4545947"/>
              <a:gd name="connsiteY1811" fmla="*/ 3858187 h 4525940"/>
              <a:gd name="connsiteX1812" fmla="*/ 3538478 w 4545947"/>
              <a:gd name="connsiteY1812" fmla="*/ 3805368 h 4525940"/>
              <a:gd name="connsiteX1813" fmla="*/ 3533727 w 4545947"/>
              <a:gd name="connsiteY1813" fmla="*/ 3767505 h 4525940"/>
              <a:gd name="connsiteX1814" fmla="*/ 3522632 w 4545947"/>
              <a:gd name="connsiteY1814" fmla="*/ 3721158 h 4525940"/>
              <a:gd name="connsiteX1815" fmla="*/ 3513197 w 4545947"/>
              <a:gd name="connsiteY1815" fmla="*/ 3684068 h 4525940"/>
              <a:gd name="connsiteX1816" fmla="*/ 3499894 w 4545947"/>
              <a:gd name="connsiteY1816" fmla="*/ 3658986 h 4525940"/>
              <a:gd name="connsiteX1817" fmla="*/ 3469237 w 4545947"/>
              <a:gd name="connsiteY1817" fmla="*/ 3635573 h 4525940"/>
              <a:gd name="connsiteX1818" fmla="*/ 3467041 w 4545947"/>
              <a:gd name="connsiteY1818" fmla="*/ 3687101 h 4525940"/>
              <a:gd name="connsiteX1819" fmla="*/ 3471414 w 4545947"/>
              <a:gd name="connsiteY1819" fmla="*/ 3706153 h 4525940"/>
              <a:gd name="connsiteX1820" fmla="*/ 3476971 w 4545947"/>
              <a:gd name="connsiteY1820" fmla="*/ 3726354 h 4525940"/>
              <a:gd name="connsiteX1821" fmla="*/ 3490888 w 4545947"/>
              <a:gd name="connsiteY1821" fmla="*/ 3773042 h 4525940"/>
              <a:gd name="connsiteX1822" fmla="*/ 3493020 w 4545947"/>
              <a:gd name="connsiteY1822" fmla="*/ 3778898 h 4525940"/>
              <a:gd name="connsiteX1823" fmla="*/ 3497651 w 4545947"/>
              <a:gd name="connsiteY1823" fmla="*/ 3793950 h 4525940"/>
              <a:gd name="connsiteX1824" fmla="*/ 3504545 w 4545947"/>
              <a:gd name="connsiteY1824" fmla="*/ 3817285 h 4525940"/>
              <a:gd name="connsiteX1825" fmla="*/ 3508755 w 4545947"/>
              <a:gd name="connsiteY1825" fmla="*/ 3848132 h 4525940"/>
              <a:gd name="connsiteX1826" fmla="*/ 3510540 w 4545947"/>
              <a:gd name="connsiteY1826" fmla="*/ 3861199 h 4525940"/>
              <a:gd name="connsiteX1827" fmla="*/ 3515661 w 4545947"/>
              <a:gd name="connsiteY1827" fmla="*/ 3869113 h 4525940"/>
              <a:gd name="connsiteX1828" fmla="*/ 3519516 w 4545947"/>
              <a:gd name="connsiteY1828" fmla="*/ 3873861 h 4525940"/>
              <a:gd name="connsiteX1829" fmla="*/ 3523889 w 4545947"/>
              <a:gd name="connsiteY1829" fmla="*/ 3883622 h 4525940"/>
              <a:gd name="connsiteX1830" fmla="*/ 3532417 w 4545947"/>
              <a:gd name="connsiteY1830" fmla="*/ 3906635 h 4525940"/>
              <a:gd name="connsiteX1831" fmla="*/ 3543578 w 4545947"/>
              <a:gd name="connsiteY1831" fmla="*/ 3939608 h 4525940"/>
              <a:gd name="connsiteX1832" fmla="*/ 3572787 w 4545947"/>
              <a:gd name="connsiteY1832" fmla="*/ 4051368 h 4525940"/>
              <a:gd name="connsiteX1833" fmla="*/ 3585110 w 4545947"/>
              <a:gd name="connsiteY1833" fmla="*/ 4083170 h 4525940"/>
              <a:gd name="connsiteX1834" fmla="*/ 3588390 w 4545947"/>
              <a:gd name="connsiteY1834" fmla="*/ 4095491 h 4525940"/>
              <a:gd name="connsiteX1835" fmla="*/ 3600027 w 4545947"/>
              <a:gd name="connsiteY1835" fmla="*/ 4134333 h 4525940"/>
              <a:gd name="connsiteX1836" fmla="*/ 3580737 w 4545947"/>
              <a:gd name="connsiteY1836" fmla="*/ 4111046 h 4525940"/>
              <a:gd name="connsiteX1837" fmla="*/ 3576851 w 4545947"/>
              <a:gd name="connsiteY1837" fmla="*/ 4095441 h 4525940"/>
              <a:gd name="connsiteX1838" fmla="*/ 3570176 w 4545947"/>
              <a:gd name="connsiteY1838" fmla="*/ 4073920 h 4525940"/>
              <a:gd name="connsiteX1839" fmla="*/ 3543030 w 4545947"/>
              <a:gd name="connsiteY1839" fmla="*/ 4041258 h 4525940"/>
              <a:gd name="connsiteX1840" fmla="*/ 3534118 w 4545947"/>
              <a:gd name="connsiteY1840" fmla="*/ 4026138 h 4525940"/>
              <a:gd name="connsiteX1841" fmla="*/ 3530338 w 4545947"/>
              <a:gd name="connsiteY1841" fmla="*/ 4006809 h 4525940"/>
              <a:gd name="connsiteX1842" fmla="*/ 3529155 w 4545947"/>
              <a:gd name="connsiteY1842" fmla="*/ 3978011 h 4525940"/>
              <a:gd name="connsiteX1843" fmla="*/ 3526968 w 4545947"/>
              <a:gd name="connsiteY1843" fmla="*/ 3955240 h 4525940"/>
              <a:gd name="connsiteX1844" fmla="*/ 3519516 w 4545947"/>
              <a:gd name="connsiteY1844" fmla="*/ 3936183 h 4525940"/>
              <a:gd name="connsiteX1845" fmla="*/ 3508583 w 4545947"/>
              <a:gd name="connsiteY1845" fmla="*/ 3910715 h 4525940"/>
              <a:gd name="connsiteX1846" fmla="*/ 3497651 w 4545947"/>
              <a:gd name="connsiteY1846" fmla="*/ 3890210 h 4525940"/>
              <a:gd name="connsiteX1847" fmla="*/ 3472162 w 4545947"/>
              <a:gd name="connsiteY1847" fmla="*/ 3861199 h 4525940"/>
              <a:gd name="connsiteX1848" fmla="*/ 3462668 w 4545947"/>
              <a:gd name="connsiteY1848" fmla="*/ 3848911 h 4525940"/>
              <a:gd name="connsiteX1849" fmla="*/ 3458295 w 4545947"/>
              <a:gd name="connsiteY1849" fmla="*/ 3832711 h 4525940"/>
              <a:gd name="connsiteX1850" fmla="*/ 3453922 w 4545947"/>
              <a:gd name="connsiteY1850" fmla="*/ 3814611 h 4525940"/>
              <a:gd name="connsiteX1851" fmla="*/ 3450078 w 4545947"/>
              <a:gd name="connsiteY1851" fmla="*/ 3794409 h 4525940"/>
              <a:gd name="connsiteX1852" fmla="*/ 3440992 w 4545947"/>
              <a:gd name="connsiteY1852" fmla="*/ 3764654 h 4525940"/>
              <a:gd name="connsiteX1853" fmla="*/ 3431719 w 4545947"/>
              <a:gd name="connsiteY1853" fmla="*/ 3740913 h 4525940"/>
              <a:gd name="connsiteX1854" fmla="*/ 3427684 w 4545947"/>
              <a:gd name="connsiteY1854" fmla="*/ 3725861 h 4525940"/>
              <a:gd name="connsiteX1855" fmla="*/ 3420306 w 4545947"/>
              <a:gd name="connsiteY1855" fmla="*/ 3702120 h 4525940"/>
              <a:gd name="connsiteX1856" fmla="*/ 3416164 w 4545947"/>
              <a:gd name="connsiteY1856" fmla="*/ 3705901 h 4525940"/>
              <a:gd name="connsiteX1857" fmla="*/ 3416533 w 4545947"/>
              <a:gd name="connsiteY1857" fmla="*/ 3714219 h 4525940"/>
              <a:gd name="connsiteX1858" fmla="*/ 3402685 w 4545947"/>
              <a:gd name="connsiteY1858" fmla="*/ 3716112 h 4525940"/>
              <a:gd name="connsiteX1859" fmla="*/ 3393935 w 4545947"/>
              <a:gd name="connsiteY1859" fmla="*/ 3713735 h 4525940"/>
              <a:gd name="connsiteX1860" fmla="*/ 3387971 w 4545947"/>
              <a:gd name="connsiteY1860" fmla="*/ 3689876 h 4525940"/>
              <a:gd name="connsiteX1861" fmla="*/ 3379613 w 4545947"/>
              <a:gd name="connsiteY1861" fmla="*/ 3645950 h 4525940"/>
              <a:gd name="connsiteX1862" fmla="*/ 3363957 w 4545947"/>
              <a:gd name="connsiteY1862" fmla="*/ 3602624 h 4525940"/>
              <a:gd name="connsiteX1863" fmla="*/ 3350698 w 4545947"/>
              <a:gd name="connsiteY1863" fmla="*/ 3633318 h 4525940"/>
              <a:gd name="connsiteX1864" fmla="*/ 3345028 w 4545947"/>
              <a:gd name="connsiteY1864" fmla="*/ 3650699 h 4525940"/>
              <a:gd name="connsiteX1865" fmla="*/ 3329305 w 4545947"/>
              <a:gd name="connsiteY1865" fmla="*/ 3652225 h 4525940"/>
              <a:gd name="connsiteX1866" fmla="*/ 3340893 w 4545947"/>
              <a:gd name="connsiteY1866" fmla="*/ 3677605 h 4525940"/>
              <a:gd name="connsiteX1867" fmla="*/ 3352077 w 4545947"/>
              <a:gd name="connsiteY1867" fmla="*/ 3690266 h 4525940"/>
              <a:gd name="connsiteX1868" fmla="*/ 3357681 w 4545947"/>
              <a:gd name="connsiteY1868" fmla="*/ 3702928 h 4525940"/>
              <a:gd name="connsiteX1869" fmla="*/ 3363620 w 4545947"/>
              <a:gd name="connsiteY1869" fmla="*/ 3721921 h 4525940"/>
              <a:gd name="connsiteX1870" fmla="*/ 3372913 w 4545947"/>
              <a:gd name="connsiteY1870" fmla="*/ 3740913 h 4525940"/>
              <a:gd name="connsiteX1871" fmla="*/ 3375688 w 4545947"/>
              <a:gd name="connsiteY1871" fmla="*/ 3768853 h 4525940"/>
              <a:gd name="connsiteX1872" fmla="*/ 3327107 w 4545947"/>
              <a:gd name="connsiteY1872" fmla="*/ 3771846 h 4525940"/>
              <a:gd name="connsiteX1873" fmla="*/ 3315329 w 4545947"/>
              <a:gd name="connsiteY1873" fmla="*/ 3744607 h 4525940"/>
              <a:gd name="connsiteX1874" fmla="*/ 3311207 w 4545947"/>
              <a:gd name="connsiteY1874" fmla="*/ 3724541 h 4525940"/>
              <a:gd name="connsiteX1875" fmla="*/ 3316649 w 4545947"/>
              <a:gd name="connsiteY1875" fmla="*/ 3711929 h 4525940"/>
              <a:gd name="connsiteX1876" fmla="*/ 3320770 w 4545947"/>
              <a:gd name="connsiteY1876" fmla="*/ 3707093 h 4525940"/>
              <a:gd name="connsiteX1877" fmla="*/ 3327107 w 4545947"/>
              <a:gd name="connsiteY1877" fmla="*/ 3700282 h 4525940"/>
              <a:gd name="connsiteX1878" fmla="*/ 3313988 w 4545947"/>
              <a:gd name="connsiteY1878" fmla="*/ 3686151 h 4525940"/>
              <a:gd name="connsiteX1879" fmla="*/ 3300870 w 4545947"/>
              <a:gd name="connsiteY1879" fmla="*/ 3674511 h 4525940"/>
              <a:gd name="connsiteX1880" fmla="*/ 3289059 w 4545947"/>
              <a:gd name="connsiteY1880" fmla="*/ 3649571 h 4525940"/>
              <a:gd name="connsiteX1881" fmla="*/ 3279392 w 4545947"/>
              <a:gd name="connsiteY1881" fmla="*/ 3614296 h 4525940"/>
              <a:gd name="connsiteX1882" fmla="*/ 3283232 w 4545947"/>
              <a:gd name="connsiteY1882" fmla="*/ 3606383 h 4525940"/>
              <a:gd name="connsiteX1883" fmla="*/ 3274377 w 4545947"/>
              <a:gd name="connsiteY1883" fmla="*/ 3613610 h 4525940"/>
              <a:gd name="connsiteX1884" fmla="*/ 3260548 w 4545947"/>
              <a:gd name="connsiteY1884" fmla="*/ 3606968 h 4525940"/>
              <a:gd name="connsiteX1885" fmla="*/ 3252822 w 4545947"/>
              <a:gd name="connsiteY1885" fmla="*/ 3578594 h 4525940"/>
              <a:gd name="connsiteX1886" fmla="*/ 3252417 w 4545947"/>
              <a:gd name="connsiteY1886" fmla="*/ 3574234 h 4525940"/>
              <a:gd name="connsiteX1887" fmla="*/ 3264232 w 4545947"/>
              <a:gd name="connsiteY1887" fmla="*/ 3578304 h 4525940"/>
              <a:gd name="connsiteX1888" fmla="*/ 3270698 w 4545947"/>
              <a:gd name="connsiteY1888" fmla="*/ 3586713 h 4525940"/>
              <a:gd name="connsiteX1889" fmla="*/ 3275175 w 4545947"/>
              <a:gd name="connsiteY1889" fmla="*/ 3573523 h 4525940"/>
              <a:gd name="connsiteX1890" fmla="*/ 3272678 w 4545947"/>
              <a:gd name="connsiteY1890" fmla="*/ 3539117 h 4525940"/>
              <a:gd name="connsiteX1891" fmla="*/ 3255231 w 4545947"/>
              <a:gd name="connsiteY1891" fmla="*/ 3538110 h 4525940"/>
              <a:gd name="connsiteX1892" fmla="*/ 3237667 w 4545947"/>
              <a:gd name="connsiteY1892" fmla="*/ 3538572 h 4525940"/>
              <a:gd name="connsiteX1893" fmla="*/ 3215276 w 4545947"/>
              <a:gd name="connsiteY1893" fmla="*/ 3575977 h 4525940"/>
              <a:gd name="connsiteX1894" fmla="*/ 3204100 w 4545947"/>
              <a:gd name="connsiteY1894" fmla="*/ 3614296 h 4525940"/>
              <a:gd name="connsiteX1895" fmla="*/ 3195919 w 4545947"/>
              <a:gd name="connsiteY1895" fmla="*/ 3602335 h 4525940"/>
              <a:gd name="connsiteX1896" fmla="*/ 3187447 w 4545947"/>
              <a:gd name="connsiteY1896" fmla="*/ 3575429 h 4525940"/>
              <a:gd name="connsiteX1897" fmla="*/ 3171048 w 4545947"/>
              <a:gd name="connsiteY1897" fmla="*/ 3567461 h 4525940"/>
              <a:gd name="connsiteX1898" fmla="*/ 3164938 w 4545947"/>
              <a:gd name="connsiteY1898" fmla="*/ 3609962 h 4525940"/>
              <a:gd name="connsiteX1899" fmla="*/ 3163122 w 4545947"/>
              <a:gd name="connsiteY1899" fmla="*/ 3633289 h 4525940"/>
              <a:gd name="connsiteX1900" fmla="*/ 3156563 w 4545947"/>
              <a:gd name="connsiteY1900" fmla="*/ 3626962 h 4525940"/>
              <a:gd name="connsiteX1901" fmla="*/ 3120606 w 4545947"/>
              <a:gd name="connsiteY1901" fmla="*/ 3630123 h 4525940"/>
              <a:gd name="connsiteX1902" fmla="*/ 3126056 w 4545947"/>
              <a:gd name="connsiteY1902" fmla="*/ 3709259 h 4525940"/>
              <a:gd name="connsiteX1903" fmla="*/ 3143221 w 4545947"/>
              <a:gd name="connsiteY1903" fmla="*/ 3820049 h 4525940"/>
              <a:gd name="connsiteX1904" fmla="*/ 3143117 w 4545947"/>
              <a:gd name="connsiteY1904" fmla="*/ 3881775 h 4525940"/>
              <a:gd name="connsiteX1905" fmla="*/ 3132608 w 4545947"/>
              <a:gd name="connsiteY1905" fmla="*/ 3930839 h 4525940"/>
              <a:gd name="connsiteX1906" fmla="*/ 3121580 w 4545947"/>
              <a:gd name="connsiteY1906" fmla="*/ 3908681 h 4525940"/>
              <a:gd name="connsiteX1907" fmla="*/ 3117693 w 4545947"/>
              <a:gd name="connsiteY1907" fmla="*/ 3886523 h 4525940"/>
              <a:gd name="connsiteX1908" fmla="*/ 3110936 w 4545947"/>
              <a:gd name="connsiteY1908" fmla="*/ 3864365 h 4525940"/>
              <a:gd name="connsiteX1909" fmla="*/ 3104446 w 4545947"/>
              <a:gd name="connsiteY1909" fmla="*/ 3842207 h 4525940"/>
              <a:gd name="connsiteX1910" fmla="*/ 3098639 w 4545947"/>
              <a:gd name="connsiteY1910" fmla="*/ 3809238 h 4525940"/>
              <a:gd name="connsiteX1911" fmla="*/ 3091524 w 4545947"/>
              <a:gd name="connsiteY1911" fmla="*/ 3773890 h 4525940"/>
              <a:gd name="connsiteX1912" fmla="*/ 3086596 w 4545947"/>
              <a:gd name="connsiteY1912" fmla="*/ 3737594 h 4525940"/>
              <a:gd name="connsiteX1913" fmla="*/ 3082151 w 4545947"/>
              <a:gd name="connsiteY1913" fmla="*/ 3699699 h 4525940"/>
              <a:gd name="connsiteX1914" fmla="*/ 3080224 w 4545947"/>
              <a:gd name="connsiteY1914" fmla="*/ 3689829 h 4525940"/>
              <a:gd name="connsiteX1915" fmla="*/ 3078108 w 4545947"/>
              <a:gd name="connsiteY1915" fmla="*/ 3683935 h 4525940"/>
              <a:gd name="connsiteX1916" fmla="*/ 3073478 w 4545947"/>
              <a:gd name="connsiteY1916" fmla="*/ 3652809 h 4525940"/>
              <a:gd name="connsiteX1917" fmla="*/ 3068189 w 4545947"/>
              <a:gd name="connsiteY1917" fmla="*/ 3619131 h 4525940"/>
              <a:gd name="connsiteX1918" fmla="*/ 3062193 w 4545947"/>
              <a:gd name="connsiteY1918" fmla="*/ 3601193 h 4525940"/>
              <a:gd name="connsiteX1919" fmla="*/ 3058266 w 4545947"/>
              <a:gd name="connsiteY1919" fmla="*/ 3574728 h 4525940"/>
              <a:gd name="connsiteX1920" fmla="*/ 3057514 w 4545947"/>
              <a:gd name="connsiteY1920" fmla="*/ 3554356 h 4525940"/>
              <a:gd name="connsiteX1921" fmla="*/ 3056138 w 4545947"/>
              <a:gd name="connsiteY1921" fmla="*/ 3541627 h 4525940"/>
              <a:gd name="connsiteX1922" fmla="*/ 3049247 w 4545947"/>
              <a:gd name="connsiteY1922" fmla="*/ 3496938 h 4525940"/>
              <a:gd name="connsiteX1923" fmla="*/ 3017705 w 4545947"/>
              <a:gd name="connsiteY1923" fmla="*/ 3437032 h 4525940"/>
              <a:gd name="connsiteX1924" fmla="*/ 3009991 w 4545947"/>
              <a:gd name="connsiteY1924" fmla="*/ 3476935 h 4525940"/>
              <a:gd name="connsiteX1925" fmla="*/ 3007942 w 4545947"/>
              <a:gd name="connsiteY1925" fmla="*/ 3500341 h 4525940"/>
              <a:gd name="connsiteX1926" fmla="*/ 2999138 w 4545947"/>
              <a:gd name="connsiteY1926" fmla="*/ 3511736 h 4525940"/>
              <a:gd name="connsiteX1927" fmla="*/ 2994221 w 4545947"/>
              <a:gd name="connsiteY1927" fmla="*/ 3530249 h 4525940"/>
              <a:gd name="connsiteX1928" fmla="*/ 2994221 w 4545947"/>
              <a:gd name="connsiteY1928" fmla="*/ 3557784 h 4525940"/>
              <a:gd name="connsiteX1929" fmla="*/ 2981646 w 4545947"/>
              <a:gd name="connsiteY1929" fmla="*/ 3592138 h 4525940"/>
              <a:gd name="connsiteX1930" fmla="*/ 2972514 w 4545947"/>
              <a:gd name="connsiteY1930" fmla="*/ 3569980 h 4525940"/>
              <a:gd name="connsiteX1931" fmla="*/ 2966340 w 4545947"/>
              <a:gd name="connsiteY1931" fmla="*/ 3531984 h 4525940"/>
              <a:gd name="connsiteX1932" fmla="*/ 2959351 w 4545947"/>
              <a:gd name="connsiteY1932" fmla="*/ 3490460 h 4525940"/>
              <a:gd name="connsiteX1933" fmla="*/ 2955409 w 4545947"/>
              <a:gd name="connsiteY1933" fmla="*/ 3447123 h 4525940"/>
              <a:gd name="connsiteX1934" fmla="*/ 2946728 w 4545947"/>
              <a:gd name="connsiteY1934" fmla="*/ 3392826 h 4525940"/>
              <a:gd name="connsiteX1935" fmla="*/ 2940541 w 4545947"/>
              <a:gd name="connsiteY1935" fmla="*/ 3363958 h 4525940"/>
              <a:gd name="connsiteX1936" fmla="*/ 2928518 w 4545947"/>
              <a:gd name="connsiteY1936" fmla="*/ 3330135 h 4525940"/>
              <a:gd name="connsiteX1937" fmla="*/ 2925305 w 4545947"/>
              <a:gd name="connsiteY1937" fmla="*/ 3329407 h 4525940"/>
              <a:gd name="connsiteX1938" fmla="*/ 2922663 w 4545947"/>
              <a:gd name="connsiteY1938" fmla="*/ 3308194 h 4525940"/>
              <a:gd name="connsiteX1939" fmla="*/ 2924908 w 4545947"/>
              <a:gd name="connsiteY1939" fmla="*/ 3291324 h 4525940"/>
              <a:gd name="connsiteX1940" fmla="*/ 2907500 w 4545947"/>
              <a:gd name="connsiteY1940" fmla="*/ 3253437 h 4525940"/>
              <a:gd name="connsiteX1941" fmla="*/ 2902377 w 4545947"/>
              <a:gd name="connsiteY1941" fmla="*/ 3292044 h 4525940"/>
              <a:gd name="connsiteX1942" fmla="*/ 2888666 w 4545947"/>
              <a:gd name="connsiteY1942" fmla="*/ 3307676 h 4525940"/>
              <a:gd name="connsiteX1943" fmla="*/ 2869372 w 4545947"/>
              <a:gd name="connsiteY1943" fmla="*/ 3353858 h 4525940"/>
              <a:gd name="connsiteX1944" fmla="*/ 2866824 w 4545947"/>
              <a:gd name="connsiteY1944" fmla="*/ 3380956 h 4525940"/>
              <a:gd name="connsiteX1945" fmla="*/ 2845843 w 4545947"/>
              <a:gd name="connsiteY1945" fmla="*/ 3411053 h 4525940"/>
              <a:gd name="connsiteX1946" fmla="*/ 2841712 w 4545947"/>
              <a:gd name="connsiteY1946" fmla="*/ 3443363 h 4525940"/>
              <a:gd name="connsiteX1947" fmla="*/ 2832967 w 4545947"/>
              <a:gd name="connsiteY1947" fmla="*/ 3434642 h 4525940"/>
              <a:gd name="connsiteX1948" fmla="*/ 2826073 w 4545947"/>
              <a:gd name="connsiteY1948" fmla="*/ 3417638 h 4525940"/>
              <a:gd name="connsiteX1949" fmla="*/ 2821980 w 4545947"/>
              <a:gd name="connsiteY1949" fmla="*/ 3387738 h 4525940"/>
              <a:gd name="connsiteX1950" fmla="*/ 2817264 w 4545947"/>
              <a:gd name="connsiteY1950" fmla="*/ 3354095 h 4525940"/>
              <a:gd name="connsiteX1951" fmla="*/ 2813279 w 4545947"/>
              <a:gd name="connsiteY1951" fmla="*/ 3342069 h 4525940"/>
              <a:gd name="connsiteX1952" fmla="*/ 2808098 w 4545947"/>
              <a:gd name="connsiteY1952" fmla="*/ 3330990 h 4525940"/>
              <a:gd name="connsiteX1953" fmla="*/ 2796413 w 4545947"/>
              <a:gd name="connsiteY1953" fmla="*/ 3302501 h 4525940"/>
              <a:gd name="connsiteX1954" fmla="*/ 2785874 w 4545947"/>
              <a:gd name="connsiteY1954" fmla="*/ 3285284 h 4525940"/>
              <a:gd name="connsiteX1955" fmla="*/ 2785958 w 4545947"/>
              <a:gd name="connsiteY1955" fmla="*/ 3291929 h 4525940"/>
              <a:gd name="connsiteX1956" fmla="*/ 2790331 w 4545947"/>
              <a:gd name="connsiteY1956" fmla="*/ 3322979 h 4525940"/>
              <a:gd name="connsiteX1957" fmla="*/ 2775681 w 4545947"/>
              <a:gd name="connsiteY1957" fmla="*/ 3305853 h 4525940"/>
              <a:gd name="connsiteX1958" fmla="*/ 2763282 w 4545947"/>
              <a:gd name="connsiteY1958" fmla="*/ 3305853 h 4525940"/>
              <a:gd name="connsiteX1959" fmla="*/ 2753779 w 4545947"/>
              <a:gd name="connsiteY1959" fmla="*/ 3354086 h 4525940"/>
              <a:gd name="connsiteX1960" fmla="*/ 2760892 w 4545947"/>
              <a:gd name="connsiteY1960" fmla="*/ 3403232 h 4525940"/>
              <a:gd name="connsiteX1961" fmla="*/ 2766023 w 4545947"/>
              <a:gd name="connsiteY1961" fmla="*/ 3450840 h 4525940"/>
              <a:gd name="connsiteX1962" fmla="*/ 2750015 w 4545947"/>
              <a:gd name="connsiteY1962" fmla="*/ 3478697 h 4525940"/>
              <a:gd name="connsiteX1963" fmla="*/ 2739057 w 4545947"/>
              <a:gd name="connsiteY1963" fmla="*/ 3462355 h 4525940"/>
              <a:gd name="connsiteX1964" fmla="*/ 2732389 w 4545947"/>
              <a:gd name="connsiteY1964" fmla="*/ 3453537 h 4525940"/>
              <a:gd name="connsiteX1965" fmla="*/ 2712353 w 4545947"/>
              <a:gd name="connsiteY1965" fmla="*/ 3437032 h 4525940"/>
              <a:gd name="connsiteX1966" fmla="*/ 2706152 w 4545947"/>
              <a:gd name="connsiteY1966" fmla="*/ 3457689 h 4525940"/>
              <a:gd name="connsiteX1967" fmla="*/ 2696312 w 4545947"/>
              <a:gd name="connsiteY1967" fmla="*/ 3484595 h 4525940"/>
              <a:gd name="connsiteX1968" fmla="*/ 2687868 w 4545947"/>
              <a:gd name="connsiteY1968" fmla="*/ 3509837 h 4525940"/>
              <a:gd name="connsiteX1969" fmla="*/ 2690056 w 4545947"/>
              <a:gd name="connsiteY1969" fmla="*/ 3557318 h 4525940"/>
              <a:gd name="connsiteX1970" fmla="*/ 2694620 w 4545947"/>
              <a:gd name="connsiteY1970" fmla="*/ 3594273 h 4525940"/>
              <a:gd name="connsiteX1971" fmla="*/ 2682100 w 4545947"/>
              <a:gd name="connsiteY1971" fmla="*/ 3615329 h 4525940"/>
              <a:gd name="connsiteX1972" fmla="*/ 2675171 w 4545947"/>
              <a:gd name="connsiteY1972" fmla="*/ 3654278 h 4525940"/>
              <a:gd name="connsiteX1973" fmla="*/ 2680432 w 4545947"/>
              <a:gd name="connsiteY1973" fmla="*/ 3686784 h 4525940"/>
              <a:gd name="connsiteX1974" fmla="*/ 2683731 w 4545947"/>
              <a:gd name="connsiteY1974" fmla="*/ 3693432 h 4525940"/>
              <a:gd name="connsiteX1975" fmla="*/ 2699137 w 4545947"/>
              <a:gd name="connsiteY1975" fmla="*/ 3672350 h 4525940"/>
              <a:gd name="connsiteX1976" fmla="*/ 2709257 w 4545947"/>
              <a:gd name="connsiteY1976" fmla="*/ 3688362 h 4525940"/>
              <a:gd name="connsiteX1977" fmla="*/ 2719638 w 4545947"/>
              <a:gd name="connsiteY1977" fmla="*/ 3721312 h 4525940"/>
              <a:gd name="connsiteX1978" fmla="*/ 2731766 w 4545947"/>
              <a:gd name="connsiteY1978" fmla="*/ 3743285 h 4525940"/>
              <a:gd name="connsiteX1979" fmla="*/ 2734466 w 4545947"/>
              <a:gd name="connsiteY1979" fmla="*/ 3761914 h 4525940"/>
              <a:gd name="connsiteX1980" fmla="*/ 2733513 w 4545947"/>
              <a:gd name="connsiteY1980" fmla="*/ 3779804 h 4525940"/>
              <a:gd name="connsiteX1981" fmla="*/ 2724300 w 4545947"/>
              <a:gd name="connsiteY1981" fmla="*/ 3766243 h 4525940"/>
              <a:gd name="connsiteX1982" fmla="*/ 2709200 w 4545947"/>
              <a:gd name="connsiteY1982" fmla="*/ 3728581 h 4525940"/>
              <a:gd name="connsiteX1983" fmla="*/ 2698904 w 4545947"/>
              <a:gd name="connsiteY1983" fmla="*/ 3710865 h 4525940"/>
              <a:gd name="connsiteX1984" fmla="*/ 2694804 w 4545947"/>
              <a:gd name="connsiteY1984" fmla="*/ 3727472 h 4525940"/>
              <a:gd name="connsiteX1985" fmla="*/ 2703659 w 4545947"/>
              <a:gd name="connsiteY1985" fmla="*/ 3818561 h 4525940"/>
              <a:gd name="connsiteX1986" fmla="*/ 2704869 w 4545947"/>
              <a:gd name="connsiteY1986" fmla="*/ 3842295 h 4525940"/>
              <a:gd name="connsiteX1987" fmla="*/ 2706562 w 4545947"/>
              <a:gd name="connsiteY1987" fmla="*/ 3858401 h 4525940"/>
              <a:gd name="connsiteX1988" fmla="*/ 2703965 w 4545947"/>
              <a:gd name="connsiteY1988" fmla="*/ 3892854 h 4525940"/>
              <a:gd name="connsiteX1989" fmla="*/ 2697406 w 4545947"/>
              <a:gd name="connsiteY1989" fmla="*/ 3884624 h 4525940"/>
              <a:gd name="connsiteX1990" fmla="*/ 2692559 w 4545947"/>
              <a:gd name="connsiteY1990" fmla="*/ 3869377 h 4525940"/>
              <a:gd name="connsiteX1991" fmla="*/ 2685914 w 4545947"/>
              <a:gd name="connsiteY1991" fmla="*/ 3829043 h 4525940"/>
              <a:gd name="connsiteX1992" fmla="*/ 2680432 w 4545947"/>
              <a:gd name="connsiteY1992" fmla="*/ 3788895 h 4525940"/>
              <a:gd name="connsiteX1993" fmla="*/ 2673617 w 4545947"/>
              <a:gd name="connsiteY1993" fmla="*/ 3763071 h 4525940"/>
              <a:gd name="connsiteX1994" fmla="*/ 2664856 w 4545947"/>
              <a:gd name="connsiteY1994" fmla="*/ 3734582 h 4525940"/>
              <a:gd name="connsiteX1995" fmla="*/ 2656320 w 4545947"/>
              <a:gd name="connsiteY1995" fmla="*/ 3707405 h 4525940"/>
              <a:gd name="connsiteX1996" fmla="*/ 2633990 w 4545947"/>
              <a:gd name="connsiteY1996" fmla="*/ 3694220 h 4525940"/>
              <a:gd name="connsiteX1997" fmla="*/ 2634199 w 4545947"/>
              <a:gd name="connsiteY1997" fmla="*/ 3713122 h 4525940"/>
              <a:gd name="connsiteX1998" fmla="*/ 2640557 w 4545947"/>
              <a:gd name="connsiteY1998" fmla="*/ 3737638 h 4525940"/>
              <a:gd name="connsiteX1999" fmla="*/ 2633998 w 4545947"/>
              <a:gd name="connsiteY1999" fmla="*/ 3747244 h 4525940"/>
              <a:gd name="connsiteX2000" fmla="*/ 2627438 w 4545947"/>
              <a:gd name="connsiteY2000" fmla="*/ 3730840 h 4525940"/>
              <a:gd name="connsiteX2001" fmla="*/ 2621342 w 4545947"/>
              <a:gd name="connsiteY2001" fmla="*/ 3725705 h 4525940"/>
              <a:gd name="connsiteX2002" fmla="*/ 2612167 w 4545947"/>
              <a:gd name="connsiteY2002" fmla="*/ 3690686 h 4525940"/>
              <a:gd name="connsiteX2003" fmla="*/ 2605145 w 4545947"/>
              <a:gd name="connsiteY2003" fmla="*/ 3652281 h 4525940"/>
              <a:gd name="connsiteX2004" fmla="*/ 2601104 w 4545947"/>
              <a:gd name="connsiteY2004" fmla="*/ 3634871 h 4525940"/>
              <a:gd name="connsiteX2005" fmla="*/ 2577610 w 4545947"/>
              <a:gd name="connsiteY2005" fmla="*/ 3591006 h 4525940"/>
              <a:gd name="connsiteX2006" fmla="*/ 2572247 w 4545947"/>
              <a:gd name="connsiteY2006" fmla="*/ 3626110 h 4525940"/>
              <a:gd name="connsiteX2007" fmla="*/ 2573455 w 4545947"/>
              <a:gd name="connsiteY2007" fmla="*/ 3664943 h 4525940"/>
              <a:gd name="connsiteX2008" fmla="*/ 2553099 w 4545947"/>
              <a:gd name="connsiteY2008" fmla="*/ 3631003 h 4525940"/>
              <a:gd name="connsiteX2009" fmla="*/ 2543260 w 4545947"/>
              <a:gd name="connsiteY2009" fmla="*/ 3614862 h 4525940"/>
              <a:gd name="connsiteX2010" fmla="*/ 2530623 w 4545947"/>
              <a:gd name="connsiteY2010" fmla="*/ 3640554 h 4525940"/>
              <a:gd name="connsiteX2011" fmla="*/ 2526305 w 4545947"/>
              <a:gd name="connsiteY2011" fmla="*/ 3708293 h 4525940"/>
              <a:gd name="connsiteX2012" fmla="*/ 2519771 w 4545947"/>
              <a:gd name="connsiteY2012" fmla="*/ 3750816 h 4525940"/>
              <a:gd name="connsiteX2013" fmla="*/ 2522540 w 4545947"/>
              <a:gd name="connsiteY2013" fmla="*/ 3784928 h 4525940"/>
              <a:gd name="connsiteX2014" fmla="*/ 2509726 w 4545947"/>
              <a:gd name="connsiteY2014" fmla="*/ 3781217 h 4525940"/>
              <a:gd name="connsiteX2015" fmla="*/ 2486852 w 4545947"/>
              <a:gd name="connsiteY2015" fmla="*/ 3820858 h 4525940"/>
              <a:gd name="connsiteX2016" fmla="*/ 2481921 w 4545947"/>
              <a:gd name="connsiteY2016" fmla="*/ 3848538 h 4525940"/>
              <a:gd name="connsiteX2017" fmla="*/ 2462933 w 4545947"/>
              <a:gd name="connsiteY2017" fmla="*/ 3811532 h 4525940"/>
              <a:gd name="connsiteX2018" fmla="*/ 2456776 w 4545947"/>
              <a:gd name="connsiteY2018" fmla="*/ 3791560 h 4525940"/>
              <a:gd name="connsiteX2019" fmla="*/ 2448685 w 4545947"/>
              <a:gd name="connsiteY2019" fmla="*/ 3772074 h 4525940"/>
              <a:gd name="connsiteX2020" fmla="*/ 2427873 w 4545947"/>
              <a:gd name="connsiteY2020" fmla="*/ 3768017 h 4525940"/>
              <a:gd name="connsiteX2021" fmla="*/ 2429236 w 4545947"/>
              <a:gd name="connsiteY2021" fmla="*/ 3769526 h 4525940"/>
              <a:gd name="connsiteX2022" fmla="*/ 2443776 w 4545947"/>
              <a:gd name="connsiteY2022" fmla="*/ 3766237 h 4525940"/>
              <a:gd name="connsiteX2023" fmla="*/ 2440496 w 4545947"/>
              <a:gd name="connsiteY2023" fmla="*/ 3772608 h 4525940"/>
              <a:gd name="connsiteX2024" fmla="*/ 2429564 w 4545947"/>
              <a:gd name="connsiteY2024" fmla="*/ 3792113 h 4525940"/>
              <a:gd name="connsiteX2025" fmla="*/ 2430302 w 4545947"/>
              <a:gd name="connsiteY2025" fmla="*/ 3873416 h 4525940"/>
              <a:gd name="connsiteX2026" fmla="*/ 2444369 w 4545947"/>
              <a:gd name="connsiteY2026" fmla="*/ 3924805 h 4525940"/>
              <a:gd name="connsiteX2027" fmla="*/ 2453931 w 4545947"/>
              <a:gd name="connsiteY2027" fmla="*/ 3969610 h 4525940"/>
              <a:gd name="connsiteX2028" fmla="*/ 2450930 w 4545947"/>
              <a:gd name="connsiteY2028" fmla="*/ 3988781 h 4525940"/>
              <a:gd name="connsiteX2029" fmla="*/ 2449419 w 4545947"/>
              <a:gd name="connsiteY2029" fmla="*/ 4093060 h 4525940"/>
              <a:gd name="connsiteX2030" fmla="*/ 2447957 w 4545947"/>
              <a:gd name="connsiteY2030" fmla="*/ 4143094 h 4525940"/>
              <a:gd name="connsiteX2031" fmla="*/ 2430657 w 4545947"/>
              <a:gd name="connsiteY2031" fmla="*/ 4117769 h 4525940"/>
              <a:gd name="connsiteX2032" fmla="*/ 2414924 w 4545947"/>
              <a:gd name="connsiteY2032" fmla="*/ 4063787 h 4525940"/>
              <a:gd name="connsiteX2033" fmla="*/ 2408246 w 4545947"/>
              <a:gd name="connsiteY2033" fmla="*/ 4057456 h 4525940"/>
              <a:gd name="connsiteX2034" fmla="*/ 2406606 w 4545947"/>
              <a:gd name="connsiteY2034" fmla="*/ 4044794 h 4525940"/>
              <a:gd name="connsiteX2035" fmla="*/ 2404966 w 4545947"/>
              <a:gd name="connsiteY2035" fmla="*/ 3991434 h 4525940"/>
              <a:gd name="connsiteX2036" fmla="*/ 2396933 w 4545947"/>
              <a:gd name="connsiteY2036" fmla="*/ 3933567 h 4525940"/>
              <a:gd name="connsiteX2037" fmla="*/ 2388791 w 4545947"/>
              <a:gd name="connsiteY2037" fmla="*/ 3915705 h 4525940"/>
              <a:gd name="connsiteX2038" fmla="*/ 2384965 w 4545947"/>
              <a:gd name="connsiteY2038" fmla="*/ 3854869 h 4525940"/>
              <a:gd name="connsiteX2039" fmla="*/ 2358125 w 4545947"/>
              <a:gd name="connsiteY2039" fmla="*/ 3777893 h 4525940"/>
              <a:gd name="connsiteX2040" fmla="*/ 2348290 w 4545947"/>
              <a:gd name="connsiteY2040" fmla="*/ 3762998 h 4525940"/>
              <a:gd name="connsiteX2041" fmla="*/ 2331066 w 4545947"/>
              <a:gd name="connsiteY2041" fmla="*/ 3743626 h 4525940"/>
              <a:gd name="connsiteX2042" fmla="*/ 2322362 w 4545947"/>
              <a:gd name="connsiteY2042" fmla="*/ 3790153 h 4525940"/>
              <a:gd name="connsiteX2043" fmla="*/ 2325585 w 4545947"/>
              <a:gd name="connsiteY2043" fmla="*/ 3839042 h 4525940"/>
              <a:gd name="connsiteX2044" fmla="*/ 2331015 w 4545947"/>
              <a:gd name="connsiteY2044" fmla="*/ 3907844 h 4525940"/>
              <a:gd name="connsiteX2045" fmla="*/ 2310583 w 4545947"/>
              <a:gd name="connsiteY2045" fmla="*/ 3877027 h 4525940"/>
              <a:gd name="connsiteX2046" fmla="*/ 2308008 w 4545947"/>
              <a:gd name="connsiteY2046" fmla="*/ 3820722 h 4525940"/>
              <a:gd name="connsiteX2047" fmla="*/ 2289689 w 4545947"/>
              <a:gd name="connsiteY2047" fmla="*/ 3772664 h 4525940"/>
              <a:gd name="connsiteX2048" fmla="*/ 2271750 w 4545947"/>
              <a:gd name="connsiteY2048" fmla="*/ 3824865 h 4525940"/>
              <a:gd name="connsiteX2049" fmla="*/ 2269535 w 4545947"/>
              <a:gd name="connsiteY2049" fmla="*/ 3826984 h 4525940"/>
              <a:gd name="connsiteX2050" fmla="*/ 2264486 w 4545947"/>
              <a:gd name="connsiteY2050" fmla="*/ 3832337 h 4525940"/>
              <a:gd name="connsiteX2051" fmla="*/ 2259765 w 4545947"/>
              <a:gd name="connsiteY2051" fmla="*/ 3842207 h 4525940"/>
              <a:gd name="connsiteX2052" fmla="*/ 2257927 w 4545947"/>
              <a:gd name="connsiteY2052" fmla="*/ 3823214 h 4525940"/>
              <a:gd name="connsiteX2053" fmla="*/ 2255775 w 4545947"/>
              <a:gd name="connsiteY2053" fmla="*/ 3804222 h 4525940"/>
              <a:gd name="connsiteX2054" fmla="*/ 2243620 w 4545947"/>
              <a:gd name="connsiteY2054" fmla="*/ 3793911 h 4525940"/>
              <a:gd name="connsiteX2055" fmla="*/ 2246518 w 4545947"/>
              <a:gd name="connsiteY2055" fmla="*/ 3771854 h 4525940"/>
              <a:gd name="connsiteX2056" fmla="*/ 2253959 w 4545947"/>
              <a:gd name="connsiteY2056" fmla="*/ 3733428 h 4525940"/>
              <a:gd name="connsiteX2057" fmla="*/ 2247002 w 4545947"/>
              <a:gd name="connsiteY2057" fmla="*/ 3700406 h 4525940"/>
              <a:gd name="connsiteX2058" fmla="*/ 2242621 w 4545947"/>
              <a:gd name="connsiteY2058" fmla="*/ 3683863 h 4525940"/>
              <a:gd name="connsiteX2059" fmla="*/ 2233875 w 4545947"/>
              <a:gd name="connsiteY2059" fmla="*/ 3660071 h 4525940"/>
              <a:gd name="connsiteX2060" fmla="*/ 2225130 w 4545947"/>
              <a:gd name="connsiteY2060" fmla="*/ 3633553 h 4525940"/>
              <a:gd name="connsiteX2061" fmla="*/ 2221850 w 4545947"/>
              <a:gd name="connsiteY2061" fmla="*/ 3620071 h 4525940"/>
              <a:gd name="connsiteX2062" fmla="*/ 2203265 w 4545947"/>
              <a:gd name="connsiteY2062" fmla="*/ 3618488 h 4525940"/>
              <a:gd name="connsiteX2063" fmla="*/ 2189200 w 4545947"/>
              <a:gd name="connsiteY2063" fmla="*/ 3640708 h 4525940"/>
              <a:gd name="connsiteX2064" fmla="*/ 2181231 w 4545947"/>
              <a:gd name="connsiteY2064" fmla="*/ 3668186 h 4525940"/>
              <a:gd name="connsiteX2065" fmla="*/ 2174574 w 4545947"/>
              <a:gd name="connsiteY2065" fmla="*/ 3682047 h 4525940"/>
              <a:gd name="connsiteX2066" fmla="*/ 2169669 w 4545947"/>
              <a:gd name="connsiteY2066" fmla="*/ 3687533 h 4525940"/>
              <a:gd name="connsiteX2067" fmla="*/ 2170689 w 4545947"/>
              <a:gd name="connsiteY2067" fmla="*/ 3696951 h 4525940"/>
              <a:gd name="connsiteX2068" fmla="*/ 2195588 w 4545947"/>
              <a:gd name="connsiteY2068" fmla="*/ 3707322 h 4525940"/>
              <a:gd name="connsiteX2069" fmla="*/ 2212011 w 4545947"/>
              <a:gd name="connsiteY2069" fmla="*/ 3724422 h 4525940"/>
              <a:gd name="connsiteX2070" fmla="*/ 2216999 w 4545947"/>
              <a:gd name="connsiteY2070" fmla="*/ 3751934 h 4525940"/>
              <a:gd name="connsiteX2071" fmla="*/ 2218775 w 4545947"/>
              <a:gd name="connsiteY2071" fmla="*/ 3835779 h 4525940"/>
              <a:gd name="connsiteX2072" fmla="*/ 2201276 w 4545947"/>
              <a:gd name="connsiteY2072" fmla="*/ 3794726 h 4525940"/>
              <a:gd name="connsiteX2073" fmla="*/ 2176875 w 4545947"/>
              <a:gd name="connsiteY2073" fmla="*/ 3755596 h 4525940"/>
              <a:gd name="connsiteX2074" fmla="*/ 2138525 w 4545947"/>
              <a:gd name="connsiteY2074" fmla="*/ 3709464 h 4525940"/>
              <a:gd name="connsiteX2075" fmla="*/ 2105352 w 4545947"/>
              <a:gd name="connsiteY2075" fmla="*/ 3672844 h 4525940"/>
              <a:gd name="connsiteX2076" fmla="*/ 2107864 w 4545947"/>
              <a:gd name="connsiteY2076" fmla="*/ 3702928 h 4525940"/>
              <a:gd name="connsiteX2077" fmla="*/ 2110750 w 4545947"/>
              <a:gd name="connsiteY2077" fmla="*/ 3725675 h 4525940"/>
              <a:gd name="connsiteX2078" fmla="*/ 2116974 w 4545947"/>
              <a:gd name="connsiteY2078" fmla="*/ 3756445 h 4525940"/>
              <a:gd name="connsiteX2079" fmla="*/ 2124552 w 4545947"/>
              <a:gd name="connsiteY2079" fmla="*/ 3778014 h 4525940"/>
              <a:gd name="connsiteX2080" fmla="*/ 2111517 w 4545947"/>
              <a:gd name="connsiteY2080" fmla="*/ 3791560 h 4525940"/>
              <a:gd name="connsiteX2081" fmla="*/ 2095798 w 4545947"/>
              <a:gd name="connsiteY2081" fmla="*/ 3807039 h 4525940"/>
              <a:gd name="connsiteX2082" fmla="*/ 2085876 w 4545947"/>
              <a:gd name="connsiteY2082" fmla="*/ 3825297 h 4525940"/>
              <a:gd name="connsiteX2083" fmla="*/ 2088181 w 4545947"/>
              <a:gd name="connsiteY2083" fmla="*/ 3828811 h 4525940"/>
              <a:gd name="connsiteX2084" fmla="*/ 2100377 w 4545947"/>
              <a:gd name="connsiteY2084" fmla="*/ 3841641 h 4525940"/>
              <a:gd name="connsiteX2085" fmla="*/ 2114029 w 4545947"/>
              <a:gd name="connsiteY2085" fmla="*/ 3864171 h 4525940"/>
              <a:gd name="connsiteX2086" fmla="*/ 2123698 w 4545947"/>
              <a:gd name="connsiteY2086" fmla="*/ 3901140 h 4525940"/>
              <a:gd name="connsiteX2087" fmla="*/ 2107910 w 4545947"/>
              <a:gd name="connsiteY2087" fmla="*/ 3911846 h 4525940"/>
              <a:gd name="connsiteX2088" fmla="*/ 2080582 w 4545947"/>
              <a:gd name="connsiteY2088" fmla="*/ 3849939 h 4525940"/>
              <a:gd name="connsiteX2089" fmla="*/ 2054585 w 4545947"/>
              <a:gd name="connsiteY2089" fmla="*/ 3858695 h 4525940"/>
              <a:gd name="connsiteX2090" fmla="*/ 2039326 w 4545947"/>
              <a:gd name="connsiteY2090" fmla="*/ 3863960 h 4525940"/>
              <a:gd name="connsiteX2091" fmla="*/ 2021367 w 4545947"/>
              <a:gd name="connsiteY2091" fmla="*/ 3870003 h 4525940"/>
              <a:gd name="connsiteX2092" fmla="*/ 2006483 w 4545947"/>
              <a:gd name="connsiteY2092" fmla="*/ 3867904 h 4525940"/>
              <a:gd name="connsiteX2093" fmla="*/ 2002040 w 4545947"/>
              <a:gd name="connsiteY2093" fmla="*/ 3851640 h 4525940"/>
              <a:gd name="connsiteX2094" fmla="*/ 2000327 w 4545947"/>
              <a:gd name="connsiteY2094" fmla="*/ 3841264 h 4525940"/>
              <a:gd name="connsiteX2095" fmla="*/ 1993839 w 4545947"/>
              <a:gd name="connsiteY2095" fmla="*/ 3825515 h 4525940"/>
              <a:gd name="connsiteX2096" fmla="*/ 1984619 w 4545947"/>
              <a:gd name="connsiteY2096" fmla="*/ 3795142 h 4525940"/>
              <a:gd name="connsiteX2097" fmla="*/ 1964941 w 4545947"/>
              <a:gd name="connsiteY2097" fmla="*/ 3766237 h 4525940"/>
              <a:gd name="connsiteX2098" fmla="*/ 1958381 w 4545947"/>
              <a:gd name="connsiteY2098" fmla="*/ 3782839 h 4525940"/>
              <a:gd name="connsiteX2099" fmla="*/ 1951822 w 4545947"/>
              <a:gd name="connsiteY2099" fmla="*/ 3791560 h 4525940"/>
              <a:gd name="connsiteX2100" fmla="*/ 1945262 w 4545947"/>
              <a:gd name="connsiteY2100" fmla="*/ 3785229 h 4525940"/>
              <a:gd name="connsiteX2101" fmla="*/ 1932144 w 4545947"/>
              <a:gd name="connsiteY2101" fmla="*/ 3778898 h 4525940"/>
              <a:gd name="connsiteX2102" fmla="*/ 1919025 w 4545947"/>
              <a:gd name="connsiteY2102" fmla="*/ 3763599 h 4525940"/>
              <a:gd name="connsiteX2103" fmla="*/ 1923488 w 4545947"/>
              <a:gd name="connsiteY2103" fmla="*/ 3746145 h 4525940"/>
              <a:gd name="connsiteX2104" fmla="*/ 1908872 w 4545947"/>
              <a:gd name="connsiteY2104" fmla="*/ 3705513 h 4525940"/>
              <a:gd name="connsiteX2105" fmla="*/ 1884041 w 4545947"/>
              <a:gd name="connsiteY2105" fmla="*/ 3735980 h 4525940"/>
              <a:gd name="connsiteX2106" fmla="*/ 1888568 w 4545947"/>
              <a:gd name="connsiteY2106" fmla="*/ 3760322 h 4525940"/>
              <a:gd name="connsiteX2107" fmla="*/ 1875988 w 4545947"/>
              <a:gd name="connsiteY2107" fmla="*/ 3764707 h 4525940"/>
              <a:gd name="connsiteX2108" fmla="*/ 1866434 w 4545947"/>
              <a:gd name="connsiteY2108" fmla="*/ 3766290 h 4525940"/>
              <a:gd name="connsiteX2109" fmla="*/ 1866075 w 4545947"/>
              <a:gd name="connsiteY2109" fmla="*/ 3797891 h 4525940"/>
              <a:gd name="connsiteX2110" fmla="*/ 1872718 w 4545947"/>
              <a:gd name="connsiteY2110" fmla="*/ 3813718 h 4525940"/>
              <a:gd name="connsiteX2111" fmla="*/ 1879752 w 4545947"/>
              <a:gd name="connsiteY2111" fmla="*/ 3829545 h 4525940"/>
              <a:gd name="connsiteX2112" fmla="*/ 1884041 w 4545947"/>
              <a:gd name="connsiteY2112" fmla="*/ 3844998 h 4525940"/>
              <a:gd name="connsiteX2113" fmla="*/ 1888645 w 4545947"/>
              <a:gd name="connsiteY2113" fmla="*/ 3864572 h 4525940"/>
              <a:gd name="connsiteX2114" fmla="*/ 1891630 w 4545947"/>
              <a:gd name="connsiteY2114" fmla="*/ 3875720 h 4525940"/>
              <a:gd name="connsiteX2115" fmla="*/ 1913437 w 4545947"/>
              <a:gd name="connsiteY2115" fmla="*/ 3905515 h 4525940"/>
              <a:gd name="connsiteX2116" fmla="*/ 1923398 w 4545947"/>
              <a:gd name="connsiteY2116" fmla="*/ 3915012 h 4525940"/>
              <a:gd name="connsiteX2117" fmla="*/ 1927771 w 4545947"/>
              <a:gd name="connsiteY2117" fmla="*/ 3924508 h 4525940"/>
              <a:gd name="connsiteX2118" fmla="*/ 1932144 w 4545947"/>
              <a:gd name="connsiteY2118" fmla="*/ 3936947 h 4525940"/>
              <a:gd name="connsiteX2119" fmla="*/ 1940889 w 4545947"/>
              <a:gd name="connsiteY2119" fmla="*/ 3956162 h 4525940"/>
              <a:gd name="connsiteX2120" fmla="*/ 1935640 w 4545947"/>
              <a:gd name="connsiteY2120" fmla="*/ 3972686 h 4525940"/>
              <a:gd name="connsiteX2121" fmla="*/ 1919242 w 4545947"/>
              <a:gd name="connsiteY2121" fmla="*/ 3963834 h 4525940"/>
              <a:gd name="connsiteX2122" fmla="*/ 1904617 w 4545947"/>
              <a:gd name="connsiteY2122" fmla="*/ 3947772 h 4525940"/>
              <a:gd name="connsiteX2123" fmla="*/ 1888202 w 4545947"/>
              <a:gd name="connsiteY2123" fmla="*/ 3920535 h 4525940"/>
              <a:gd name="connsiteX2124" fmla="*/ 1866862 w 4545947"/>
              <a:gd name="connsiteY2124" fmla="*/ 3886523 h 4525940"/>
              <a:gd name="connsiteX2125" fmla="*/ 1862177 w 4545947"/>
              <a:gd name="connsiteY2125" fmla="*/ 3874314 h 4525940"/>
              <a:gd name="connsiteX2126" fmla="*/ 1856466 w 4545947"/>
              <a:gd name="connsiteY2126" fmla="*/ 3853739 h 4525940"/>
              <a:gd name="connsiteX2127" fmla="*/ 1847857 w 4545947"/>
              <a:gd name="connsiteY2127" fmla="*/ 3834293 h 4525940"/>
              <a:gd name="connsiteX2128" fmla="*/ 1824179 w 4545947"/>
              <a:gd name="connsiteY2128" fmla="*/ 3833550 h 4525940"/>
              <a:gd name="connsiteX2129" fmla="*/ 1826806 w 4545947"/>
              <a:gd name="connsiteY2129" fmla="*/ 3856324 h 4525940"/>
              <a:gd name="connsiteX2130" fmla="*/ 1829445 w 4545947"/>
              <a:gd name="connsiteY2130" fmla="*/ 3872712 h 4525940"/>
              <a:gd name="connsiteX2131" fmla="*/ 1823072 w 4545947"/>
              <a:gd name="connsiteY2131" fmla="*/ 3868119 h 4525940"/>
              <a:gd name="connsiteX2132" fmla="*/ 1809702 w 4545947"/>
              <a:gd name="connsiteY2132" fmla="*/ 3881158 h 4525940"/>
              <a:gd name="connsiteX2133" fmla="*/ 1818447 w 4545947"/>
              <a:gd name="connsiteY2133" fmla="*/ 3897350 h 4525940"/>
              <a:gd name="connsiteX2134" fmla="*/ 1827193 w 4545947"/>
              <a:gd name="connsiteY2134" fmla="*/ 3916052 h 4525940"/>
              <a:gd name="connsiteX2135" fmla="*/ 1856256 w 4545947"/>
              <a:gd name="connsiteY2135" fmla="*/ 3962493 h 4525940"/>
              <a:gd name="connsiteX2136" fmla="*/ 1862177 w 4545947"/>
              <a:gd name="connsiteY2136" fmla="*/ 3975155 h 4525940"/>
              <a:gd name="connsiteX2137" fmla="*/ 1851780 w 4545947"/>
              <a:gd name="connsiteY2137" fmla="*/ 3987817 h 4525940"/>
              <a:gd name="connsiteX2138" fmla="*/ 1835939 w 4545947"/>
              <a:gd name="connsiteY2138" fmla="*/ 3997313 h 4525940"/>
              <a:gd name="connsiteX2139" fmla="*/ 1826658 w 4545947"/>
              <a:gd name="connsiteY2139" fmla="*/ 4006809 h 4525940"/>
              <a:gd name="connsiteX2140" fmla="*/ 1822820 w 4545947"/>
              <a:gd name="connsiteY2140" fmla="*/ 3997313 h 4525940"/>
              <a:gd name="connsiteX2141" fmla="*/ 1818447 w 4545947"/>
              <a:gd name="connsiteY2141" fmla="*/ 3987817 h 4525940"/>
              <a:gd name="connsiteX2142" fmla="*/ 1814075 w 4545947"/>
              <a:gd name="connsiteY2142" fmla="*/ 3977485 h 4525940"/>
              <a:gd name="connsiteX2143" fmla="*/ 1786969 w 4545947"/>
              <a:gd name="connsiteY2143" fmla="*/ 3911104 h 4525940"/>
              <a:gd name="connsiteX2144" fmla="*/ 1779091 w 4545947"/>
              <a:gd name="connsiteY2144" fmla="*/ 3887418 h 4525940"/>
              <a:gd name="connsiteX2145" fmla="*/ 1741945 w 4545947"/>
              <a:gd name="connsiteY2145" fmla="*/ 3805804 h 4525940"/>
              <a:gd name="connsiteX2146" fmla="*/ 1725644 w 4545947"/>
              <a:gd name="connsiteY2146" fmla="*/ 3791560 h 4525940"/>
              <a:gd name="connsiteX2147" fmla="*/ 1717870 w 4545947"/>
              <a:gd name="connsiteY2147" fmla="*/ 3781609 h 4525940"/>
              <a:gd name="connsiteX2148" fmla="*/ 1690111 w 4545947"/>
              <a:gd name="connsiteY2148" fmla="*/ 3710809 h 4525940"/>
              <a:gd name="connsiteX2149" fmla="*/ 1680232 w 4545947"/>
              <a:gd name="connsiteY2149" fmla="*/ 3693432 h 4525940"/>
              <a:gd name="connsiteX2150" fmla="*/ 1667809 w 4545947"/>
              <a:gd name="connsiteY2150" fmla="*/ 3678612 h 4525940"/>
              <a:gd name="connsiteX2151" fmla="*/ 1643530 w 4545947"/>
              <a:gd name="connsiteY2151" fmla="*/ 3646410 h 4525940"/>
              <a:gd name="connsiteX2152" fmla="*/ 1632598 w 4545947"/>
              <a:gd name="connsiteY2152" fmla="*/ 3628089 h 4525940"/>
              <a:gd name="connsiteX2153" fmla="*/ 1621666 w 4545947"/>
              <a:gd name="connsiteY2153" fmla="*/ 3599604 h 4525940"/>
              <a:gd name="connsiteX2154" fmla="*/ 1607892 w 4545947"/>
              <a:gd name="connsiteY2154" fmla="*/ 3573621 h 4525940"/>
              <a:gd name="connsiteX2155" fmla="*/ 1582310 w 4545947"/>
              <a:gd name="connsiteY2155" fmla="*/ 3590188 h 4525940"/>
              <a:gd name="connsiteX2156" fmla="*/ 1556968 w 4545947"/>
              <a:gd name="connsiteY2156" fmla="*/ 3581059 h 4525940"/>
              <a:gd name="connsiteX2157" fmla="*/ 1548180 w 4545947"/>
              <a:gd name="connsiteY2157" fmla="*/ 3562841 h 4525940"/>
              <a:gd name="connsiteX2158" fmla="*/ 1525461 w 4545947"/>
              <a:gd name="connsiteY2158" fmla="*/ 3564887 h 4525940"/>
              <a:gd name="connsiteX2159" fmla="*/ 1521880 w 4545947"/>
              <a:gd name="connsiteY2159" fmla="*/ 3567523 h 4525940"/>
              <a:gd name="connsiteX2160" fmla="*/ 1528124 w 4545947"/>
              <a:gd name="connsiteY2160" fmla="*/ 3608537 h 4525940"/>
              <a:gd name="connsiteX2161" fmla="*/ 1534207 w 4545947"/>
              <a:gd name="connsiteY2161" fmla="*/ 3628104 h 4525940"/>
              <a:gd name="connsiteX2162" fmla="*/ 1548057 w 4545947"/>
              <a:gd name="connsiteY2162" fmla="*/ 3665312 h 4525940"/>
              <a:gd name="connsiteX2163" fmla="*/ 1562692 w 4545947"/>
              <a:gd name="connsiteY2163" fmla="*/ 3701343 h 4525940"/>
              <a:gd name="connsiteX2164" fmla="*/ 1578407 w 4545947"/>
              <a:gd name="connsiteY2164" fmla="*/ 3761403 h 4525940"/>
              <a:gd name="connsiteX2165" fmla="*/ 1582310 w 4545947"/>
              <a:gd name="connsiteY2165" fmla="*/ 3785236 h 4525940"/>
              <a:gd name="connsiteX2166" fmla="*/ 1595866 w 4545947"/>
              <a:gd name="connsiteY2166" fmla="*/ 3810012 h 4525940"/>
              <a:gd name="connsiteX2167" fmla="*/ 1609422 w 4545947"/>
              <a:gd name="connsiteY2167" fmla="*/ 3821947 h 4525940"/>
              <a:gd name="connsiteX2168" fmla="*/ 1599783 w 4545947"/>
              <a:gd name="connsiteY2168" fmla="*/ 3835903 h 4525940"/>
              <a:gd name="connsiteX2169" fmla="*/ 1592769 w 4545947"/>
              <a:gd name="connsiteY2169" fmla="*/ 3868858 h 4525940"/>
              <a:gd name="connsiteX2170" fmla="*/ 1589357 w 4545947"/>
              <a:gd name="connsiteY2170" fmla="*/ 3884504 h 4525940"/>
              <a:gd name="connsiteX2171" fmla="*/ 1588146 w 4545947"/>
              <a:gd name="connsiteY2171" fmla="*/ 3899664 h 4525940"/>
              <a:gd name="connsiteX2172" fmla="*/ 1602110 w 4545947"/>
              <a:gd name="connsiteY2172" fmla="*/ 3918177 h 4525940"/>
              <a:gd name="connsiteX2173" fmla="*/ 1628191 w 4545947"/>
              <a:gd name="connsiteY2173" fmla="*/ 3950044 h 4525940"/>
              <a:gd name="connsiteX2174" fmla="*/ 1632855 w 4545947"/>
              <a:gd name="connsiteY2174" fmla="*/ 3989399 h 4525940"/>
              <a:gd name="connsiteX2175" fmla="*/ 1631957 w 4545947"/>
              <a:gd name="connsiteY2175" fmla="*/ 4013140 h 4525940"/>
              <a:gd name="connsiteX2176" fmla="*/ 1608547 w 4545947"/>
              <a:gd name="connsiteY2176" fmla="*/ 3977962 h 4525940"/>
              <a:gd name="connsiteX2177" fmla="*/ 1603916 w 4545947"/>
              <a:gd name="connsiteY2177" fmla="*/ 3962493 h 4525940"/>
              <a:gd name="connsiteX2178" fmla="*/ 1602413 w 4545947"/>
              <a:gd name="connsiteY2178" fmla="*/ 3955165 h 4525940"/>
              <a:gd name="connsiteX2179" fmla="*/ 1596313 w 4545947"/>
              <a:gd name="connsiteY2179" fmla="*/ 3951331 h 4525940"/>
              <a:gd name="connsiteX2180" fmla="*/ 1579635 w 4545947"/>
              <a:gd name="connsiteY2180" fmla="*/ 3938084 h 4525940"/>
              <a:gd name="connsiteX2181" fmla="*/ 1566316 w 4545947"/>
              <a:gd name="connsiteY2181" fmla="*/ 3916280 h 4525940"/>
              <a:gd name="connsiteX2182" fmla="*/ 1560307 w 4545947"/>
              <a:gd name="connsiteY2182" fmla="*/ 3894122 h 4525940"/>
              <a:gd name="connsiteX2183" fmla="*/ 1530293 w 4545947"/>
              <a:gd name="connsiteY2183" fmla="*/ 3846530 h 4525940"/>
              <a:gd name="connsiteX2184" fmla="*/ 1532819 w 4545947"/>
              <a:gd name="connsiteY2184" fmla="*/ 3820661 h 4525940"/>
              <a:gd name="connsiteX2185" fmla="*/ 1536987 w 4545947"/>
              <a:gd name="connsiteY2185" fmla="*/ 3782979 h 4525940"/>
              <a:gd name="connsiteX2186" fmla="*/ 1516242 w 4545947"/>
              <a:gd name="connsiteY2186" fmla="*/ 3759906 h 4525940"/>
              <a:gd name="connsiteX2187" fmla="*/ 1505885 w 4545947"/>
              <a:gd name="connsiteY2187" fmla="*/ 3732637 h 4525940"/>
              <a:gd name="connsiteX2188" fmla="*/ 1486312 w 4545947"/>
              <a:gd name="connsiteY2188" fmla="*/ 3693337 h 4525940"/>
              <a:gd name="connsiteX2189" fmla="*/ 1447478 w 4545947"/>
              <a:gd name="connsiteY2189" fmla="*/ 3663589 h 4525940"/>
              <a:gd name="connsiteX2190" fmla="*/ 1439825 w 4545947"/>
              <a:gd name="connsiteY2190" fmla="*/ 3658612 h 4525940"/>
              <a:gd name="connsiteX2191" fmla="*/ 1444562 w 4545947"/>
              <a:gd name="connsiteY2191" fmla="*/ 3639619 h 4525940"/>
              <a:gd name="connsiteX2192" fmla="*/ 1455495 w 4545947"/>
              <a:gd name="connsiteY2192" fmla="*/ 3623575 h 4525940"/>
              <a:gd name="connsiteX2193" fmla="*/ 1460961 w 4545947"/>
              <a:gd name="connsiteY2193" fmla="*/ 3617522 h 4525940"/>
              <a:gd name="connsiteX2194" fmla="*/ 1452837 w 4545947"/>
              <a:gd name="connsiteY2194" fmla="*/ 3603651 h 4525940"/>
              <a:gd name="connsiteX2195" fmla="*/ 1436789 w 4545947"/>
              <a:gd name="connsiteY2195" fmla="*/ 3558195 h 4525940"/>
              <a:gd name="connsiteX2196" fmla="*/ 1396928 w 4545947"/>
              <a:gd name="connsiteY2196" fmla="*/ 3504024 h 4525940"/>
              <a:gd name="connsiteX2197" fmla="*/ 1403198 w 4545947"/>
              <a:gd name="connsiteY2197" fmla="*/ 3544914 h 4525940"/>
              <a:gd name="connsiteX2198" fmla="*/ 1413240 w 4545947"/>
              <a:gd name="connsiteY2198" fmla="*/ 3599452 h 4525940"/>
              <a:gd name="connsiteX2199" fmla="*/ 1421808 w 4545947"/>
              <a:gd name="connsiteY2199" fmla="*/ 3648957 h 4525940"/>
              <a:gd name="connsiteX2200" fmla="*/ 1425263 w 4545947"/>
              <a:gd name="connsiteY2200" fmla="*/ 3671274 h 4525940"/>
              <a:gd name="connsiteX2201" fmla="*/ 1424464 w 4545947"/>
              <a:gd name="connsiteY2201" fmla="*/ 3688684 h 4525940"/>
              <a:gd name="connsiteX2202" fmla="*/ 1437204 w 4545947"/>
              <a:gd name="connsiteY2202" fmla="*/ 3708117 h 4525940"/>
              <a:gd name="connsiteX2203" fmla="*/ 1446749 w 4545947"/>
              <a:gd name="connsiteY2203" fmla="*/ 3731484 h 4525940"/>
              <a:gd name="connsiteX2204" fmla="*/ 1451637 w 4545947"/>
              <a:gd name="connsiteY2204" fmla="*/ 3757202 h 4525940"/>
              <a:gd name="connsiteX2205" fmla="*/ 1453905 w 4545947"/>
              <a:gd name="connsiteY2205" fmla="*/ 3789250 h 4525940"/>
              <a:gd name="connsiteX2206" fmla="*/ 1459949 w 4545947"/>
              <a:gd name="connsiteY2206" fmla="*/ 3824758 h 4525940"/>
              <a:gd name="connsiteX2207" fmla="*/ 1468613 w 4545947"/>
              <a:gd name="connsiteY2207" fmla="*/ 3839789 h 4525940"/>
              <a:gd name="connsiteX2208" fmla="*/ 1475477 w 4545947"/>
              <a:gd name="connsiteY2208" fmla="*/ 3855234 h 4525940"/>
              <a:gd name="connsiteX2209" fmla="*/ 1480511 w 4545947"/>
              <a:gd name="connsiteY2209" fmla="*/ 3873606 h 4525940"/>
              <a:gd name="connsiteX2210" fmla="*/ 1494666 w 4545947"/>
              <a:gd name="connsiteY2210" fmla="*/ 3899185 h 4525940"/>
              <a:gd name="connsiteX2211" fmla="*/ 1499224 w 4545947"/>
              <a:gd name="connsiteY2211" fmla="*/ 3921197 h 4525940"/>
              <a:gd name="connsiteX2212" fmla="*/ 1509610 w 4545947"/>
              <a:gd name="connsiteY2212" fmla="*/ 3953061 h 4525940"/>
              <a:gd name="connsiteX2213" fmla="*/ 1516169 w 4545947"/>
              <a:gd name="connsiteY2213" fmla="*/ 3997802 h 4525940"/>
              <a:gd name="connsiteX2214" fmla="*/ 1512343 w 4545947"/>
              <a:gd name="connsiteY2214" fmla="*/ 3994521 h 4525940"/>
              <a:gd name="connsiteX2215" fmla="*/ 1506257 w 4545947"/>
              <a:gd name="connsiteY2215" fmla="*/ 3987817 h 4525940"/>
              <a:gd name="connsiteX2216" fmla="*/ 1497656 w 4545947"/>
              <a:gd name="connsiteY2216" fmla="*/ 3973300 h 4525940"/>
              <a:gd name="connsiteX2217" fmla="*/ 1478220 w 4545947"/>
              <a:gd name="connsiteY2217" fmla="*/ 3947976 h 4525940"/>
              <a:gd name="connsiteX2218" fmla="*/ 1448741 w 4545947"/>
              <a:gd name="connsiteY2218" fmla="*/ 3950719 h 4525940"/>
              <a:gd name="connsiteX2219" fmla="*/ 1461808 w 4545947"/>
              <a:gd name="connsiteY2219" fmla="*/ 3985538 h 4525940"/>
              <a:gd name="connsiteX2220" fmla="*/ 1481440 w 4545947"/>
              <a:gd name="connsiteY2220" fmla="*/ 4006809 h 4525940"/>
              <a:gd name="connsiteX2221" fmla="*/ 1496501 w 4545947"/>
              <a:gd name="connsiteY2221" fmla="*/ 4041629 h 4525940"/>
              <a:gd name="connsiteX2222" fmla="*/ 1493287 w 4545947"/>
              <a:gd name="connsiteY2222" fmla="*/ 4049433 h 4525940"/>
              <a:gd name="connsiteX2223" fmla="*/ 1472986 w 4545947"/>
              <a:gd name="connsiteY2223" fmla="*/ 4080292 h 4525940"/>
              <a:gd name="connsiteX2224" fmla="*/ 1442104 w 4545947"/>
              <a:gd name="connsiteY2224" fmla="*/ 4115143 h 4525940"/>
              <a:gd name="connsiteX2225" fmla="*/ 1418702 w 4545947"/>
              <a:gd name="connsiteY2225" fmla="*/ 4130309 h 4525940"/>
              <a:gd name="connsiteX2226" fmla="*/ 1406504 w 4545947"/>
              <a:gd name="connsiteY2226" fmla="*/ 4146676 h 4525940"/>
              <a:gd name="connsiteX2227" fmla="*/ 1417881 w 4545947"/>
              <a:gd name="connsiteY2227" fmla="*/ 4160828 h 4525940"/>
              <a:gd name="connsiteX2228" fmla="*/ 1429257 w 4545947"/>
              <a:gd name="connsiteY2228" fmla="*/ 4181169 h 4525940"/>
              <a:gd name="connsiteX2229" fmla="*/ 1438003 w 4545947"/>
              <a:gd name="connsiteY2229" fmla="*/ 4195266 h 4525940"/>
              <a:gd name="connsiteX2230" fmla="*/ 1441283 w 4545947"/>
              <a:gd name="connsiteY2230" fmla="*/ 4221961 h 4525940"/>
              <a:gd name="connsiteX2231" fmla="*/ 1422992 w 4545947"/>
              <a:gd name="connsiteY2231" fmla="*/ 4198318 h 4525940"/>
              <a:gd name="connsiteX2232" fmla="*/ 1411471 w 4545947"/>
              <a:gd name="connsiteY2232" fmla="*/ 4184073 h 4525940"/>
              <a:gd name="connsiteX2233" fmla="*/ 1403020 w 4545947"/>
              <a:gd name="connsiteY2233" fmla="*/ 4172819 h 4525940"/>
              <a:gd name="connsiteX2234" fmla="*/ 1380062 w 4545947"/>
              <a:gd name="connsiteY2234" fmla="*/ 4138288 h 4525940"/>
              <a:gd name="connsiteX2235" fmla="*/ 1376782 w 4545947"/>
              <a:gd name="connsiteY2235" fmla="*/ 4130261 h 4525940"/>
              <a:gd name="connsiteX2236" fmla="*/ 1368775 w 4545947"/>
              <a:gd name="connsiteY2236" fmla="*/ 4120765 h 4525940"/>
              <a:gd name="connsiteX2237" fmla="*/ 1354046 w 4545947"/>
              <a:gd name="connsiteY2237" fmla="*/ 4071017 h 4525940"/>
              <a:gd name="connsiteX2238" fmla="*/ 1352620 w 4545947"/>
              <a:gd name="connsiteY2238" fmla="*/ 4044661 h 4525940"/>
              <a:gd name="connsiteX2239" fmla="*/ 1329483 w 4545947"/>
              <a:gd name="connsiteY2239" fmla="*/ 4059093 h 4525940"/>
              <a:gd name="connsiteX2240" fmla="*/ 1315264 w 4545947"/>
              <a:gd name="connsiteY2240" fmla="*/ 4077582 h 4525940"/>
              <a:gd name="connsiteX2241" fmla="*/ 1322597 w 4545947"/>
              <a:gd name="connsiteY2241" fmla="*/ 4121336 h 4525940"/>
              <a:gd name="connsiteX2242" fmla="*/ 1328680 w 4545947"/>
              <a:gd name="connsiteY2242" fmla="*/ 4139757 h 4525940"/>
              <a:gd name="connsiteX2243" fmla="*/ 1335239 w 4545947"/>
              <a:gd name="connsiteY2243" fmla="*/ 4158750 h 4525940"/>
              <a:gd name="connsiteX2244" fmla="*/ 1341799 w 4545947"/>
              <a:gd name="connsiteY2244" fmla="*/ 4181683 h 4525940"/>
              <a:gd name="connsiteX2245" fmla="*/ 1346172 w 4545947"/>
              <a:gd name="connsiteY2245" fmla="*/ 4196735 h 4525940"/>
              <a:gd name="connsiteX2246" fmla="*/ 1350544 w 4545947"/>
              <a:gd name="connsiteY2246" fmla="*/ 4206232 h 4525940"/>
              <a:gd name="connsiteX2247" fmla="*/ 1354316 w 4545947"/>
              <a:gd name="connsiteY2247" fmla="*/ 4215728 h 4525940"/>
              <a:gd name="connsiteX2248" fmla="*/ 1359560 w 4545947"/>
              <a:gd name="connsiteY2248" fmla="*/ 4293840 h 4525940"/>
              <a:gd name="connsiteX2249" fmla="*/ 1352111 w 4545947"/>
              <a:gd name="connsiteY2249" fmla="*/ 4288008 h 4525940"/>
              <a:gd name="connsiteX2250" fmla="*/ 1343221 w 4545947"/>
              <a:gd name="connsiteY2250" fmla="*/ 4270808 h 4525940"/>
              <a:gd name="connsiteX2251" fmla="*/ 1337426 w 4545947"/>
              <a:gd name="connsiteY2251" fmla="*/ 4253772 h 4525940"/>
              <a:gd name="connsiteX2252" fmla="*/ 1333053 w 4545947"/>
              <a:gd name="connsiteY2252" fmla="*/ 4237886 h 4525940"/>
              <a:gd name="connsiteX2253" fmla="*/ 1328680 w 4545947"/>
              <a:gd name="connsiteY2253" fmla="*/ 4222568 h 4525940"/>
              <a:gd name="connsiteX2254" fmla="*/ 1317496 w 4545947"/>
              <a:gd name="connsiteY2254" fmla="*/ 4187305 h 4525940"/>
              <a:gd name="connsiteX2255" fmla="*/ 1308613 w 4545947"/>
              <a:gd name="connsiteY2255" fmla="*/ 4154767 h 4525940"/>
              <a:gd name="connsiteX2256" fmla="*/ 1306994 w 4545947"/>
              <a:gd name="connsiteY2256" fmla="*/ 4146088 h 4525940"/>
              <a:gd name="connsiteX2257" fmla="*/ 1295358 w 4545947"/>
              <a:gd name="connsiteY2257" fmla="*/ 4120765 h 4525940"/>
              <a:gd name="connsiteX2258" fmla="*/ 1284109 w 4545947"/>
              <a:gd name="connsiteY2258" fmla="*/ 4095441 h 4525940"/>
              <a:gd name="connsiteX2259" fmla="*/ 1280578 w 4545947"/>
              <a:gd name="connsiteY2259" fmla="*/ 4086720 h 4525940"/>
              <a:gd name="connsiteX2260" fmla="*/ 1274018 w 4545947"/>
              <a:gd name="connsiteY2260" fmla="*/ 4070118 h 4525940"/>
              <a:gd name="connsiteX2261" fmla="*/ 1267383 w 4545947"/>
              <a:gd name="connsiteY2261" fmla="*/ 4045602 h 4525940"/>
              <a:gd name="connsiteX2262" fmla="*/ 1240129 w 4545947"/>
              <a:gd name="connsiteY2262" fmla="*/ 3998638 h 4525940"/>
              <a:gd name="connsiteX2263" fmla="*/ 1232476 w 4545947"/>
              <a:gd name="connsiteY2263" fmla="*/ 3982137 h 4525940"/>
              <a:gd name="connsiteX2264" fmla="*/ 1201553 w 4545947"/>
              <a:gd name="connsiteY2264" fmla="*/ 3949831 h 4525940"/>
              <a:gd name="connsiteX2265" fmla="*/ 1191004 w 4545947"/>
              <a:gd name="connsiteY2265" fmla="*/ 3924394 h 4525940"/>
              <a:gd name="connsiteX2266" fmla="*/ 1194112 w 4545947"/>
              <a:gd name="connsiteY2266" fmla="*/ 3889076 h 4525940"/>
              <a:gd name="connsiteX2267" fmla="*/ 1178736 w 4545947"/>
              <a:gd name="connsiteY2267" fmla="*/ 3862362 h 4525940"/>
              <a:gd name="connsiteX2268" fmla="*/ 1166882 w 4545947"/>
              <a:gd name="connsiteY2268" fmla="*/ 3882485 h 4525940"/>
              <a:gd name="connsiteX2269" fmla="*/ 1173441 w 4545947"/>
              <a:gd name="connsiteY2269" fmla="*/ 3914107 h 4525940"/>
              <a:gd name="connsiteX2270" fmla="*/ 1170962 w 4545947"/>
              <a:gd name="connsiteY2270" fmla="*/ 3943924 h 4525940"/>
              <a:gd name="connsiteX2271" fmla="*/ 1167124 w 4545947"/>
              <a:gd name="connsiteY2271" fmla="*/ 3966082 h 4525940"/>
              <a:gd name="connsiteX2272" fmla="*/ 1180319 w 4545947"/>
              <a:gd name="connsiteY2272" fmla="*/ 3975155 h 4525940"/>
              <a:gd name="connsiteX2273" fmla="*/ 1191809 w 4545947"/>
              <a:gd name="connsiteY2273" fmla="*/ 3983079 h 4525940"/>
              <a:gd name="connsiteX2274" fmla="*/ 1206636 w 4545947"/>
              <a:gd name="connsiteY2274" fmla="*/ 3999437 h 4525940"/>
              <a:gd name="connsiteX2275" fmla="*/ 1218569 w 4545947"/>
              <a:gd name="connsiteY2275" fmla="*/ 4031037 h 4525940"/>
              <a:gd name="connsiteX2276" fmla="*/ 1223715 w 4545947"/>
              <a:gd name="connsiteY2276" fmla="*/ 4056394 h 4525940"/>
              <a:gd name="connsiteX2277" fmla="*/ 1234740 w 4545947"/>
              <a:gd name="connsiteY2277" fmla="*/ 4067970 h 4525940"/>
              <a:gd name="connsiteX2278" fmla="*/ 1243044 w 4545947"/>
              <a:gd name="connsiteY2278" fmla="*/ 4125505 h 4525940"/>
              <a:gd name="connsiteX2279" fmla="*/ 1235153 w 4545947"/>
              <a:gd name="connsiteY2279" fmla="*/ 4136583 h 4525940"/>
              <a:gd name="connsiteX2280" fmla="*/ 1223274 w 4545947"/>
              <a:gd name="connsiteY2280" fmla="*/ 4164622 h 4525940"/>
              <a:gd name="connsiteX2281" fmla="*/ 1214344 w 4545947"/>
              <a:gd name="connsiteY2281" fmla="*/ 4186944 h 4525940"/>
              <a:gd name="connsiteX2282" fmla="*/ 1207713 w 4545947"/>
              <a:gd name="connsiteY2282" fmla="*/ 4193168 h 4525940"/>
              <a:gd name="connsiteX2283" fmla="*/ 1206188 w 4545947"/>
              <a:gd name="connsiteY2283" fmla="*/ 4199856 h 4525940"/>
              <a:gd name="connsiteX2284" fmla="*/ 1201865 w 4545947"/>
              <a:gd name="connsiteY2284" fmla="*/ 4206484 h 4525940"/>
              <a:gd name="connsiteX2285" fmla="*/ 1235316 w 4545947"/>
              <a:gd name="connsiteY2285" fmla="*/ 4253713 h 4525940"/>
              <a:gd name="connsiteX2286" fmla="*/ 1240895 w 4545947"/>
              <a:gd name="connsiteY2286" fmla="*/ 4261626 h 4525940"/>
              <a:gd name="connsiteX2287" fmla="*/ 1252153 w 4545947"/>
              <a:gd name="connsiteY2287" fmla="*/ 4285367 h 4525940"/>
              <a:gd name="connsiteX2288" fmla="*/ 1263086 w 4545947"/>
              <a:gd name="connsiteY2288" fmla="*/ 4295120 h 4525940"/>
              <a:gd name="connsiteX2289" fmla="*/ 1244501 w 4545947"/>
              <a:gd name="connsiteY2289" fmla="*/ 4303451 h 4525940"/>
              <a:gd name="connsiteX2290" fmla="*/ 1210611 w 4545947"/>
              <a:gd name="connsiteY2290" fmla="*/ 4280227 h 4525940"/>
              <a:gd name="connsiteX2291" fmla="*/ 1204011 w 4545947"/>
              <a:gd name="connsiteY2291" fmla="*/ 4262246 h 4525940"/>
              <a:gd name="connsiteX2292" fmla="*/ 1199513 w 4545947"/>
              <a:gd name="connsiteY2292" fmla="*/ 4247770 h 4525940"/>
              <a:gd name="connsiteX2293" fmla="*/ 1182452 w 4545947"/>
              <a:gd name="connsiteY2293" fmla="*/ 4212632 h 4525940"/>
              <a:gd name="connsiteX2294" fmla="*/ 1150918 w 4545947"/>
              <a:gd name="connsiteY2294" fmla="*/ 4186912 h 4525940"/>
              <a:gd name="connsiteX2295" fmla="*/ 1135289 w 4545947"/>
              <a:gd name="connsiteY2295" fmla="*/ 4198820 h 4525940"/>
              <a:gd name="connsiteX2296" fmla="*/ 1140378 w 4545947"/>
              <a:gd name="connsiteY2296" fmla="*/ 4248933 h 4525940"/>
              <a:gd name="connsiteX2297" fmla="*/ 1150457 w 4545947"/>
              <a:gd name="connsiteY2297" fmla="*/ 4274815 h 4525940"/>
              <a:gd name="connsiteX2298" fmla="*/ 1159469 w 4545947"/>
              <a:gd name="connsiteY2298" fmla="*/ 4304632 h 4525940"/>
              <a:gd name="connsiteX2299" fmla="*/ 1166882 w 4545947"/>
              <a:gd name="connsiteY2299" fmla="*/ 4326027 h 4525940"/>
              <a:gd name="connsiteX2300" fmla="*/ 1180000 w 4545947"/>
              <a:gd name="connsiteY2300" fmla="*/ 4350870 h 4525940"/>
              <a:gd name="connsiteX2301" fmla="*/ 1193119 w 4545947"/>
              <a:gd name="connsiteY2301" fmla="*/ 4371661 h 4525940"/>
              <a:gd name="connsiteX2302" fmla="*/ 1204529 w 4545947"/>
              <a:gd name="connsiteY2302" fmla="*/ 4393713 h 4525940"/>
              <a:gd name="connsiteX2303" fmla="*/ 1203609 w 4545947"/>
              <a:gd name="connsiteY2303" fmla="*/ 4422111 h 4525940"/>
              <a:gd name="connsiteX2304" fmla="*/ 1197492 w 4545947"/>
              <a:gd name="connsiteY2304" fmla="*/ 4424845 h 4525940"/>
              <a:gd name="connsiteX2305" fmla="*/ 1178586 w 4545947"/>
              <a:gd name="connsiteY2305" fmla="*/ 4426228 h 4525940"/>
              <a:gd name="connsiteX2306" fmla="*/ 1173608 w 4545947"/>
              <a:gd name="connsiteY2306" fmla="*/ 4400905 h 4525940"/>
              <a:gd name="connsiteX2307" fmla="*/ 1167529 w 4545947"/>
              <a:gd name="connsiteY2307" fmla="*/ 4380330 h 4525940"/>
              <a:gd name="connsiteX2308" fmla="*/ 1156323 w 4545947"/>
              <a:gd name="connsiteY2308" fmla="*/ 4358354 h 4525940"/>
              <a:gd name="connsiteX2309" fmla="*/ 1144396 w 4545947"/>
              <a:gd name="connsiteY2309" fmla="*/ 4339735 h 4525940"/>
              <a:gd name="connsiteX2310" fmla="*/ 1140644 w 4545947"/>
              <a:gd name="connsiteY2310" fmla="*/ 4336772 h 4525940"/>
              <a:gd name="connsiteX2311" fmla="*/ 1122060 w 4545947"/>
              <a:gd name="connsiteY2311" fmla="*/ 4331650 h 4525940"/>
              <a:gd name="connsiteX2312" fmla="*/ 1103474 w 4545947"/>
              <a:gd name="connsiteY2312" fmla="*/ 4323352 h 4525940"/>
              <a:gd name="connsiteX2313" fmla="*/ 1115054 w 4545947"/>
              <a:gd name="connsiteY2313" fmla="*/ 4311915 h 4525940"/>
              <a:gd name="connsiteX2314" fmla="*/ 1124887 w 4545947"/>
              <a:gd name="connsiteY2314" fmla="*/ 4278494 h 4525940"/>
              <a:gd name="connsiteX2315" fmla="*/ 1118779 w 4545947"/>
              <a:gd name="connsiteY2315" fmla="*/ 4262434 h 4525940"/>
              <a:gd name="connsiteX2316" fmla="*/ 1114407 w 4545947"/>
              <a:gd name="connsiteY2316" fmla="*/ 4253713 h 4525940"/>
              <a:gd name="connsiteX2317" fmla="*/ 1110034 w 4545947"/>
              <a:gd name="connsiteY2317" fmla="*/ 4244894 h 4525940"/>
              <a:gd name="connsiteX2318" fmla="*/ 1103247 w 4545947"/>
              <a:gd name="connsiteY2318" fmla="*/ 4232305 h 4525940"/>
              <a:gd name="connsiteX2319" fmla="*/ 1099558 w 4545947"/>
              <a:gd name="connsiteY2319" fmla="*/ 4235790 h 4525940"/>
              <a:gd name="connsiteX2320" fmla="*/ 1092793 w 4545947"/>
              <a:gd name="connsiteY2320" fmla="*/ 4239312 h 4525940"/>
              <a:gd name="connsiteX2321" fmla="*/ 1085867 w 4545947"/>
              <a:gd name="connsiteY2321" fmla="*/ 4249394 h 4525940"/>
              <a:gd name="connsiteX2322" fmla="*/ 1085559 w 4545947"/>
              <a:gd name="connsiteY2322" fmla="*/ 4296446 h 4525940"/>
              <a:gd name="connsiteX2323" fmla="*/ 1079427 w 4545947"/>
              <a:gd name="connsiteY2323" fmla="*/ 4317021 h 4525940"/>
              <a:gd name="connsiteX2324" fmla="*/ 1026948 w 4545947"/>
              <a:gd name="connsiteY2324" fmla="*/ 4257083 h 4525940"/>
              <a:gd name="connsiteX2325" fmla="*/ 1019295 w 4545947"/>
              <a:gd name="connsiteY2325" fmla="*/ 4242429 h 4525940"/>
              <a:gd name="connsiteX2326" fmla="*/ 1011029 w 4545947"/>
              <a:gd name="connsiteY2326" fmla="*/ 4231555 h 4525940"/>
              <a:gd name="connsiteX2327" fmla="*/ 1007402 w 4545947"/>
              <a:gd name="connsiteY2327" fmla="*/ 4204648 h 4525940"/>
              <a:gd name="connsiteX2328" fmla="*/ 1008641 w 4545947"/>
              <a:gd name="connsiteY2328" fmla="*/ 4184073 h 4525940"/>
              <a:gd name="connsiteX2329" fmla="*/ 1008391 w 4545947"/>
              <a:gd name="connsiteY2329" fmla="*/ 4147050 h 4525940"/>
              <a:gd name="connsiteX2330" fmla="*/ 987053 w 4545947"/>
              <a:gd name="connsiteY2330" fmla="*/ 4132187 h 4525940"/>
              <a:gd name="connsiteX2331" fmla="*/ 976052 w 4545947"/>
              <a:gd name="connsiteY2331" fmla="*/ 4108153 h 4525940"/>
              <a:gd name="connsiteX2332" fmla="*/ 971471 w 4545947"/>
              <a:gd name="connsiteY2332" fmla="*/ 4077676 h 4525940"/>
              <a:gd name="connsiteX2333" fmla="*/ 963413 w 4545947"/>
              <a:gd name="connsiteY2333" fmla="*/ 4055810 h 4525940"/>
              <a:gd name="connsiteX2334" fmla="*/ 957575 w 4545947"/>
              <a:gd name="connsiteY2334" fmla="*/ 4038463 h 4525940"/>
              <a:gd name="connsiteX2335" fmla="*/ 948803 w 4545947"/>
              <a:gd name="connsiteY2335" fmla="*/ 4019035 h 4525940"/>
              <a:gd name="connsiteX2336" fmla="*/ 932430 w 4545947"/>
              <a:gd name="connsiteY2336" fmla="*/ 3984503 h 4525940"/>
              <a:gd name="connsiteX2337" fmla="*/ 922065 w 4545947"/>
              <a:gd name="connsiteY2337" fmla="*/ 3961198 h 4525940"/>
              <a:gd name="connsiteX2338" fmla="*/ 926371 w 4545947"/>
              <a:gd name="connsiteY2338" fmla="*/ 3962493 h 4525940"/>
              <a:gd name="connsiteX2339" fmla="*/ 930677 w 4545947"/>
              <a:gd name="connsiteY2339" fmla="*/ 3964851 h 4525940"/>
              <a:gd name="connsiteX2340" fmla="*/ 924185 w 4545947"/>
              <a:gd name="connsiteY2340" fmla="*/ 3949831 h 4525940"/>
              <a:gd name="connsiteX2341" fmla="*/ 917625 w 4545947"/>
              <a:gd name="connsiteY2341" fmla="*/ 3931045 h 4525940"/>
              <a:gd name="connsiteX2342" fmla="*/ 908879 w 4545947"/>
              <a:gd name="connsiteY2342" fmla="*/ 3908681 h 4525940"/>
              <a:gd name="connsiteX2343" fmla="*/ 900133 w 4545947"/>
              <a:gd name="connsiteY2343" fmla="*/ 3875582 h 4525940"/>
              <a:gd name="connsiteX2344" fmla="*/ 882642 w 4545947"/>
              <a:gd name="connsiteY2344" fmla="*/ 3831209 h 4525940"/>
              <a:gd name="connsiteX2345" fmla="*/ 865150 w 4545947"/>
              <a:gd name="connsiteY2345" fmla="*/ 3784868 h 4525940"/>
              <a:gd name="connsiteX2346" fmla="*/ 858591 w 4545947"/>
              <a:gd name="connsiteY2346" fmla="*/ 3757617 h 4525940"/>
              <a:gd name="connsiteX2347" fmla="*/ 852031 w 4545947"/>
              <a:gd name="connsiteY2347" fmla="*/ 3717196 h 4525940"/>
              <a:gd name="connsiteX2348" fmla="*/ 843285 w 4545947"/>
              <a:gd name="connsiteY2348" fmla="*/ 3669577 h 4525940"/>
              <a:gd name="connsiteX2349" fmla="*/ 834539 w 4545947"/>
              <a:gd name="connsiteY2349" fmla="*/ 3648804 h 4525940"/>
              <a:gd name="connsiteX2350" fmla="*/ 830798 w 4545947"/>
              <a:gd name="connsiteY2350" fmla="*/ 3642220 h 4525940"/>
              <a:gd name="connsiteX2351" fmla="*/ 829106 w 4545947"/>
              <a:gd name="connsiteY2351" fmla="*/ 3630048 h 4525940"/>
              <a:gd name="connsiteX2352" fmla="*/ 803657 w 4545947"/>
              <a:gd name="connsiteY2352" fmla="*/ 3596041 h 4525940"/>
              <a:gd name="connsiteX2353" fmla="*/ 777265 w 4545947"/>
              <a:gd name="connsiteY2353" fmla="*/ 3578868 h 4525940"/>
              <a:gd name="connsiteX2354" fmla="*/ 755827 w 4545947"/>
              <a:gd name="connsiteY2354" fmla="*/ 3540146 h 4525940"/>
              <a:gd name="connsiteX2355" fmla="*/ 751454 w 4545947"/>
              <a:gd name="connsiteY2355" fmla="*/ 3531995 h 4525940"/>
              <a:gd name="connsiteX2356" fmla="*/ 747081 w 4545947"/>
              <a:gd name="connsiteY2356" fmla="*/ 3516168 h 4525940"/>
              <a:gd name="connsiteX2357" fmla="*/ 762326 w 4545947"/>
              <a:gd name="connsiteY2357" fmla="*/ 3510362 h 4525940"/>
              <a:gd name="connsiteX2358" fmla="*/ 789966 w 4545947"/>
              <a:gd name="connsiteY2358" fmla="*/ 3491886 h 4525940"/>
              <a:gd name="connsiteX2359" fmla="*/ 774412 w 4545947"/>
              <a:gd name="connsiteY2359" fmla="*/ 3465794 h 4525940"/>
              <a:gd name="connsiteX2360" fmla="*/ 760200 w 4545947"/>
              <a:gd name="connsiteY2360" fmla="*/ 3445219 h 4525940"/>
              <a:gd name="connsiteX2361" fmla="*/ 766020 w 4545947"/>
              <a:gd name="connsiteY2361" fmla="*/ 3430701 h 4525940"/>
              <a:gd name="connsiteX2362" fmla="*/ 777808 w 4545947"/>
              <a:gd name="connsiteY2362" fmla="*/ 3414557 h 4525940"/>
              <a:gd name="connsiteX2363" fmla="*/ 771392 w 4545947"/>
              <a:gd name="connsiteY2363" fmla="*/ 3383009 h 4525940"/>
              <a:gd name="connsiteX2364" fmla="*/ 764313 w 4545947"/>
              <a:gd name="connsiteY2364" fmla="*/ 3358350 h 4525940"/>
              <a:gd name="connsiteX2365" fmla="*/ 768188 w 4545947"/>
              <a:gd name="connsiteY2365" fmla="*/ 3334504 h 4525940"/>
              <a:gd name="connsiteX2366" fmla="*/ 743360 w 4545947"/>
              <a:gd name="connsiteY2366" fmla="*/ 3335738 h 4525940"/>
              <a:gd name="connsiteX2367" fmla="*/ 719750 w 4545947"/>
              <a:gd name="connsiteY2367" fmla="*/ 3360965 h 4525940"/>
              <a:gd name="connsiteX2368" fmla="*/ 707725 w 4545947"/>
              <a:gd name="connsiteY2368" fmla="*/ 3376437 h 4525940"/>
              <a:gd name="connsiteX2369" fmla="*/ 728262 w 4545947"/>
              <a:gd name="connsiteY2369" fmla="*/ 3411709 h 4525940"/>
              <a:gd name="connsiteX2370" fmla="*/ 732322 w 4545947"/>
              <a:gd name="connsiteY2370" fmla="*/ 3431493 h 4525940"/>
              <a:gd name="connsiteX2371" fmla="*/ 729589 w 4545947"/>
              <a:gd name="connsiteY2371" fmla="*/ 3456816 h 4525940"/>
              <a:gd name="connsiteX2372" fmla="*/ 721191 w 4545947"/>
              <a:gd name="connsiteY2372" fmla="*/ 3462355 h 4525940"/>
              <a:gd name="connsiteX2373" fmla="*/ 709911 w 4545947"/>
              <a:gd name="connsiteY2373" fmla="*/ 3443363 h 4525940"/>
              <a:gd name="connsiteX2374" fmla="*/ 703479 w 4545947"/>
              <a:gd name="connsiteY2374" fmla="*/ 3424370 h 4525940"/>
              <a:gd name="connsiteX2375" fmla="*/ 697371 w 4545947"/>
              <a:gd name="connsiteY2375" fmla="*/ 3409629 h 4525940"/>
              <a:gd name="connsiteX2376" fmla="*/ 671316 w 4545947"/>
              <a:gd name="connsiteY2376" fmla="*/ 3385041 h 4525940"/>
              <a:gd name="connsiteX2377" fmla="*/ 667444 w 4545947"/>
              <a:gd name="connsiteY2377" fmla="*/ 3424370 h 4525940"/>
              <a:gd name="connsiteX2378" fmla="*/ 678776 w 4545947"/>
              <a:gd name="connsiteY2378" fmla="*/ 3449694 h 4525940"/>
              <a:gd name="connsiteX2379" fmla="*/ 690046 w 4545947"/>
              <a:gd name="connsiteY2379" fmla="*/ 3475017 h 4525940"/>
              <a:gd name="connsiteX2380" fmla="*/ 696565 w 4545947"/>
              <a:gd name="connsiteY2380" fmla="*/ 3509394 h 4525940"/>
              <a:gd name="connsiteX2381" fmla="*/ 705815 w 4545947"/>
              <a:gd name="connsiteY2381" fmla="*/ 3551320 h 4525940"/>
              <a:gd name="connsiteX2382" fmla="*/ 699374 w 4545947"/>
              <a:gd name="connsiteY2382" fmla="*/ 3567879 h 4525940"/>
              <a:gd name="connsiteX2383" fmla="*/ 684206 w 4545947"/>
              <a:gd name="connsiteY2383" fmla="*/ 3573418 h 4525940"/>
              <a:gd name="connsiteX2384" fmla="*/ 670986 w 4545947"/>
              <a:gd name="connsiteY2384" fmla="*/ 3582642 h 4525940"/>
              <a:gd name="connsiteX2385" fmla="*/ 664136 w 4545947"/>
              <a:gd name="connsiteY2385" fmla="*/ 3541275 h 4525940"/>
              <a:gd name="connsiteX2386" fmla="*/ 671478 w 4545947"/>
              <a:gd name="connsiteY2386" fmla="*/ 3517368 h 4525940"/>
              <a:gd name="connsiteX2387" fmla="*/ 650877 w 4545947"/>
              <a:gd name="connsiteY2387" fmla="*/ 3507379 h 4525940"/>
              <a:gd name="connsiteX2388" fmla="*/ 632292 w 4545947"/>
              <a:gd name="connsiteY2388" fmla="*/ 3511535 h 4525940"/>
              <a:gd name="connsiteX2389" fmla="*/ 612262 w 4545947"/>
              <a:gd name="connsiteY2389" fmla="*/ 3524603 h 4525940"/>
              <a:gd name="connsiteX2390" fmla="*/ 616883 w 4545947"/>
              <a:gd name="connsiteY2390" fmla="*/ 3549927 h 4525940"/>
              <a:gd name="connsiteX2391" fmla="*/ 604596 w 4545947"/>
              <a:gd name="connsiteY2391" fmla="*/ 3582818 h 4525940"/>
              <a:gd name="connsiteX2392" fmla="*/ 578723 w 4545947"/>
              <a:gd name="connsiteY2392" fmla="*/ 3563624 h 4525940"/>
              <a:gd name="connsiteX2393" fmla="*/ 550299 w 4545947"/>
              <a:gd name="connsiteY2393" fmla="*/ 3514565 h 4525940"/>
              <a:gd name="connsiteX2394" fmla="*/ 543740 w 4545947"/>
              <a:gd name="connsiteY2394" fmla="*/ 3479059 h 4525940"/>
              <a:gd name="connsiteX2395" fmla="*/ 537180 w 4545947"/>
              <a:gd name="connsiteY2395" fmla="*/ 3459388 h 4525940"/>
              <a:gd name="connsiteX2396" fmla="*/ 532807 w 4545947"/>
              <a:gd name="connsiteY2396" fmla="*/ 3443363 h 4525940"/>
              <a:gd name="connsiteX2397" fmla="*/ 528435 w 4545947"/>
              <a:gd name="connsiteY2397" fmla="*/ 3432141 h 4525940"/>
              <a:gd name="connsiteX2398" fmla="*/ 510943 w 4545947"/>
              <a:gd name="connsiteY2398" fmla="*/ 3399047 h 4525940"/>
              <a:gd name="connsiteX2399" fmla="*/ 493451 w 4545947"/>
              <a:gd name="connsiteY2399" fmla="*/ 3366729 h 4525940"/>
              <a:gd name="connsiteX2400" fmla="*/ 486983 w 4545947"/>
              <a:gd name="connsiteY2400" fmla="*/ 3348509 h 4525940"/>
              <a:gd name="connsiteX2401" fmla="*/ 467214 w 4545947"/>
              <a:gd name="connsiteY2401" fmla="*/ 3290823 h 4525940"/>
              <a:gd name="connsiteX2402" fmla="*/ 462770 w 4545947"/>
              <a:gd name="connsiteY2402" fmla="*/ 3275532 h 4525940"/>
              <a:gd name="connsiteX2403" fmla="*/ 460480 w 4545947"/>
              <a:gd name="connsiteY2403" fmla="*/ 3266508 h 4525940"/>
              <a:gd name="connsiteX2404" fmla="*/ 453925 w 4545947"/>
              <a:gd name="connsiteY2404" fmla="*/ 3250050 h 4525940"/>
              <a:gd name="connsiteX2405" fmla="*/ 442490 w 4545947"/>
              <a:gd name="connsiteY2405" fmla="*/ 3213955 h 4525940"/>
              <a:gd name="connsiteX2406" fmla="*/ 429437 w 4545947"/>
              <a:gd name="connsiteY2406" fmla="*/ 3179475 h 4525940"/>
              <a:gd name="connsiteX2407" fmla="*/ 419111 w 4545947"/>
              <a:gd name="connsiteY2407" fmla="*/ 3129631 h 4525940"/>
              <a:gd name="connsiteX2408" fmla="*/ 414739 w 4545947"/>
              <a:gd name="connsiteY2408" fmla="*/ 3085670 h 4525940"/>
              <a:gd name="connsiteX2409" fmla="*/ 415429 w 4545947"/>
              <a:gd name="connsiteY2409" fmla="*/ 3055792 h 4525940"/>
              <a:gd name="connsiteX2410" fmla="*/ 393008 w 4545947"/>
              <a:gd name="connsiteY2410" fmla="*/ 3000795 h 4525940"/>
              <a:gd name="connsiteX2411" fmla="*/ 371009 w 4545947"/>
              <a:gd name="connsiteY2411" fmla="*/ 2946175 h 4525940"/>
              <a:gd name="connsiteX2412" fmla="*/ 364450 w 4545947"/>
              <a:gd name="connsiteY2412" fmla="*/ 2905240 h 4525940"/>
              <a:gd name="connsiteX2413" fmla="*/ 357891 w 4545947"/>
              <a:gd name="connsiteY2413" fmla="*/ 2879142 h 4525940"/>
              <a:gd name="connsiteX2414" fmla="*/ 353227 w 4545947"/>
              <a:gd name="connsiteY2414" fmla="*/ 2860924 h 4525940"/>
              <a:gd name="connsiteX2415" fmla="*/ 349948 w 4545947"/>
              <a:gd name="connsiteY2415" fmla="*/ 2843514 h 4525940"/>
              <a:gd name="connsiteX2416" fmla="*/ 340471 w 4545947"/>
              <a:gd name="connsiteY2416" fmla="*/ 2811971 h 4525940"/>
              <a:gd name="connsiteX2417" fmla="*/ 330125 w 4545947"/>
              <a:gd name="connsiteY2417" fmla="*/ 2770820 h 4525940"/>
              <a:gd name="connsiteX2418" fmla="*/ 327866 w 4545947"/>
              <a:gd name="connsiteY2418" fmla="*/ 2740638 h 4525940"/>
              <a:gd name="connsiteX2419" fmla="*/ 305415 w 4545947"/>
              <a:gd name="connsiteY2419" fmla="*/ 2661333 h 4525940"/>
              <a:gd name="connsiteX2420" fmla="*/ 301042 w 4545947"/>
              <a:gd name="connsiteY2420" fmla="*/ 2645675 h 4525940"/>
              <a:gd name="connsiteX2421" fmla="*/ 296670 w 4545947"/>
              <a:gd name="connsiteY2421" fmla="*/ 2612049 h 4525940"/>
              <a:gd name="connsiteX2422" fmla="*/ 286831 w 4545947"/>
              <a:gd name="connsiteY2422" fmla="*/ 2563152 h 4525940"/>
              <a:gd name="connsiteX2423" fmla="*/ 276187 w 4545947"/>
              <a:gd name="connsiteY2423" fmla="*/ 2538217 h 4525940"/>
              <a:gd name="connsiteX2424" fmla="*/ 263140 w 4545947"/>
              <a:gd name="connsiteY2424" fmla="*/ 2450618 h 4525940"/>
              <a:gd name="connsiteX2425" fmla="*/ 257313 w 4545947"/>
              <a:gd name="connsiteY2425" fmla="*/ 2433139 h 4525940"/>
              <a:gd name="connsiteX2426" fmla="*/ 252940 w 4545947"/>
              <a:gd name="connsiteY2426" fmla="*/ 2424095 h 4525940"/>
              <a:gd name="connsiteX2427" fmla="*/ 248567 w 4545947"/>
              <a:gd name="connsiteY2427" fmla="*/ 2395606 h 4525940"/>
              <a:gd name="connsiteX2428" fmla="*/ 243727 w 4545947"/>
              <a:gd name="connsiteY2428" fmla="*/ 2367117 h 4525940"/>
              <a:gd name="connsiteX2429" fmla="*/ 241245 w 4545947"/>
              <a:gd name="connsiteY2429" fmla="*/ 2358215 h 4525940"/>
              <a:gd name="connsiteX2430" fmla="*/ 235154 w 4545947"/>
              <a:gd name="connsiteY2430" fmla="*/ 2338242 h 4525940"/>
              <a:gd name="connsiteX2431" fmla="*/ 226703 w 4545947"/>
              <a:gd name="connsiteY2431" fmla="*/ 2307402 h 4525940"/>
              <a:gd name="connsiteX2432" fmla="*/ 220505 w 4545947"/>
              <a:gd name="connsiteY2432" fmla="*/ 2274822 h 4525940"/>
              <a:gd name="connsiteX2433" fmla="*/ 211334 w 4545947"/>
              <a:gd name="connsiteY2433" fmla="*/ 2237011 h 4525940"/>
              <a:gd name="connsiteX2434" fmla="*/ 194546 w 4545947"/>
              <a:gd name="connsiteY2434" fmla="*/ 2177191 h 4525940"/>
              <a:gd name="connsiteX2435" fmla="*/ 192550 w 4545947"/>
              <a:gd name="connsiteY2435" fmla="*/ 2155033 h 4525940"/>
              <a:gd name="connsiteX2436" fmla="*/ 190841 w 4545947"/>
              <a:gd name="connsiteY2436" fmla="*/ 2132875 h 4525940"/>
              <a:gd name="connsiteX2437" fmla="*/ 187346 w 4545947"/>
              <a:gd name="connsiteY2437" fmla="*/ 2120214 h 4525940"/>
              <a:gd name="connsiteX2438" fmla="*/ 183172 w 4545947"/>
              <a:gd name="connsiteY2438" fmla="*/ 2107552 h 4525940"/>
              <a:gd name="connsiteX2439" fmla="*/ 176125 w 4545947"/>
              <a:gd name="connsiteY2439" fmla="*/ 2085394 h 4525940"/>
              <a:gd name="connsiteX2440" fmla="*/ 169368 w 4545947"/>
              <a:gd name="connsiteY2440" fmla="*/ 2063236 h 4525940"/>
              <a:gd name="connsiteX2441" fmla="*/ 165482 w 4545947"/>
              <a:gd name="connsiteY2441" fmla="*/ 2050375 h 4525940"/>
              <a:gd name="connsiteX2442" fmla="*/ 158923 w 4545947"/>
              <a:gd name="connsiteY2442" fmla="*/ 2033872 h 4525940"/>
              <a:gd name="connsiteX2443" fmla="*/ 152363 w 4545947"/>
              <a:gd name="connsiteY2443" fmla="*/ 2012836 h 4525940"/>
              <a:gd name="connsiteX2444" fmla="*/ 121961 w 4545947"/>
              <a:gd name="connsiteY2444" fmla="*/ 1961942 h 4525940"/>
              <a:gd name="connsiteX2445" fmla="*/ 113007 w 4545947"/>
              <a:gd name="connsiteY2445" fmla="*/ 1952973 h 4525940"/>
              <a:gd name="connsiteX2446" fmla="*/ 107847 w 4545947"/>
              <a:gd name="connsiteY2446" fmla="*/ 1941515 h 4525940"/>
              <a:gd name="connsiteX2447" fmla="*/ 105462 w 4545947"/>
              <a:gd name="connsiteY2447" fmla="*/ 1928555 h 4525940"/>
              <a:gd name="connsiteX2448" fmla="*/ 121932 w 4545947"/>
              <a:gd name="connsiteY2448" fmla="*/ 1924997 h 4525940"/>
              <a:gd name="connsiteX2449" fmla="*/ 142816 w 4545947"/>
              <a:gd name="connsiteY2449" fmla="*/ 1921499 h 4525940"/>
              <a:gd name="connsiteX2450" fmla="*/ 144625 w 4545947"/>
              <a:gd name="connsiteY2450" fmla="*/ 1898617 h 4525940"/>
              <a:gd name="connsiteX2451" fmla="*/ 139244 w 4545947"/>
              <a:gd name="connsiteY2451" fmla="*/ 1871497 h 4525940"/>
              <a:gd name="connsiteX2452" fmla="*/ 135208 w 4545947"/>
              <a:gd name="connsiteY2452" fmla="*/ 1850836 h 4525940"/>
              <a:gd name="connsiteX2453" fmla="*/ 126665 w 4545947"/>
              <a:gd name="connsiteY2453" fmla="*/ 1784678 h 4525940"/>
              <a:gd name="connsiteX2454" fmla="*/ 108293 w 4545947"/>
              <a:gd name="connsiteY2454" fmla="*/ 1664392 h 4525940"/>
              <a:gd name="connsiteX2455" fmla="*/ 102962 w 4545947"/>
              <a:gd name="connsiteY2455" fmla="*/ 1636921 h 4525940"/>
              <a:gd name="connsiteX2456" fmla="*/ 94702 w 4545947"/>
              <a:gd name="connsiteY2456" fmla="*/ 1602831 h 4525940"/>
              <a:gd name="connsiteX2457" fmla="*/ 98128 w 4545947"/>
              <a:gd name="connsiteY2457" fmla="*/ 1453577 h 4525940"/>
              <a:gd name="connsiteX2458" fmla="*/ 104261 w 4545947"/>
              <a:gd name="connsiteY2458" fmla="*/ 1427347 h 4525940"/>
              <a:gd name="connsiteX2459" fmla="*/ 110821 w 4545947"/>
              <a:gd name="connsiteY2459" fmla="*/ 1402538 h 4525940"/>
              <a:gd name="connsiteX2460" fmla="*/ 117380 w 4545947"/>
              <a:gd name="connsiteY2460" fmla="*/ 1386808 h 4525940"/>
              <a:gd name="connsiteX2461" fmla="*/ 123939 w 4545947"/>
              <a:gd name="connsiteY2461" fmla="*/ 1366842 h 4525940"/>
              <a:gd name="connsiteX2462" fmla="*/ 130498 w 4545947"/>
              <a:gd name="connsiteY2462" fmla="*/ 1341518 h 4525940"/>
              <a:gd name="connsiteX2463" fmla="*/ 163457 w 4545947"/>
              <a:gd name="connsiteY2463" fmla="*/ 1308631 h 4525940"/>
              <a:gd name="connsiteX2464" fmla="*/ 198730 w 4545947"/>
              <a:gd name="connsiteY2464" fmla="*/ 1253312 h 4525940"/>
              <a:gd name="connsiteX2465" fmla="*/ 204698 w 4545947"/>
              <a:gd name="connsiteY2465" fmla="*/ 1210441 h 4525940"/>
              <a:gd name="connsiteX2466" fmla="*/ 213584 w 4545947"/>
              <a:gd name="connsiteY2466" fmla="*/ 1192440 h 4525940"/>
              <a:gd name="connsiteX2467" fmla="*/ 224517 w 4545947"/>
              <a:gd name="connsiteY2467" fmla="*/ 1170585 h 4525940"/>
              <a:gd name="connsiteX2468" fmla="*/ 235449 w 4545947"/>
              <a:gd name="connsiteY2468" fmla="*/ 1144933 h 4525940"/>
              <a:gd name="connsiteX2469" fmla="*/ 242008 w 4545947"/>
              <a:gd name="connsiteY2469" fmla="*/ 1126269 h 4525940"/>
              <a:gd name="connsiteX2470" fmla="*/ 248567 w 4545947"/>
              <a:gd name="connsiteY2470" fmla="*/ 1109667 h 4525940"/>
              <a:gd name="connsiteX2471" fmla="*/ 252548 w 4545947"/>
              <a:gd name="connsiteY2471" fmla="*/ 1100946 h 4525940"/>
              <a:gd name="connsiteX2472" fmla="*/ 259624 w 4545947"/>
              <a:gd name="connsiteY2472" fmla="*/ 1047134 h 4525940"/>
              <a:gd name="connsiteX2473" fmla="*/ 266576 w 4545947"/>
              <a:gd name="connsiteY2473" fmla="*/ 993321 h 4525940"/>
              <a:gd name="connsiteX2474" fmla="*/ 270432 w 4545947"/>
              <a:gd name="connsiteY2474" fmla="*/ 985235 h 4525940"/>
              <a:gd name="connsiteX2475" fmla="*/ 301492 w 4545947"/>
              <a:gd name="connsiteY2475" fmla="*/ 942674 h 4525940"/>
              <a:gd name="connsiteX2476" fmla="*/ 305415 w 4545947"/>
              <a:gd name="connsiteY2476" fmla="*/ 936072 h 4525940"/>
              <a:gd name="connsiteX2477" fmla="*/ 325094 w 4545947"/>
              <a:gd name="connsiteY2477" fmla="*/ 899013 h 4525940"/>
              <a:gd name="connsiteX2478" fmla="*/ 344772 w 4545947"/>
              <a:gd name="connsiteY2478" fmla="*/ 864151 h 4525940"/>
              <a:gd name="connsiteX2479" fmla="*/ 376468 w 4545947"/>
              <a:gd name="connsiteY2479" fmla="*/ 816057 h 4525940"/>
              <a:gd name="connsiteX2480" fmla="*/ 405993 w 4545947"/>
              <a:gd name="connsiteY2480" fmla="*/ 777703 h 4525940"/>
              <a:gd name="connsiteX2481" fmla="*/ 466866 w 4545947"/>
              <a:gd name="connsiteY2481" fmla="*/ 695771 h 4525940"/>
              <a:gd name="connsiteX2482" fmla="*/ 475959 w 4545947"/>
              <a:gd name="connsiteY2482" fmla="*/ 689867 h 4525940"/>
              <a:gd name="connsiteX2483" fmla="*/ 485595 w 4545947"/>
              <a:gd name="connsiteY2483" fmla="*/ 679535 h 4525940"/>
              <a:gd name="connsiteX2484" fmla="*/ 501212 w 4545947"/>
              <a:gd name="connsiteY2484" fmla="*/ 666447 h 4525940"/>
              <a:gd name="connsiteX2485" fmla="*/ 522188 w 4545947"/>
              <a:gd name="connsiteY2485" fmla="*/ 657786 h 4525940"/>
              <a:gd name="connsiteX2486" fmla="*/ 537180 w 4545947"/>
              <a:gd name="connsiteY2486" fmla="*/ 651455 h 4525940"/>
              <a:gd name="connsiteX2487" fmla="*/ 547500 w 4545947"/>
              <a:gd name="connsiteY2487" fmla="*/ 645124 h 4525940"/>
              <a:gd name="connsiteX2488" fmla="*/ 566030 w 4545947"/>
              <a:gd name="connsiteY2488" fmla="*/ 629297 h 4525940"/>
              <a:gd name="connsiteX2489" fmla="*/ 581636 w 4545947"/>
              <a:gd name="connsiteY2489" fmla="*/ 613470 h 4525940"/>
              <a:gd name="connsiteX2490" fmla="*/ 595590 w 4545947"/>
              <a:gd name="connsiteY2490" fmla="*/ 603974 h 4525940"/>
              <a:gd name="connsiteX2491" fmla="*/ 605081 w 4545947"/>
              <a:gd name="connsiteY2491" fmla="*/ 594477 h 4525940"/>
              <a:gd name="connsiteX2492" fmla="*/ 621792 w 4545947"/>
              <a:gd name="connsiteY2492" fmla="*/ 585112 h 4525940"/>
              <a:gd name="connsiteX2493" fmla="*/ 758458 w 4545947"/>
              <a:gd name="connsiteY2493" fmla="*/ 557307 h 4525940"/>
              <a:gd name="connsiteX2494" fmla="*/ 827104 w 4545947"/>
              <a:gd name="connsiteY2494" fmla="*/ 526420 h 4525940"/>
              <a:gd name="connsiteX2495" fmla="*/ 836125 w 4545947"/>
              <a:gd name="connsiteY2495" fmla="*/ 518507 h 4525940"/>
              <a:gd name="connsiteX2496" fmla="*/ 854218 w 4545947"/>
              <a:gd name="connsiteY2496" fmla="*/ 499514 h 4525940"/>
              <a:gd name="connsiteX2497" fmla="*/ 874456 w 4545947"/>
              <a:gd name="connsiteY2497" fmla="*/ 480522 h 4525940"/>
              <a:gd name="connsiteX2498" fmla="*/ 884828 w 4545947"/>
              <a:gd name="connsiteY2498" fmla="*/ 474191 h 4525940"/>
              <a:gd name="connsiteX2499" fmla="*/ 895654 w 4545947"/>
              <a:gd name="connsiteY2499" fmla="*/ 467860 h 4525940"/>
              <a:gd name="connsiteX2500" fmla="*/ 912594 w 4545947"/>
              <a:gd name="connsiteY2500" fmla="*/ 450450 h 4525940"/>
              <a:gd name="connsiteX2501" fmla="*/ 926952 w 4545947"/>
              <a:gd name="connsiteY2501" fmla="*/ 440954 h 4525940"/>
              <a:gd name="connsiteX2502" fmla="*/ 939829 w 4545947"/>
              <a:gd name="connsiteY2502" fmla="*/ 448867 h 4525940"/>
              <a:gd name="connsiteX2503" fmla="*/ 952502 w 4545947"/>
              <a:gd name="connsiteY2503" fmla="*/ 458179 h 4525940"/>
              <a:gd name="connsiteX2504" fmla="*/ 998543 w 4545947"/>
              <a:gd name="connsiteY2504" fmla="*/ 466092 h 4525940"/>
              <a:gd name="connsiteX2505" fmla="*/ 1037211 w 4545947"/>
              <a:gd name="connsiteY2505" fmla="*/ 469443 h 4525940"/>
              <a:gd name="connsiteX2506" fmla="*/ 1042254 w 4545947"/>
              <a:gd name="connsiteY2506" fmla="*/ 474191 h 4525940"/>
              <a:gd name="connsiteX2507" fmla="*/ 1046626 w 4545947"/>
              <a:gd name="connsiteY2507" fmla="*/ 467860 h 4525940"/>
              <a:gd name="connsiteX2508" fmla="*/ 1061114 w 4545947"/>
              <a:gd name="connsiteY2508" fmla="*/ 477356 h 4525940"/>
              <a:gd name="connsiteX2509" fmla="*/ 1086902 w 4545947"/>
              <a:gd name="connsiteY2509" fmla="*/ 480522 h 4525940"/>
              <a:gd name="connsiteX2510" fmla="*/ 1109378 w 4545947"/>
              <a:gd name="connsiteY2510" fmla="*/ 486853 h 4525940"/>
              <a:gd name="connsiteX2511" fmla="*/ 1118552 w 4545947"/>
              <a:gd name="connsiteY2511" fmla="*/ 505845 h 4525940"/>
              <a:gd name="connsiteX2512" fmla="*/ 1123152 w 4545947"/>
              <a:gd name="connsiteY2512" fmla="*/ 515629 h 4525940"/>
              <a:gd name="connsiteX2513" fmla="*/ 1134085 w 4545947"/>
              <a:gd name="connsiteY2513" fmla="*/ 541240 h 4525940"/>
              <a:gd name="connsiteX2514" fmla="*/ 1145017 w 4545947"/>
              <a:gd name="connsiteY2514" fmla="*/ 566276 h 4525940"/>
              <a:gd name="connsiteX2515" fmla="*/ 1149390 w 4545947"/>
              <a:gd name="connsiteY2515" fmla="*/ 575485 h 4525940"/>
              <a:gd name="connsiteX2516" fmla="*/ 1153763 w 4545947"/>
              <a:gd name="connsiteY2516" fmla="*/ 584382 h 4525940"/>
              <a:gd name="connsiteX2517" fmla="*/ 1187659 w 4545947"/>
              <a:gd name="connsiteY2517" fmla="*/ 652617 h 4525940"/>
              <a:gd name="connsiteX2518" fmla="*/ 1254340 w 4545947"/>
              <a:gd name="connsiteY2518" fmla="*/ 749518 h 4525940"/>
              <a:gd name="connsiteX2519" fmla="*/ 1290288 w 4545947"/>
              <a:gd name="connsiteY2519" fmla="*/ 794342 h 4525940"/>
              <a:gd name="connsiteX2520" fmla="*/ 1306344 w 4545947"/>
              <a:gd name="connsiteY2520" fmla="*/ 785189 h 4525940"/>
              <a:gd name="connsiteX2521" fmla="*/ 1331406 w 4545947"/>
              <a:gd name="connsiteY2521" fmla="*/ 768222 h 4525940"/>
              <a:gd name="connsiteX2522" fmla="*/ 1357220 w 4545947"/>
              <a:gd name="connsiteY2522" fmla="*/ 780642 h 4525940"/>
              <a:gd name="connsiteX2523" fmla="*/ 1371260 w 4545947"/>
              <a:gd name="connsiteY2523" fmla="*/ 797065 h 4525940"/>
              <a:gd name="connsiteX2524" fmla="*/ 1376782 w 4545947"/>
              <a:gd name="connsiteY2524" fmla="*/ 808745 h 4525940"/>
              <a:gd name="connsiteX2525" fmla="*/ 1397898 w 4545947"/>
              <a:gd name="connsiteY2525" fmla="*/ 841380 h 4525940"/>
              <a:gd name="connsiteX2526" fmla="*/ 1403566 w 4545947"/>
              <a:gd name="connsiteY2526" fmla="*/ 854042 h 4525940"/>
              <a:gd name="connsiteX2527" fmla="*/ 1413767 w 4545947"/>
              <a:gd name="connsiteY2527" fmla="*/ 888172 h 4525940"/>
              <a:gd name="connsiteX2528" fmla="*/ 1434326 w 4545947"/>
              <a:gd name="connsiteY2528" fmla="*/ 924237 h 4525940"/>
              <a:gd name="connsiteX2529" fmla="*/ 1455432 w 4545947"/>
              <a:gd name="connsiteY2529" fmla="*/ 930013 h 4525940"/>
              <a:gd name="connsiteX2530" fmla="*/ 1463906 w 4545947"/>
              <a:gd name="connsiteY2530" fmla="*/ 905557 h 4525940"/>
              <a:gd name="connsiteX2531" fmla="*/ 1458027 w 4545947"/>
              <a:gd name="connsiteY2531" fmla="*/ 873556 h 4525940"/>
              <a:gd name="connsiteX2532" fmla="*/ 1446749 w 4545947"/>
              <a:gd name="connsiteY2532" fmla="*/ 845782 h 4525940"/>
              <a:gd name="connsiteX2533" fmla="*/ 1442667 w 4545947"/>
              <a:gd name="connsiteY2533" fmla="*/ 835050 h 4525940"/>
              <a:gd name="connsiteX2534" fmla="*/ 1437200 w 4545947"/>
              <a:gd name="connsiteY2534" fmla="*/ 817640 h 4525940"/>
              <a:gd name="connsiteX2535" fmla="*/ 1425722 w 4545947"/>
              <a:gd name="connsiteY2535" fmla="*/ 798159 h 4525940"/>
              <a:gd name="connsiteX2536" fmla="*/ 1431370 w 4545947"/>
              <a:gd name="connsiteY2536" fmla="*/ 765466 h 4525940"/>
              <a:gd name="connsiteX2537" fmla="*/ 1448402 w 4545947"/>
              <a:gd name="connsiteY2537" fmla="*/ 734883 h 4525940"/>
              <a:gd name="connsiteX2538" fmla="*/ 1461812 w 4545947"/>
              <a:gd name="connsiteY2538" fmla="*/ 714763 h 4525940"/>
              <a:gd name="connsiteX2539" fmla="*/ 1475392 w 4545947"/>
              <a:gd name="connsiteY2539" fmla="*/ 708925 h 4525940"/>
              <a:gd name="connsiteX2540" fmla="*/ 1494907 w 4545947"/>
              <a:gd name="connsiteY2540" fmla="*/ 699006 h 4525940"/>
              <a:gd name="connsiteX2541" fmla="*/ 1520814 w 4545947"/>
              <a:gd name="connsiteY2541" fmla="*/ 711175 h 4525940"/>
              <a:gd name="connsiteX2542" fmla="*/ 1542953 w 4545947"/>
              <a:gd name="connsiteY2542" fmla="*/ 721094 h 4525940"/>
              <a:gd name="connsiteX2543" fmla="*/ 1548180 w 4545947"/>
              <a:gd name="connsiteY2543" fmla="*/ 714763 h 4525940"/>
              <a:gd name="connsiteX2544" fmla="*/ 1565543 w 4545947"/>
              <a:gd name="connsiteY2544" fmla="*/ 697931 h 4525940"/>
              <a:gd name="connsiteX2545" fmla="*/ 1580569 w 4545947"/>
              <a:gd name="connsiteY2545" fmla="*/ 692004 h 4525940"/>
              <a:gd name="connsiteX2546" fmla="*/ 1579083 w 4545947"/>
              <a:gd name="connsiteY2546" fmla="*/ 716815 h 4525940"/>
              <a:gd name="connsiteX2547" fmla="*/ 1593565 w 4545947"/>
              <a:gd name="connsiteY2547" fmla="*/ 743948 h 4525940"/>
              <a:gd name="connsiteX2548" fmla="*/ 1600588 w 4545947"/>
              <a:gd name="connsiteY2548" fmla="*/ 716198 h 4525940"/>
              <a:gd name="connsiteX2549" fmla="*/ 1604075 w 4545947"/>
              <a:gd name="connsiteY2549" fmla="*/ 676922 h 4525940"/>
              <a:gd name="connsiteX2550" fmla="*/ 1610336 w 4545947"/>
              <a:gd name="connsiteY2550" fmla="*/ 655404 h 4525940"/>
              <a:gd name="connsiteX2551" fmla="*/ 1627075 w 4545947"/>
              <a:gd name="connsiteY2551" fmla="*/ 651503 h 4525940"/>
              <a:gd name="connsiteX2552" fmla="*/ 1657724 w 4545947"/>
              <a:gd name="connsiteY2552" fmla="*/ 660732 h 4525940"/>
              <a:gd name="connsiteX2553" fmla="*/ 1680927 w 4545947"/>
              <a:gd name="connsiteY2553" fmla="*/ 665854 h 4525940"/>
              <a:gd name="connsiteX2554" fmla="*/ 1711891 w 4545947"/>
              <a:gd name="connsiteY2554" fmla="*/ 679332 h 4525940"/>
              <a:gd name="connsiteX2555" fmla="*/ 1757474 w 4545947"/>
              <a:gd name="connsiteY2555" fmla="*/ 699162 h 4525940"/>
              <a:gd name="connsiteX2556" fmla="*/ 1781191 w 4545947"/>
              <a:gd name="connsiteY2556" fmla="*/ 714763 h 4525940"/>
              <a:gd name="connsiteX2557" fmla="*/ 1787837 w 4545947"/>
              <a:gd name="connsiteY2557" fmla="*/ 720473 h 4525940"/>
              <a:gd name="connsiteX2558" fmla="*/ 1804133 w 4545947"/>
              <a:gd name="connsiteY2558" fmla="*/ 738427 h 4525940"/>
              <a:gd name="connsiteX2559" fmla="*/ 1823246 w 4545947"/>
              <a:gd name="connsiteY2559" fmla="*/ 770607 h 4525940"/>
              <a:gd name="connsiteX2560" fmla="*/ 1854936 w 4545947"/>
              <a:gd name="connsiteY2560" fmla="*/ 808560 h 4525940"/>
              <a:gd name="connsiteX2561" fmla="*/ 1874886 w 4545947"/>
              <a:gd name="connsiteY2561" fmla="*/ 818655 h 4525940"/>
              <a:gd name="connsiteX2562" fmla="*/ 1890018 w 4545947"/>
              <a:gd name="connsiteY2562" fmla="*/ 835050 h 4525940"/>
              <a:gd name="connsiteX2563" fmla="*/ 1924029 w 4545947"/>
              <a:gd name="connsiteY2563" fmla="*/ 879848 h 4525940"/>
              <a:gd name="connsiteX2564" fmla="*/ 1970767 w 4545947"/>
              <a:gd name="connsiteY2564" fmla="*/ 928208 h 4525940"/>
              <a:gd name="connsiteX2565" fmla="*/ 1992216 w 4545947"/>
              <a:gd name="connsiteY2565" fmla="*/ 937930 h 4525940"/>
              <a:gd name="connsiteX2566" fmla="*/ 2004549 w 4545947"/>
              <a:gd name="connsiteY2566" fmla="*/ 940246 h 4525940"/>
              <a:gd name="connsiteX2567" fmla="*/ 2000233 w 4545947"/>
              <a:gd name="connsiteY2567" fmla="*/ 905653 h 4525940"/>
              <a:gd name="connsiteX2568" fmla="*/ 1980246 w 4545947"/>
              <a:gd name="connsiteY2568" fmla="*/ 879818 h 4525940"/>
              <a:gd name="connsiteX2569" fmla="*/ 2000661 w 4545947"/>
              <a:gd name="connsiteY2569" fmla="*/ 880614 h 4525940"/>
              <a:gd name="connsiteX2570" fmla="*/ 2028302 w 4545947"/>
              <a:gd name="connsiteY2570" fmla="*/ 869933 h 4525940"/>
              <a:gd name="connsiteX2571" fmla="*/ 2041467 w 4545947"/>
              <a:gd name="connsiteY2571" fmla="*/ 837031 h 4525940"/>
              <a:gd name="connsiteX2572" fmla="*/ 2048027 w 4545947"/>
              <a:gd name="connsiteY2572" fmla="*/ 822388 h 4525940"/>
              <a:gd name="connsiteX2573" fmla="*/ 2054585 w 4545947"/>
              <a:gd name="connsiteY2573" fmla="*/ 828761 h 4525940"/>
              <a:gd name="connsiteX2574" fmla="*/ 2065253 w 4545947"/>
              <a:gd name="connsiteY2574" fmla="*/ 848562 h 4525940"/>
              <a:gd name="connsiteX2575" fmla="*/ 2069492 w 4545947"/>
              <a:gd name="connsiteY2575" fmla="*/ 876195 h 4525940"/>
              <a:gd name="connsiteX2576" fmla="*/ 2078502 w 4545947"/>
              <a:gd name="connsiteY2576" fmla="*/ 901007 h 4525940"/>
              <a:gd name="connsiteX2577" fmla="*/ 2093942 w 4545947"/>
              <a:gd name="connsiteY2577" fmla="*/ 917648 h 4525940"/>
              <a:gd name="connsiteX2578" fmla="*/ 2100502 w 4545947"/>
              <a:gd name="connsiteY2578" fmla="*/ 923682 h 4525940"/>
              <a:gd name="connsiteX2579" fmla="*/ 2103714 w 4545947"/>
              <a:gd name="connsiteY2579" fmla="*/ 946427 h 4525940"/>
              <a:gd name="connsiteX2580" fmla="*/ 2086036 w 4545947"/>
              <a:gd name="connsiteY2580" fmla="*/ 957421 h 4525940"/>
              <a:gd name="connsiteX2581" fmla="*/ 2063661 w 4545947"/>
              <a:gd name="connsiteY2581" fmla="*/ 987546 h 4525940"/>
              <a:gd name="connsiteX2582" fmla="*/ 2067637 w 4545947"/>
              <a:gd name="connsiteY2582" fmla="*/ 1028317 h 4525940"/>
              <a:gd name="connsiteX2583" fmla="*/ 2093992 w 4545947"/>
              <a:gd name="connsiteY2583" fmla="*/ 1081953 h 4525940"/>
              <a:gd name="connsiteX2584" fmla="*/ 2102688 w 4545947"/>
              <a:gd name="connsiteY2584" fmla="*/ 1100171 h 4525940"/>
              <a:gd name="connsiteX2585" fmla="*/ 2123679 w 4545947"/>
              <a:gd name="connsiteY2585" fmla="*/ 1123892 h 4525940"/>
              <a:gd name="connsiteX2586" fmla="*/ 2129992 w 4545947"/>
              <a:gd name="connsiteY2586" fmla="*/ 1070902 h 4525940"/>
              <a:gd name="connsiteX2587" fmla="*/ 2124526 w 4545947"/>
              <a:gd name="connsiteY2587" fmla="*/ 1022405 h 4525940"/>
              <a:gd name="connsiteX2588" fmla="*/ 2126739 w 4545947"/>
              <a:gd name="connsiteY2588" fmla="*/ 980659 h 4525940"/>
              <a:gd name="connsiteX2589" fmla="*/ 2128791 w 4545947"/>
              <a:gd name="connsiteY2589" fmla="*/ 945720 h 4525940"/>
              <a:gd name="connsiteX2590" fmla="*/ 2127020 w 4545947"/>
              <a:gd name="connsiteY2590" fmla="*/ 920573 h 4525940"/>
              <a:gd name="connsiteX2591" fmla="*/ 2126714 w 4545947"/>
              <a:gd name="connsiteY2591" fmla="*/ 885583 h 4525940"/>
              <a:gd name="connsiteX2592" fmla="*/ 2111163 w 4545947"/>
              <a:gd name="connsiteY2592" fmla="*/ 875329 h 4525940"/>
              <a:gd name="connsiteX2593" fmla="*/ 2098244 w 4545947"/>
              <a:gd name="connsiteY2593" fmla="*/ 863602 h 4525940"/>
              <a:gd name="connsiteX2594" fmla="*/ 2098315 w 4545947"/>
              <a:gd name="connsiteY2594" fmla="*/ 822388 h 4525940"/>
              <a:gd name="connsiteX2595" fmla="*/ 2093942 w 4545947"/>
              <a:gd name="connsiteY2595" fmla="*/ 803395 h 4525940"/>
              <a:gd name="connsiteX2596" fmla="*/ 2098662 w 4545947"/>
              <a:gd name="connsiteY2596" fmla="*/ 784403 h 4525940"/>
              <a:gd name="connsiteX2597" fmla="*/ 2100683 w 4545947"/>
              <a:gd name="connsiteY2597" fmla="*/ 766608 h 4525940"/>
              <a:gd name="connsiteX2598" fmla="*/ 2107989 w 4545947"/>
              <a:gd name="connsiteY2598" fmla="*/ 741548 h 4525940"/>
              <a:gd name="connsiteX2599" fmla="*/ 2128925 w 4545947"/>
              <a:gd name="connsiteY2599" fmla="*/ 732437 h 4525940"/>
              <a:gd name="connsiteX2600" fmla="*/ 2141241 w 4545947"/>
              <a:gd name="connsiteY2600" fmla="*/ 713181 h 4525940"/>
              <a:gd name="connsiteX2601" fmla="*/ 2153554 w 4545947"/>
              <a:gd name="connsiteY2601" fmla="*/ 695771 h 4525940"/>
              <a:gd name="connsiteX2602" fmla="*/ 2172084 w 4545947"/>
              <a:gd name="connsiteY2602" fmla="*/ 689882 h 4525940"/>
              <a:gd name="connsiteX2603" fmla="*/ 2185988 w 4545947"/>
              <a:gd name="connsiteY2603" fmla="*/ 689631 h 4525940"/>
              <a:gd name="connsiteX2604" fmla="*/ 2183565 w 4545947"/>
              <a:gd name="connsiteY2604" fmla="*/ 704816 h 4525940"/>
              <a:gd name="connsiteX2605" fmla="*/ 2181442 w 4545947"/>
              <a:gd name="connsiteY2605" fmla="*/ 714562 h 4525940"/>
              <a:gd name="connsiteX2606" fmla="*/ 2193271 w 4545947"/>
              <a:gd name="connsiteY2606" fmla="*/ 702641 h 4525940"/>
              <a:gd name="connsiteX2607" fmla="*/ 2179214 w 4545947"/>
              <a:gd name="connsiteY2607" fmla="*/ 675840 h 4525940"/>
              <a:gd name="connsiteX2608" fmla="*/ 2166151 w 4545947"/>
              <a:gd name="connsiteY2608" fmla="*/ 659332 h 4525940"/>
              <a:gd name="connsiteX2609" fmla="*/ 2158499 w 4545947"/>
              <a:gd name="connsiteY2609" fmla="*/ 645124 h 4525940"/>
              <a:gd name="connsiteX2610" fmla="*/ 2155163 w 4545947"/>
              <a:gd name="connsiteY2610" fmla="*/ 635628 h 4525940"/>
              <a:gd name="connsiteX2611" fmla="*/ 2184048 w 4545947"/>
              <a:gd name="connsiteY2611" fmla="*/ 643278 h 4525940"/>
              <a:gd name="connsiteX2612" fmla="*/ 2202425 w 4545947"/>
              <a:gd name="connsiteY2612" fmla="*/ 653711 h 4525940"/>
              <a:gd name="connsiteX2613" fmla="*/ 2203453 w 4545947"/>
              <a:gd name="connsiteY2613" fmla="*/ 607453 h 4525940"/>
              <a:gd name="connsiteX2614" fmla="*/ 2200610 w 4545947"/>
              <a:gd name="connsiteY2614" fmla="*/ 581815 h 4525940"/>
              <a:gd name="connsiteX2615" fmla="*/ 2209356 w 4545947"/>
              <a:gd name="connsiteY2615" fmla="*/ 571802 h 4525940"/>
              <a:gd name="connsiteX2616" fmla="*/ 2207638 w 4545947"/>
              <a:gd name="connsiteY2616" fmla="*/ 537499 h 4525940"/>
              <a:gd name="connsiteX2617" fmla="*/ 2211777 w 4545947"/>
              <a:gd name="connsiteY2617" fmla="*/ 512421 h 4525940"/>
              <a:gd name="connsiteX2618" fmla="*/ 2218439 w 4545947"/>
              <a:gd name="connsiteY2618" fmla="*/ 499207 h 4525940"/>
              <a:gd name="connsiteX2619" fmla="*/ 2245369 w 4545947"/>
              <a:gd name="connsiteY2619" fmla="*/ 471396 h 4525940"/>
              <a:gd name="connsiteX2620" fmla="*/ 2261834 w 4545947"/>
              <a:gd name="connsiteY2620" fmla="*/ 483257 h 4525940"/>
              <a:gd name="connsiteX2621" fmla="*/ 2292979 w 4545947"/>
              <a:gd name="connsiteY2621" fmla="*/ 497282 h 4525940"/>
              <a:gd name="connsiteX2622" fmla="*/ 2323798 w 4545947"/>
              <a:gd name="connsiteY2622" fmla="*/ 505194 h 4525940"/>
              <a:gd name="connsiteX2623" fmla="*/ 2333912 w 4545947"/>
              <a:gd name="connsiteY2623" fmla="*/ 537499 h 4525940"/>
              <a:gd name="connsiteX2624" fmla="*/ 2350016 w 4545947"/>
              <a:gd name="connsiteY2624" fmla="*/ 528204 h 4525940"/>
              <a:gd name="connsiteX2625" fmla="*/ 2368343 w 4545947"/>
              <a:gd name="connsiteY2625" fmla="*/ 518708 h 4525940"/>
              <a:gd name="connsiteX2626" fmla="*/ 2378182 w 4545947"/>
              <a:gd name="connsiteY2626" fmla="*/ 512176 h 4525940"/>
              <a:gd name="connsiteX2627" fmla="*/ 2384742 w 4545947"/>
              <a:gd name="connsiteY2627" fmla="*/ 505845 h 4525940"/>
              <a:gd name="connsiteX2628" fmla="*/ 2391301 w 4545947"/>
              <a:gd name="connsiteY2628" fmla="*/ 499514 h 4525940"/>
              <a:gd name="connsiteX2629" fmla="*/ 2397860 w 4545947"/>
              <a:gd name="connsiteY2629" fmla="*/ 493183 h 4525940"/>
              <a:gd name="connsiteX2630" fmla="*/ 2404419 w 4545947"/>
              <a:gd name="connsiteY2630" fmla="*/ 505472 h 4525940"/>
              <a:gd name="connsiteX2631" fmla="*/ 2421950 w 4545947"/>
              <a:gd name="connsiteY2631" fmla="*/ 521654 h 4525940"/>
              <a:gd name="connsiteX2632" fmla="*/ 2430657 w 4545947"/>
              <a:gd name="connsiteY2632" fmla="*/ 502253 h 4525940"/>
              <a:gd name="connsiteX2633" fmla="*/ 2444767 w 4545947"/>
              <a:gd name="connsiteY2633" fmla="*/ 494323 h 4525940"/>
              <a:gd name="connsiteX2634" fmla="*/ 2464298 w 4545947"/>
              <a:gd name="connsiteY2634" fmla="*/ 482248 h 4525940"/>
              <a:gd name="connsiteX2635" fmla="*/ 2475130 w 4545947"/>
              <a:gd name="connsiteY2635" fmla="*/ 455927 h 4525940"/>
              <a:gd name="connsiteX2636" fmla="*/ 2476573 w 4545947"/>
              <a:gd name="connsiteY2636" fmla="*/ 413172 h 4525940"/>
              <a:gd name="connsiteX2637" fmla="*/ 2470013 w 4545947"/>
              <a:gd name="connsiteY2637" fmla="*/ 387848 h 4525940"/>
              <a:gd name="connsiteX2638" fmla="*/ 2463454 w 4545947"/>
              <a:gd name="connsiteY2638" fmla="*/ 362525 h 4525940"/>
              <a:gd name="connsiteX2639" fmla="*/ 2456929 w 4545947"/>
              <a:gd name="connsiteY2639" fmla="*/ 342148 h 4525940"/>
              <a:gd name="connsiteX2640" fmla="*/ 2492750 w 4545947"/>
              <a:gd name="connsiteY2640" fmla="*/ 309588 h 4525940"/>
              <a:gd name="connsiteX2641" fmla="*/ 2504997 w 4545947"/>
              <a:gd name="connsiteY2641" fmla="*/ 303258 h 4525940"/>
              <a:gd name="connsiteX2642" fmla="*/ 2521291 w 4545947"/>
              <a:gd name="connsiteY2642" fmla="*/ 309165 h 4525940"/>
              <a:gd name="connsiteX2643" fmla="*/ 2519063 w 4545947"/>
              <a:gd name="connsiteY2643" fmla="*/ 323689 h 4525940"/>
              <a:gd name="connsiteX2644" fmla="*/ 2534825 w 4545947"/>
              <a:gd name="connsiteY2644" fmla="*/ 326930 h 4525940"/>
              <a:gd name="connsiteX2645" fmla="*/ 2562584 w 4545947"/>
              <a:gd name="connsiteY2645" fmla="*/ 309240 h 4525940"/>
              <a:gd name="connsiteX2646" fmla="*/ 2596446 w 4545947"/>
              <a:gd name="connsiteY2646" fmla="*/ 301675 h 4525940"/>
              <a:gd name="connsiteX2647" fmla="*/ 2609919 w 4545947"/>
              <a:gd name="connsiteY2647" fmla="*/ 326625 h 4525940"/>
              <a:gd name="connsiteX2648" fmla="*/ 2629424 w 4545947"/>
              <a:gd name="connsiteY2648" fmla="*/ 343915 h 4525940"/>
              <a:gd name="connsiteX2649" fmla="*/ 2640558 w 4545947"/>
              <a:gd name="connsiteY2649" fmla="*/ 312290 h 4525940"/>
              <a:gd name="connsiteX2650" fmla="*/ 2649304 w 4545947"/>
              <a:gd name="connsiteY2650" fmla="*/ 277934 h 4525940"/>
              <a:gd name="connsiteX2651" fmla="*/ 2658050 w 4545947"/>
              <a:gd name="connsiteY2651" fmla="*/ 254876 h 4525940"/>
              <a:gd name="connsiteX2652" fmla="*/ 2665163 w 4545947"/>
              <a:gd name="connsiteY2652" fmla="*/ 242546 h 4525940"/>
              <a:gd name="connsiteX2653" fmla="*/ 2678281 w 4545947"/>
              <a:gd name="connsiteY2653" fmla="*/ 239283 h 4525940"/>
              <a:gd name="connsiteX2654" fmla="*/ 2679914 w 4545947"/>
              <a:gd name="connsiteY2654" fmla="*/ 201964 h 4525940"/>
              <a:gd name="connsiteX2655" fmla="*/ 2682494 w 4545947"/>
              <a:gd name="connsiteY2655" fmla="*/ 169679 h 4525940"/>
              <a:gd name="connsiteX2656" fmla="*/ 2670873 w 4545947"/>
              <a:gd name="connsiteY2656" fmla="*/ 132325 h 4525940"/>
              <a:gd name="connsiteX2657" fmla="*/ 2671168 w 4545947"/>
              <a:gd name="connsiteY2657" fmla="*/ 107001 h 4525940"/>
              <a:gd name="connsiteX2658" fmla="*/ 2684287 w 4545947"/>
              <a:gd name="connsiteY2658" fmla="*/ 87927 h 4525940"/>
              <a:gd name="connsiteX2659" fmla="*/ 2695219 w 4545947"/>
              <a:gd name="connsiteY2659" fmla="*/ 72747 h 4525940"/>
              <a:gd name="connsiteX2660" fmla="*/ 2706152 w 4545947"/>
              <a:gd name="connsiteY2660" fmla="*/ 63442 h 4525940"/>
              <a:gd name="connsiteX2661" fmla="*/ 2732792 w 4545947"/>
              <a:gd name="connsiteY2661" fmla="*/ 72882 h 4525940"/>
              <a:gd name="connsiteX2662" fmla="*/ 2747762 w 4545947"/>
              <a:gd name="connsiteY2662" fmla="*/ 81678 h 4525940"/>
              <a:gd name="connsiteX2663" fmla="*/ 2760208 w 4545947"/>
              <a:gd name="connsiteY2663" fmla="*/ 91174 h 4525940"/>
              <a:gd name="connsiteX2664" fmla="*/ 2773795 w 4545947"/>
              <a:gd name="connsiteY2664" fmla="*/ 100670 h 4525940"/>
              <a:gd name="connsiteX2665" fmla="*/ 2784864 w 4545947"/>
              <a:gd name="connsiteY2665" fmla="*/ 113531 h 4525940"/>
              <a:gd name="connsiteX2666" fmla="*/ 2806176 w 4545947"/>
              <a:gd name="connsiteY2666" fmla="*/ 127943 h 4525940"/>
              <a:gd name="connsiteX2667" fmla="*/ 2811807 w 4545947"/>
              <a:gd name="connsiteY2667" fmla="*/ 98446 h 4525940"/>
              <a:gd name="connsiteX2668" fmla="*/ 2815434 w 4545947"/>
              <a:gd name="connsiteY2668" fmla="*/ 75347 h 4525940"/>
              <a:gd name="connsiteX2669" fmla="*/ 2817964 w 4545947"/>
              <a:gd name="connsiteY2669" fmla="*/ 64068 h 4525940"/>
              <a:gd name="connsiteX2670" fmla="*/ 2827881 w 4545947"/>
              <a:gd name="connsiteY2670" fmla="*/ 46020 h 4525940"/>
              <a:gd name="connsiteX2671" fmla="*/ 2867950 w 4545947"/>
              <a:gd name="connsiteY2671" fmla="*/ 53908 h 4525940"/>
              <a:gd name="connsiteX2672" fmla="*/ 2872323 w 4545947"/>
              <a:gd name="connsiteY2672" fmla="*/ 62685 h 4525940"/>
              <a:gd name="connsiteX2673" fmla="*/ 2876696 w 4545947"/>
              <a:gd name="connsiteY2673" fmla="*/ 71983 h 4525940"/>
              <a:gd name="connsiteX2674" fmla="*/ 2883143 w 4545947"/>
              <a:gd name="connsiteY2674" fmla="*/ 77698 h 4525940"/>
              <a:gd name="connsiteX2675" fmla="*/ 2915810 w 4545947"/>
              <a:gd name="connsiteY2675" fmla="*/ 113898 h 4525940"/>
              <a:gd name="connsiteX2676" fmla="*/ 2904913 w 4545947"/>
              <a:gd name="connsiteY2676" fmla="*/ 131308 h 4525940"/>
              <a:gd name="connsiteX2677" fmla="*/ 2889815 w 4545947"/>
              <a:gd name="connsiteY2677" fmla="*/ 130128 h 4525940"/>
              <a:gd name="connsiteX2678" fmla="*/ 2868756 w 4545947"/>
              <a:gd name="connsiteY2678" fmla="*/ 96783 h 4525940"/>
              <a:gd name="connsiteX2679" fmla="*/ 2861989 w 4545947"/>
              <a:gd name="connsiteY2679" fmla="*/ 125162 h 4525940"/>
              <a:gd name="connsiteX2680" fmla="*/ 2852669 w 4545947"/>
              <a:gd name="connsiteY2680" fmla="*/ 153593 h 4525940"/>
              <a:gd name="connsiteX2681" fmla="*/ 2864473 w 4545947"/>
              <a:gd name="connsiteY2681" fmla="*/ 230956 h 4525940"/>
              <a:gd name="connsiteX2682" fmla="*/ 2877958 w 4545947"/>
              <a:gd name="connsiteY2682" fmla="*/ 271677 h 4525940"/>
              <a:gd name="connsiteX2683" fmla="*/ 2896480 w 4545947"/>
              <a:gd name="connsiteY2683" fmla="*/ 310278 h 4525940"/>
              <a:gd name="connsiteX2684" fmla="*/ 2930626 w 4545947"/>
              <a:gd name="connsiteY2684" fmla="*/ 305922 h 4525940"/>
              <a:gd name="connsiteX2685" fmla="*/ 2918213 w 4545947"/>
              <a:gd name="connsiteY2685" fmla="*/ 271603 h 4525940"/>
              <a:gd name="connsiteX2686" fmla="*/ 2905690 w 4545947"/>
              <a:gd name="connsiteY2686" fmla="*/ 257359 h 4525940"/>
              <a:gd name="connsiteX2687" fmla="*/ 2913711 w 4545947"/>
              <a:gd name="connsiteY2687" fmla="*/ 233618 h 4525940"/>
              <a:gd name="connsiteX2688" fmla="*/ 2930337 w 4545947"/>
              <a:gd name="connsiteY2688" fmla="*/ 190885 h 4525940"/>
              <a:gd name="connsiteX2689" fmla="*/ 2934767 w 4545947"/>
              <a:gd name="connsiteY2689" fmla="*/ 170310 h 4525940"/>
              <a:gd name="connsiteX2690" fmla="*/ 2941378 w 4545947"/>
              <a:gd name="connsiteY2690" fmla="*/ 194420 h 4525940"/>
              <a:gd name="connsiteX2691" fmla="*/ 2952827 w 4545947"/>
              <a:gd name="connsiteY2691" fmla="*/ 205440 h 4525940"/>
              <a:gd name="connsiteX2692" fmla="*/ 2977447 w 4545947"/>
              <a:gd name="connsiteY2692" fmla="*/ 198569 h 4525940"/>
              <a:gd name="connsiteX2693" fmla="*/ 2967852 w 4545947"/>
              <a:gd name="connsiteY2693" fmla="*/ 132854 h 4525940"/>
              <a:gd name="connsiteX2694" fmla="*/ 2962222 w 4545947"/>
              <a:gd name="connsiteY2694" fmla="*/ 88008 h 4525940"/>
              <a:gd name="connsiteX2695" fmla="*/ 2985873 w 4545947"/>
              <a:gd name="connsiteY2695" fmla="*/ 51606 h 4525940"/>
              <a:gd name="connsiteX2696" fmla="*/ 3000606 w 4545947"/>
              <a:gd name="connsiteY2696" fmla="*/ 43693 h 4525940"/>
              <a:gd name="connsiteX2697" fmla="*/ 3031196 w 4545947"/>
              <a:gd name="connsiteY2697" fmla="*/ 69498 h 4525940"/>
              <a:gd name="connsiteX2698" fmla="*/ 3053778 w 4545947"/>
              <a:gd name="connsiteY2698" fmla="*/ 85778 h 4525940"/>
              <a:gd name="connsiteX2699" fmla="*/ 3055111 w 4545947"/>
              <a:gd name="connsiteY2699" fmla="*/ 51289 h 4525940"/>
              <a:gd name="connsiteX2700" fmla="*/ 3055383 w 4545947"/>
              <a:gd name="connsiteY2700" fmla="*/ 35779 h 4525940"/>
              <a:gd name="connsiteX2701" fmla="*/ 3064829 w 4545947"/>
              <a:gd name="connsiteY2701" fmla="*/ 37931 h 4525940"/>
              <a:gd name="connsiteX2702" fmla="*/ 3095119 w 4545947"/>
              <a:gd name="connsiteY2702" fmla="*/ 77459 h 4525940"/>
              <a:gd name="connsiteX2703" fmla="*/ 3107184 w 4545947"/>
              <a:gd name="connsiteY2703" fmla="*/ 111877 h 4525940"/>
              <a:gd name="connsiteX2704" fmla="*/ 3104088 w 4545947"/>
              <a:gd name="connsiteY2704" fmla="*/ 144986 h 4525940"/>
              <a:gd name="connsiteX2705" fmla="*/ 3108461 w 4545947"/>
              <a:gd name="connsiteY2705" fmla="*/ 160439 h 4525940"/>
              <a:gd name="connsiteX2706" fmla="*/ 3112834 w 4545947"/>
              <a:gd name="connsiteY2706" fmla="*/ 179806 h 4525940"/>
              <a:gd name="connsiteX2707" fmla="*/ 3117207 w 4545947"/>
              <a:gd name="connsiteY2707" fmla="*/ 205817 h 4525940"/>
              <a:gd name="connsiteX2708" fmla="*/ 3131860 w 4545947"/>
              <a:gd name="connsiteY2708" fmla="*/ 249759 h 4525940"/>
              <a:gd name="connsiteX2709" fmla="*/ 3152055 w 4545947"/>
              <a:gd name="connsiteY2709" fmla="*/ 271603 h 4525940"/>
              <a:gd name="connsiteX2710" fmla="*/ 3172536 w 4545947"/>
              <a:gd name="connsiteY2710" fmla="*/ 290596 h 4525940"/>
              <a:gd name="connsiteX2711" fmla="*/ 3211850 w 4545947"/>
              <a:gd name="connsiteY2711" fmla="*/ 300011 h 4525940"/>
              <a:gd name="connsiteX2712" fmla="*/ 3208838 w 4545947"/>
              <a:gd name="connsiteY2712" fmla="*/ 280750 h 4525940"/>
              <a:gd name="connsiteX2713" fmla="*/ 3218659 w 4545947"/>
              <a:gd name="connsiteY2713" fmla="*/ 264006 h 4525940"/>
              <a:gd name="connsiteX2714" fmla="*/ 3255173 w 4545947"/>
              <a:gd name="connsiteY2714" fmla="*/ 265724 h 4525940"/>
              <a:gd name="connsiteX2715" fmla="*/ 3274632 w 4545947"/>
              <a:gd name="connsiteY2715" fmla="*/ 257810 h 4525940"/>
              <a:gd name="connsiteX2716" fmla="*/ 3291320 w 4545947"/>
              <a:gd name="connsiteY2716" fmla="*/ 238366 h 4525940"/>
              <a:gd name="connsiteX2717" fmla="*/ 3301297 w 4545947"/>
              <a:gd name="connsiteY2717" fmla="*/ 220957 h 4525940"/>
              <a:gd name="connsiteX2718" fmla="*/ 3310575 w 4545947"/>
              <a:gd name="connsiteY2718" fmla="*/ 189177 h 4525940"/>
              <a:gd name="connsiteX2719" fmla="*/ 3319179 w 4545947"/>
              <a:gd name="connsiteY2719" fmla="*/ 174188 h 4525940"/>
              <a:gd name="connsiteX2720" fmla="*/ 3375209 w 4545947"/>
              <a:gd name="connsiteY2720" fmla="*/ 204754 h 4525940"/>
              <a:gd name="connsiteX2721" fmla="*/ 3386141 w 4545947"/>
              <a:gd name="connsiteY2721" fmla="*/ 233618 h 4525940"/>
              <a:gd name="connsiteX2722" fmla="*/ 3397074 w 4545947"/>
              <a:gd name="connsiteY2722" fmla="*/ 258990 h 4525940"/>
              <a:gd name="connsiteX2723" fmla="*/ 3408988 w 4545947"/>
              <a:gd name="connsiteY2723" fmla="*/ 267922 h 4525940"/>
              <a:gd name="connsiteX2724" fmla="*/ 3435701 w 4545947"/>
              <a:gd name="connsiteY2724" fmla="*/ 272440 h 4525940"/>
              <a:gd name="connsiteX2725" fmla="*/ 3447468 w 4545947"/>
              <a:gd name="connsiteY2725" fmla="*/ 277934 h 4525940"/>
              <a:gd name="connsiteX2726" fmla="*/ 3460481 w 4545947"/>
              <a:gd name="connsiteY2726" fmla="*/ 284265 h 4525940"/>
              <a:gd name="connsiteX2727" fmla="*/ 3473871 w 4545947"/>
              <a:gd name="connsiteY2727" fmla="*/ 290596 h 4525940"/>
              <a:gd name="connsiteX2728" fmla="*/ 3492137 w 4545947"/>
              <a:gd name="connsiteY2728" fmla="*/ 265273 h 4525940"/>
              <a:gd name="connsiteX2729" fmla="*/ 3502962 w 4545947"/>
              <a:gd name="connsiteY2729" fmla="*/ 239949 h 4525940"/>
              <a:gd name="connsiteX2730" fmla="*/ 3501086 w 4545947"/>
              <a:gd name="connsiteY2730" fmla="*/ 223668 h 4525940"/>
              <a:gd name="connsiteX2731" fmla="*/ 3500590 w 4545947"/>
              <a:gd name="connsiteY2731" fmla="*/ 203093 h 4525940"/>
              <a:gd name="connsiteX2732" fmla="*/ 3504512 w 4545947"/>
              <a:gd name="connsiteY2732" fmla="*/ 166435 h 4525940"/>
              <a:gd name="connsiteX2733" fmla="*/ 3497651 w 4545947"/>
              <a:gd name="connsiteY2733" fmla="*/ 148250 h 4525940"/>
              <a:gd name="connsiteX2734" fmla="*/ 3491091 w 4545947"/>
              <a:gd name="connsiteY2734" fmla="*/ 125994 h 4525940"/>
              <a:gd name="connsiteX2735" fmla="*/ 3484532 w 4545947"/>
              <a:gd name="connsiteY2735" fmla="*/ 103434 h 4525940"/>
              <a:gd name="connsiteX2736" fmla="*/ 3480160 w 4545947"/>
              <a:gd name="connsiteY2736" fmla="*/ 84843 h 4525940"/>
              <a:gd name="connsiteX2737" fmla="*/ 3475787 w 4545947"/>
              <a:gd name="connsiteY2737" fmla="*/ 47161 h 4525940"/>
              <a:gd name="connsiteX2738" fmla="*/ 3482704 w 4545947"/>
              <a:gd name="connsiteY2738" fmla="*/ 9550 h 4525940"/>
              <a:gd name="connsiteX2739" fmla="*/ 3491456 w 4545947"/>
              <a:gd name="connsiteY2739" fmla="*/ 6650 h 4525940"/>
              <a:gd name="connsiteX2740" fmla="*/ 3226906 w 4545947"/>
              <a:gd name="connsiteY2740" fmla="*/ 1812 h 4525940"/>
              <a:gd name="connsiteX2741" fmla="*/ 3254236 w 4545947"/>
              <a:gd name="connsiteY2741" fmla="*/ 13687 h 4525940"/>
              <a:gd name="connsiteX2742" fmla="*/ 3265886 w 4545947"/>
              <a:gd name="connsiteY2742" fmla="*/ 33553 h 4525940"/>
              <a:gd name="connsiteX2743" fmla="*/ 3253280 w 4545947"/>
              <a:gd name="connsiteY2743" fmla="*/ 55628 h 4525940"/>
              <a:gd name="connsiteX2744" fmla="*/ 3207342 w 4545947"/>
              <a:gd name="connsiteY2744" fmla="*/ 72250 h 4525940"/>
              <a:gd name="connsiteX2745" fmla="*/ 3158240 w 4545947"/>
              <a:gd name="connsiteY2745" fmla="*/ 64477 h 4525940"/>
              <a:gd name="connsiteX2746" fmla="*/ 3154454 w 4545947"/>
              <a:gd name="connsiteY2746" fmla="*/ 89245 h 4525940"/>
              <a:gd name="connsiteX2747" fmla="*/ 3137765 w 4545947"/>
              <a:gd name="connsiteY2747" fmla="*/ 109330 h 4525940"/>
              <a:gd name="connsiteX2748" fmla="*/ 3139154 w 4545947"/>
              <a:gd name="connsiteY2748" fmla="*/ 81678 h 4525940"/>
              <a:gd name="connsiteX2749" fmla="*/ 3140877 w 4545947"/>
              <a:gd name="connsiteY2749" fmla="*/ 65909 h 4525940"/>
              <a:gd name="connsiteX2750" fmla="*/ 3146260 w 4545947"/>
              <a:gd name="connsiteY2750" fmla="*/ 46455 h 4525940"/>
              <a:gd name="connsiteX2751" fmla="*/ 3161969 w 4545947"/>
              <a:gd name="connsiteY2751" fmla="*/ 36900 h 4525940"/>
              <a:gd name="connsiteX2752" fmla="*/ 3176182 w 4545947"/>
              <a:gd name="connsiteY2752" fmla="*/ 31031 h 4525940"/>
              <a:gd name="connsiteX2753" fmla="*/ 3182801 w 4545947"/>
              <a:gd name="connsiteY2753" fmla="*/ 18369 h 4525940"/>
              <a:gd name="connsiteX2754" fmla="*/ 3197012 w 4545947"/>
              <a:gd name="connsiteY2754" fmla="*/ 5637 h 4525940"/>
              <a:gd name="connsiteX2755" fmla="*/ 3226906 w 4545947"/>
              <a:gd name="connsiteY2755" fmla="*/ 1812 h 4525940"/>
              <a:gd name="connsiteX2756" fmla="*/ 3353505 w 4545947"/>
              <a:gd name="connsiteY2756" fmla="*/ 1044 h 4525940"/>
              <a:gd name="connsiteX2757" fmla="*/ 3364731 w 4545947"/>
              <a:gd name="connsiteY2757" fmla="*/ 45612 h 4525940"/>
              <a:gd name="connsiteX2758" fmla="*/ 3360436 w 4545947"/>
              <a:gd name="connsiteY2758" fmla="*/ 99424 h 4525940"/>
              <a:gd name="connsiteX2759" fmla="*/ 3342412 w 4545947"/>
              <a:gd name="connsiteY2759" fmla="*/ 100670 h 4525940"/>
              <a:gd name="connsiteX2760" fmla="*/ 3329571 w 4545947"/>
              <a:gd name="connsiteY2760" fmla="*/ 94339 h 4525940"/>
              <a:gd name="connsiteX2761" fmla="*/ 3313988 w 4545947"/>
              <a:gd name="connsiteY2761" fmla="*/ 84843 h 4525940"/>
              <a:gd name="connsiteX2762" fmla="*/ 3300334 w 4545947"/>
              <a:gd name="connsiteY2762" fmla="*/ 75347 h 4525940"/>
              <a:gd name="connsiteX2763" fmla="*/ 3292124 w 4545947"/>
              <a:gd name="connsiteY2763" fmla="*/ 70517 h 4525940"/>
              <a:gd name="connsiteX2764" fmla="*/ 3282285 w 4545947"/>
              <a:gd name="connsiteY2764" fmla="*/ 59438 h 4525940"/>
              <a:gd name="connsiteX2765" fmla="*/ 3296497 w 4545947"/>
              <a:gd name="connsiteY2765" fmla="*/ 27663 h 4525940"/>
              <a:gd name="connsiteX2766" fmla="*/ 3337481 w 4545947"/>
              <a:gd name="connsiteY2766" fmla="*/ 10254 h 4525940"/>
              <a:gd name="connsiteX2767" fmla="*/ 3353505 w 4545947"/>
              <a:gd name="connsiteY2767" fmla="*/ 1044 h 45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Lst>
            <a:rect l="l" t="t" r="r" b="b"/>
            <a:pathLst>
              <a:path w="4545947" h="4525940">
                <a:moveTo>
                  <a:pt x="1260900" y="4513278"/>
                </a:moveTo>
                <a:cubicBezTo>
                  <a:pt x="1264507" y="4513278"/>
                  <a:pt x="1267459" y="4516127"/>
                  <a:pt x="1267459" y="4519609"/>
                </a:cubicBezTo>
                <a:cubicBezTo>
                  <a:pt x="1267459" y="4523091"/>
                  <a:pt x="1264507" y="4525940"/>
                  <a:pt x="1260900" y="4525940"/>
                </a:cubicBezTo>
                <a:cubicBezTo>
                  <a:pt x="1257292" y="4525940"/>
                  <a:pt x="1254340" y="4523091"/>
                  <a:pt x="1254340" y="4519609"/>
                </a:cubicBezTo>
                <a:cubicBezTo>
                  <a:pt x="1254340" y="4516127"/>
                  <a:pt x="1257292" y="4513278"/>
                  <a:pt x="1260900" y="4513278"/>
                </a:cubicBezTo>
                <a:close/>
                <a:moveTo>
                  <a:pt x="1096915" y="4392992"/>
                </a:moveTo>
                <a:cubicBezTo>
                  <a:pt x="1099320" y="4392992"/>
                  <a:pt x="1101288" y="4397265"/>
                  <a:pt x="1101288" y="4402488"/>
                </a:cubicBezTo>
                <a:cubicBezTo>
                  <a:pt x="1101288" y="4407711"/>
                  <a:pt x="1099320" y="4411984"/>
                  <a:pt x="1096915" y="4411984"/>
                </a:cubicBezTo>
                <a:cubicBezTo>
                  <a:pt x="1094510" y="4411984"/>
                  <a:pt x="1092542" y="4407711"/>
                  <a:pt x="1092542" y="4402488"/>
                </a:cubicBezTo>
                <a:cubicBezTo>
                  <a:pt x="1092542" y="4397265"/>
                  <a:pt x="1094510" y="4392992"/>
                  <a:pt x="1096915" y="4392992"/>
                </a:cubicBezTo>
                <a:close/>
                <a:moveTo>
                  <a:pt x="3812502" y="4386661"/>
                </a:moveTo>
                <a:cubicBezTo>
                  <a:pt x="3814907" y="4386661"/>
                  <a:pt x="3816875" y="4389509"/>
                  <a:pt x="3816875" y="4392992"/>
                </a:cubicBezTo>
                <a:cubicBezTo>
                  <a:pt x="3816875" y="4396474"/>
                  <a:pt x="3814907" y="4399322"/>
                  <a:pt x="3812502" y="4399322"/>
                </a:cubicBezTo>
                <a:cubicBezTo>
                  <a:pt x="3810096" y="4399322"/>
                  <a:pt x="3808129" y="4396474"/>
                  <a:pt x="3808129" y="4392992"/>
                </a:cubicBezTo>
                <a:cubicBezTo>
                  <a:pt x="3808129" y="4389509"/>
                  <a:pt x="3810096" y="4386661"/>
                  <a:pt x="3812502" y="4386661"/>
                </a:cubicBezTo>
                <a:close/>
                <a:moveTo>
                  <a:pt x="972287" y="4355006"/>
                </a:moveTo>
                <a:cubicBezTo>
                  <a:pt x="975894" y="4355006"/>
                  <a:pt x="978846" y="4359280"/>
                  <a:pt x="978846" y="4364503"/>
                </a:cubicBezTo>
                <a:cubicBezTo>
                  <a:pt x="978846" y="4369726"/>
                  <a:pt x="975894" y="4373999"/>
                  <a:pt x="972287" y="4373999"/>
                </a:cubicBezTo>
                <a:cubicBezTo>
                  <a:pt x="968679" y="4373999"/>
                  <a:pt x="965727" y="4369726"/>
                  <a:pt x="965727" y="4364503"/>
                </a:cubicBezTo>
                <a:cubicBezTo>
                  <a:pt x="965727" y="4359280"/>
                  <a:pt x="968679" y="4355006"/>
                  <a:pt x="972287" y="4355006"/>
                </a:cubicBezTo>
                <a:close/>
                <a:moveTo>
                  <a:pt x="3695599" y="4285367"/>
                </a:moveTo>
                <a:cubicBezTo>
                  <a:pt x="3699206" y="4285367"/>
                  <a:pt x="3703345" y="4291777"/>
                  <a:pt x="3704795" y="4299611"/>
                </a:cubicBezTo>
                <a:cubicBezTo>
                  <a:pt x="3708732" y="4320877"/>
                  <a:pt x="3708088" y="4355006"/>
                  <a:pt x="3703751" y="4355006"/>
                </a:cubicBezTo>
                <a:cubicBezTo>
                  <a:pt x="3701660" y="4355006"/>
                  <a:pt x="3698785" y="4345748"/>
                  <a:pt x="3697362" y="4334431"/>
                </a:cubicBezTo>
                <a:cubicBezTo>
                  <a:pt x="3695938" y="4323115"/>
                  <a:pt x="3693483" y="4307446"/>
                  <a:pt x="3691906" y="4299611"/>
                </a:cubicBezTo>
                <a:cubicBezTo>
                  <a:pt x="3689836" y="4289326"/>
                  <a:pt x="3690862" y="4285367"/>
                  <a:pt x="3695599" y="4285367"/>
                </a:cubicBezTo>
                <a:close/>
                <a:moveTo>
                  <a:pt x="3791489" y="4247982"/>
                </a:moveTo>
                <a:cubicBezTo>
                  <a:pt x="3793001" y="4248850"/>
                  <a:pt x="3795075" y="4251094"/>
                  <a:pt x="3797678" y="4254863"/>
                </a:cubicBezTo>
                <a:cubicBezTo>
                  <a:pt x="3801435" y="4260303"/>
                  <a:pt x="3803830" y="4271529"/>
                  <a:pt x="3802997" y="4279809"/>
                </a:cubicBezTo>
                <a:cubicBezTo>
                  <a:pt x="3801571" y="4293997"/>
                  <a:pt x="3801045" y="4293619"/>
                  <a:pt x="3793855" y="4273261"/>
                </a:cubicBezTo>
                <a:cubicBezTo>
                  <a:pt x="3787459" y="4255151"/>
                  <a:pt x="3786951" y="4245377"/>
                  <a:pt x="3791489" y="4247982"/>
                </a:cubicBezTo>
                <a:close/>
                <a:moveTo>
                  <a:pt x="932930" y="4222058"/>
                </a:moveTo>
                <a:cubicBezTo>
                  <a:pt x="936574" y="4222058"/>
                  <a:pt x="939490" y="4227686"/>
                  <a:pt x="939490" y="4234720"/>
                </a:cubicBezTo>
                <a:cubicBezTo>
                  <a:pt x="939490" y="4241755"/>
                  <a:pt x="936574" y="4247382"/>
                  <a:pt x="932930" y="4247382"/>
                </a:cubicBezTo>
                <a:cubicBezTo>
                  <a:pt x="929286" y="4247382"/>
                  <a:pt x="926371" y="4241755"/>
                  <a:pt x="926371" y="4234720"/>
                </a:cubicBezTo>
                <a:cubicBezTo>
                  <a:pt x="926371" y="4227686"/>
                  <a:pt x="929286" y="4222058"/>
                  <a:pt x="932930" y="4222058"/>
                </a:cubicBezTo>
                <a:close/>
                <a:moveTo>
                  <a:pt x="1267119" y="4212536"/>
                </a:moveTo>
                <a:cubicBezTo>
                  <a:pt x="1269822" y="4214417"/>
                  <a:pt x="1271832" y="4218021"/>
                  <a:pt x="1271832" y="4222432"/>
                </a:cubicBezTo>
                <a:cubicBezTo>
                  <a:pt x="1271832" y="4229793"/>
                  <a:pt x="1267145" y="4229913"/>
                  <a:pt x="1259340" y="4222753"/>
                </a:cubicBezTo>
                <a:cubicBezTo>
                  <a:pt x="1255204" y="4218958"/>
                  <a:pt x="1254872" y="4215999"/>
                  <a:pt x="1258247" y="4212980"/>
                </a:cubicBezTo>
                <a:cubicBezTo>
                  <a:pt x="1261020" y="4210498"/>
                  <a:pt x="1264416" y="4210656"/>
                  <a:pt x="1267119" y="4212536"/>
                </a:cubicBezTo>
                <a:close/>
                <a:moveTo>
                  <a:pt x="3606974" y="4158750"/>
                </a:moveTo>
                <a:cubicBezTo>
                  <a:pt x="3609380" y="4158750"/>
                  <a:pt x="3611347" y="4161598"/>
                  <a:pt x="3611347" y="4165081"/>
                </a:cubicBezTo>
                <a:cubicBezTo>
                  <a:pt x="3611347" y="4168563"/>
                  <a:pt x="3609380" y="4171411"/>
                  <a:pt x="3606974" y="4171411"/>
                </a:cubicBezTo>
                <a:cubicBezTo>
                  <a:pt x="3604569" y="4171411"/>
                  <a:pt x="3602601" y="4168563"/>
                  <a:pt x="3602601" y="4165081"/>
                </a:cubicBezTo>
                <a:cubicBezTo>
                  <a:pt x="3602601" y="4161598"/>
                  <a:pt x="3604569" y="4158750"/>
                  <a:pt x="3606974" y="4158750"/>
                </a:cubicBezTo>
                <a:close/>
                <a:moveTo>
                  <a:pt x="1253971" y="4155079"/>
                </a:moveTo>
                <a:cubicBezTo>
                  <a:pt x="1259633" y="4152817"/>
                  <a:pt x="1263086" y="4162087"/>
                  <a:pt x="1263086" y="4181282"/>
                </a:cubicBezTo>
                <a:cubicBezTo>
                  <a:pt x="1263086" y="4198429"/>
                  <a:pt x="1261325" y="4203066"/>
                  <a:pt x="1254814" y="4203066"/>
                </a:cubicBezTo>
                <a:cubicBezTo>
                  <a:pt x="1249602" y="4203066"/>
                  <a:pt x="1245511" y="4197115"/>
                  <a:pt x="1243753" y="4186974"/>
                </a:cubicBezTo>
                <a:cubicBezTo>
                  <a:pt x="1241934" y="4176485"/>
                  <a:pt x="1243280" y="4167526"/>
                  <a:pt x="1247618" y="4161246"/>
                </a:cubicBezTo>
                <a:cubicBezTo>
                  <a:pt x="1249951" y="4157869"/>
                  <a:pt x="1252084" y="4155834"/>
                  <a:pt x="1253971" y="4155079"/>
                </a:cubicBezTo>
                <a:close/>
                <a:moveTo>
                  <a:pt x="2452780" y="4146088"/>
                </a:moveTo>
                <a:cubicBezTo>
                  <a:pt x="2455043" y="4146088"/>
                  <a:pt x="2456895" y="4150361"/>
                  <a:pt x="2456895" y="4155585"/>
                </a:cubicBezTo>
                <a:cubicBezTo>
                  <a:pt x="2456895" y="4165375"/>
                  <a:pt x="2451735" y="4168162"/>
                  <a:pt x="2446810" y="4161032"/>
                </a:cubicBezTo>
                <a:cubicBezTo>
                  <a:pt x="2443317" y="4155974"/>
                  <a:pt x="2447266" y="4146088"/>
                  <a:pt x="2452780" y="4146088"/>
                </a:cubicBezTo>
                <a:close/>
                <a:moveTo>
                  <a:pt x="3700993" y="4127095"/>
                </a:moveTo>
                <a:cubicBezTo>
                  <a:pt x="3704599" y="4127095"/>
                  <a:pt x="3707552" y="4131369"/>
                  <a:pt x="3707552" y="4136592"/>
                </a:cubicBezTo>
                <a:cubicBezTo>
                  <a:pt x="3707552" y="4146478"/>
                  <a:pt x="3702380" y="4149152"/>
                  <a:pt x="3697347" y="4141867"/>
                </a:cubicBezTo>
                <a:cubicBezTo>
                  <a:pt x="3692316" y="4134583"/>
                  <a:pt x="3694164" y="4127095"/>
                  <a:pt x="3700993" y="4127095"/>
                </a:cubicBezTo>
                <a:close/>
                <a:moveTo>
                  <a:pt x="879089" y="4115046"/>
                </a:moveTo>
                <a:cubicBezTo>
                  <a:pt x="881735" y="4116220"/>
                  <a:pt x="884499" y="4120291"/>
                  <a:pt x="887014" y="4127095"/>
                </a:cubicBezTo>
                <a:cubicBezTo>
                  <a:pt x="892157" y="4141008"/>
                  <a:pt x="888963" y="4142857"/>
                  <a:pt x="877084" y="4132845"/>
                </a:cubicBezTo>
                <a:cubicBezTo>
                  <a:pt x="872824" y="4129255"/>
                  <a:pt x="870480" y="4123644"/>
                  <a:pt x="871875" y="4120376"/>
                </a:cubicBezTo>
                <a:cubicBezTo>
                  <a:pt x="873917" y="4115594"/>
                  <a:pt x="876444" y="4113872"/>
                  <a:pt x="879089" y="4115046"/>
                </a:cubicBezTo>
                <a:close/>
                <a:moveTo>
                  <a:pt x="1862177" y="4108103"/>
                </a:moveTo>
                <a:cubicBezTo>
                  <a:pt x="1864582" y="4108103"/>
                  <a:pt x="1866550" y="4110952"/>
                  <a:pt x="1866550" y="4114434"/>
                </a:cubicBezTo>
                <a:cubicBezTo>
                  <a:pt x="1866550" y="4117916"/>
                  <a:pt x="1864582" y="4120765"/>
                  <a:pt x="1862177" y="4120765"/>
                </a:cubicBezTo>
                <a:cubicBezTo>
                  <a:pt x="1859772" y="4120765"/>
                  <a:pt x="1857804" y="4117916"/>
                  <a:pt x="1857804" y="4114434"/>
                </a:cubicBezTo>
                <a:cubicBezTo>
                  <a:pt x="1857804" y="4110952"/>
                  <a:pt x="1859772" y="4108103"/>
                  <a:pt x="1862177" y="4108103"/>
                </a:cubicBezTo>
                <a:close/>
                <a:moveTo>
                  <a:pt x="1183790" y="4089207"/>
                </a:moveTo>
                <a:cubicBezTo>
                  <a:pt x="1175343" y="4089092"/>
                  <a:pt x="1170409" y="4117009"/>
                  <a:pt x="1177152" y="4126770"/>
                </a:cubicBezTo>
                <a:cubicBezTo>
                  <a:pt x="1183404" y="4135821"/>
                  <a:pt x="1183458" y="4135681"/>
                  <a:pt x="1180982" y="4116926"/>
                </a:cubicBezTo>
                <a:cubicBezTo>
                  <a:pt x="1179645" y="4106797"/>
                  <a:pt x="1181145" y="4098278"/>
                  <a:pt x="1184868" y="4094865"/>
                </a:cubicBezTo>
                <a:cubicBezTo>
                  <a:pt x="1189788" y="4090354"/>
                  <a:pt x="1189585" y="4089286"/>
                  <a:pt x="1183790" y="4089207"/>
                </a:cubicBezTo>
                <a:close/>
                <a:moveTo>
                  <a:pt x="1852771" y="4080379"/>
                </a:moveTo>
                <a:cubicBezTo>
                  <a:pt x="1854627" y="4078346"/>
                  <a:pt x="1857361" y="4077918"/>
                  <a:pt x="1859380" y="4080841"/>
                </a:cubicBezTo>
                <a:cubicBezTo>
                  <a:pt x="1863538" y="4086860"/>
                  <a:pt x="1862763" y="4095441"/>
                  <a:pt x="1858062" y="4095441"/>
                </a:cubicBezTo>
                <a:cubicBezTo>
                  <a:pt x="1855799" y="4095441"/>
                  <a:pt x="1852815" y="4092789"/>
                  <a:pt x="1851431" y="4089548"/>
                </a:cubicBezTo>
                <a:cubicBezTo>
                  <a:pt x="1849938" y="4086050"/>
                  <a:pt x="1850915" y="4082412"/>
                  <a:pt x="1852771" y="4080379"/>
                </a:cubicBezTo>
                <a:close/>
                <a:moveTo>
                  <a:pt x="3747913" y="4076860"/>
                </a:moveTo>
                <a:cubicBezTo>
                  <a:pt x="3751091" y="4076093"/>
                  <a:pt x="3755245" y="4078390"/>
                  <a:pt x="3759152" y="4084046"/>
                </a:cubicBezTo>
                <a:cubicBezTo>
                  <a:pt x="3766966" y="4095357"/>
                  <a:pt x="3765498" y="4108103"/>
                  <a:pt x="3756383" y="4108103"/>
                </a:cubicBezTo>
                <a:cubicBezTo>
                  <a:pt x="3751974" y="4108103"/>
                  <a:pt x="3747053" y="4106204"/>
                  <a:pt x="3745450" y="4103882"/>
                </a:cubicBezTo>
                <a:cubicBezTo>
                  <a:pt x="3743846" y="4101561"/>
                  <a:pt x="3742535" y="4094439"/>
                  <a:pt x="3742535" y="4088055"/>
                </a:cubicBezTo>
                <a:cubicBezTo>
                  <a:pt x="3742535" y="4081457"/>
                  <a:pt x="3744736" y="4077627"/>
                  <a:pt x="3747913" y="4076860"/>
                </a:cubicBezTo>
                <a:close/>
                <a:moveTo>
                  <a:pt x="1114457" y="4072746"/>
                </a:moveTo>
                <a:cubicBezTo>
                  <a:pt x="1107329" y="4073494"/>
                  <a:pt x="1103523" y="4090906"/>
                  <a:pt x="1107340" y="4105307"/>
                </a:cubicBezTo>
                <a:cubicBezTo>
                  <a:pt x="1108671" y="4110327"/>
                  <a:pt x="1113265" y="4114103"/>
                  <a:pt x="1117549" y="4113700"/>
                </a:cubicBezTo>
                <a:cubicBezTo>
                  <a:pt x="1124850" y="4113011"/>
                  <a:pt x="1124858" y="4112783"/>
                  <a:pt x="1117687" y="4110070"/>
                </a:cubicBezTo>
                <a:cubicBezTo>
                  <a:pt x="1108839" y="4106722"/>
                  <a:pt x="1107112" y="4078797"/>
                  <a:pt x="1115500" y="4074720"/>
                </a:cubicBezTo>
                <a:cubicBezTo>
                  <a:pt x="1118694" y="4073168"/>
                  <a:pt x="1118261" y="4072348"/>
                  <a:pt x="1114457" y="4072746"/>
                </a:cubicBezTo>
                <a:close/>
                <a:moveTo>
                  <a:pt x="2356317" y="4044794"/>
                </a:moveTo>
                <a:cubicBezTo>
                  <a:pt x="2358723" y="4044794"/>
                  <a:pt x="2360690" y="4047476"/>
                  <a:pt x="2360690" y="4050752"/>
                </a:cubicBezTo>
                <a:cubicBezTo>
                  <a:pt x="2360690" y="4054028"/>
                  <a:pt x="2358723" y="4058470"/>
                  <a:pt x="2356317" y="4060622"/>
                </a:cubicBezTo>
                <a:cubicBezTo>
                  <a:pt x="2353912" y="4062773"/>
                  <a:pt x="2351944" y="4060093"/>
                  <a:pt x="2351944" y="4054664"/>
                </a:cubicBezTo>
                <a:cubicBezTo>
                  <a:pt x="2351944" y="4049236"/>
                  <a:pt x="2353912" y="4044794"/>
                  <a:pt x="2356317" y="4044794"/>
                </a:cubicBezTo>
                <a:close/>
                <a:moveTo>
                  <a:pt x="1890281" y="4038463"/>
                </a:moveTo>
                <a:cubicBezTo>
                  <a:pt x="1893712" y="4038463"/>
                  <a:pt x="1899465" y="4047010"/>
                  <a:pt x="1903064" y="4057456"/>
                </a:cubicBezTo>
                <a:cubicBezTo>
                  <a:pt x="1906663" y="4067902"/>
                  <a:pt x="1909267" y="4076188"/>
                  <a:pt x="1908851" y="4075870"/>
                </a:cubicBezTo>
                <a:cubicBezTo>
                  <a:pt x="1908434" y="4075551"/>
                  <a:pt x="1902684" y="4070566"/>
                  <a:pt x="1896075" y="4064790"/>
                </a:cubicBezTo>
                <a:cubicBezTo>
                  <a:pt x="1883267" y="4053600"/>
                  <a:pt x="1879935" y="4038463"/>
                  <a:pt x="1890281" y="4038463"/>
                </a:cubicBezTo>
                <a:close/>
                <a:moveTo>
                  <a:pt x="1534930" y="4031057"/>
                </a:moveTo>
                <a:cubicBezTo>
                  <a:pt x="1536432" y="4029521"/>
                  <a:pt x="1540659" y="4030428"/>
                  <a:pt x="1547326" y="4034071"/>
                </a:cubicBezTo>
                <a:cubicBezTo>
                  <a:pt x="1559255" y="4040589"/>
                  <a:pt x="1565914" y="4057456"/>
                  <a:pt x="1556559" y="4057456"/>
                </a:cubicBezTo>
                <a:cubicBezTo>
                  <a:pt x="1552555" y="4057456"/>
                  <a:pt x="1552177" y="4077140"/>
                  <a:pt x="1556072" y="4082779"/>
                </a:cubicBezTo>
                <a:cubicBezTo>
                  <a:pt x="1561052" y="4089989"/>
                  <a:pt x="1569191" y="4114864"/>
                  <a:pt x="1569191" y="4122875"/>
                </a:cubicBezTo>
                <a:cubicBezTo>
                  <a:pt x="1569191" y="4127613"/>
                  <a:pt x="1573127" y="4138058"/>
                  <a:pt x="1577937" y="4146088"/>
                </a:cubicBezTo>
                <a:cubicBezTo>
                  <a:pt x="1582747" y="4154118"/>
                  <a:pt x="1586682" y="4164220"/>
                  <a:pt x="1586682" y="4168537"/>
                </a:cubicBezTo>
                <a:cubicBezTo>
                  <a:pt x="1586682" y="4172854"/>
                  <a:pt x="1589634" y="4178027"/>
                  <a:pt x="1593242" y="4180031"/>
                </a:cubicBezTo>
                <a:cubicBezTo>
                  <a:pt x="1599854" y="4183704"/>
                  <a:pt x="1602616" y="4203087"/>
                  <a:pt x="1596521" y="4203041"/>
                </a:cubicBezTo>
                <a:cubicBezTo>
                  <a:pt x="1594718" y="4203028"/>
                  <a:pt x="1578872" y="4182372"/>
                  <a:pt x="1561308" y="4157141"/>
                </a:cubicBezTo>
                <a:cubicBezTo>
                  <a:pt x="1530023" y="4112198"/>
                  <a:pt x="1521290" y="4097058"/>
                  <a:pt x="1521156" y="4087528"/>
                </a:cubicBezTo>
                <a:cubicBezTo>
                  <a:pt x="1521043" y="4079517"/>
                  <a:pt x="1533360" y="4082270"/>
                  <a:pt x="1535320" y="4090693"/>
                </a:cubicBezTo>
                <a:cubicBezTo>
                  <a:pt x="1536333" y="4095046"/>
                  <a:pt x="1538601" y="4087552"/>
                  <a:pt x="1540362" y="4074041"/>
                </a:cubicBezTo>
                <a:cubicBezTo>
                  <a:pt x="1542343" y="4058838"/>
                  <a:pt x="1541780" y="4046895"/>
                  <a:pt x="1538885" y="4042703"/>
                </a:cubicBezTo>
                <a:cubicBezTo>
                  <a:pt x="1534651" y="4036573"/>
                  <a:pt x="1533428" y="4032593"/>
                  <a:pt x="1534930" y="4031057"/>
                </a:cubicBezTo>
                <a:close/>
                <a:moveTo>
                  <a:pt x="843613" y="4027015"/>
                </a:moveTo>
                <a:cubicBezTo>
                  <a:pt x="846199" y="4028263"/>
                  <a:pt x="848314" y="4031990"/>
                  <a:pt x="848314" y="4035298"/>
                </a:cubicBezTo>
                <a:cubicBezTo>
                  <a:pt x="848314" y="4038606"/>
                  <a:pt x="846199" y="4042333"/>
                  <a:pt x="843613" y="4043581"/>
                </a:cubicBezTo>
                <a:cubicBezTo>
                  <a:pt x="841028" y="4044829"/>
                  <a:pt x="838912" y="4041101"/>
                  <a:pt x="838912" y="4035298"/>
                </a:cubicBezTo>
                <a:cubicBezTo>
                  <a:pt x="838912" y="4029495"/>
                  <a:pt x="841028" y="4025767"/>
                  <a:pt x="843613" y="4027015"/>
                </a:cubicBezTo>
                <a:close/>
                <a:moveTo>
                  <a:pt x="2342527" y="4008437"/>
                </a:moveTo>
                <a:cubicBezTo>
                  <a:pt x="2345218" y="4007880"/>
                  <a:pt x="2347571" y="4010188"/>
                  <a:pt x="2347571" y="4015778"/>
                </a:cubicBezTo>
                <a:cubicBezTo>
                  <a:pt x="2347571" y="4021291"/>
                  <a:pt x="2344456" y="4025802"/>
                  <a:pt x="2340648" y="4025802"/>
                </a:cubicBezTo>
                <a:cubicBezTo>
                  <a:pt x="2336840" y="4025802"/>
                  <a:pt x="2334503" y="4022419"/>
                  <a:pt x="2335455" y="4018284"/>
                </a:cubicBezTo>
                <a:cubicBezTo>
                  <a:pt x="2336806" y="4012415"/>
                  <a:pt x="2339835" y="4008993"/>
                  <a:pt x="2342527" y="4008437"/>
                </a:cubicBezTo>
                <a:close/>
                <a:moveTo>
                  <a:pt x="3724941" y="4000570"/>
                </a:moveTo>
                <a:cubicBezTo>
                  <a:pt x="3731163" y="3995002"/>
                  <a:pt x="3742535" y="4006925"/>
                  <a:pt x="3742535" y="4019019"/>
                </a:cubicBezTo>
                <a:cubicBezTo>
                  <a:pt x="3742535" y="4029203"/>
                  <a:pt x="3731275" y="4027178"/>
                  <a:pt x="3724767" y="4015823"/>
                </a:cubicBezTo>
                <a:cubicBezTo>
                  <a:pt x="3720044" y="4007587"/>
                  <a:pt x="3720075" y="4004924"/>
                  <a:pt x="3724941" y="4000570"/>
                </a:cubicBezTo>
                <a:close/>
                <a:moveTo>
                  <a:pt x="1367217" y="3939176"/>
                </a:moveTo>
                <a:lnTo>
                  <a:pt x="1375598" y="3939675"/>
                </a:lnTo>
                <a:cubicBezTo>
                  <a:pt x="1377051" y="3941779"/>
                  <a:pt x="1374468" y="3943275"/>
                  <a:pt x="1369858" y="3943001"/>
                </a:cubicBezTo>
                <a:close/>
                <a:moveTo>
                  <a:pt x="1367216" y="3939176"/>
                </a:moveTo>
                <a:lnTo>
                  <a:pt x="1367217" y="3939176"/>
                </a:lnTo>
                <a:lnTo>
                  <a:pt x="1367216" y="3939176"/>
                </a:lnTo>
                <a:close/>
                <a:moveTo>
                  <a:pt x="2495323" y="3937371"/>
                </a:moveTo>
                <a:cubicBezTo>
                  <a:pt x="2497036" y="3937482"/>
                  <a:pt x="2501881" y="3941357"/>
                  <a:pt x="2506090" y="3945983"/>
                </a:cubicBezTo>
                <a:cubicBezTo>
                  <a:pt x="2514499" y="3955224"/>
                  <a:pt x="2516657" y="3987817"/>
                  <a:pt x="2508860" y="3987817"/>
                </a:cubicBezTo>
                <a:cubicBezTo>
                  <a:pt x="2506010" y="3987817"/>
                  <a:pt x="2504847" y="3994405"/>
                  <a:pt x="2506067" y="4003644"/>
                </a:cubicBezTo>
                <a:cubicBezTo>
                  <a:pt x="2508040" y="4018586"/>
                  <a:pt x="2499797" y="4026668"/>
                  <a:pt x="2494768" y="4014723"/>
                </a:cubicBezTo>
                <a:cubicBezTo>
                  <a:pt x="2491463" y="4006872"/>
                  <a:pt x="2491962" y="3937154"/>
                  <a:pt x="2495323" y="3937371"/>
                </a:cubicBezTo>
                <a:close/>
                <a:moveTo>
                  <a:pt x="3895920" y="3935463"/>
                </a:moveTo>
                <a:cubicBezTo>
                  <a:pt x="3898485" y="3936562"/>
                  <a:pt x="3899960" y="3944742"/>
                  <a:pt x="3899960" y="3959837"/>
                </a:cubicBezTo>
                <a:cubicBezTo>
                  <a:pt x="3899960" y="3977338"/>
                  <a:pt x="3902268" y="3983280"/>
                  <a:pt x="3911406" y="3989307"/>
                </a:cubicBezTo>
                <a:cubicBezTo>
                  <a:pt x="3921443" y="3995928"/>
                  <a:pt x="3923817" y="3995132"/>
                  <a:pt x="3930692" y="3982841"/>
                </a:cubicBezTo>
                <a:cubicBezTo>
                  <a:pt x="3940937" y="3964524"/>
                  <a:pt x="3946474" y="3965129"/>
                  <a:pt x="3949909" y="3984943"/>
                </a:cubicBezTo>
                <a:cubicBezTo>
                  <a:pt x="3953443" y="4005328"/>
                  <a:pt x="3949552" y="4014678"/>
                  <a:pt x="3939464" y="4010043"/>
                </a:cubicBezTo>
                <a:cubicBezTo>
                  <a:pt x="3933373" y="4007244"/>
                  <a:pt x="3931188" y="4010501"/>
                  <a:pt x="3929769" y="4024499"/>
                </a:cubicBezTo>
                <a:cubicBezTo>
                  <a:pt x="3928763" y="4034436"/>
                  <a:pt x="3930371" y="4045858"/>
                  <a:pt x="3933346" y="4049881"/>
                </a:cubicBezTo>
                <a:cubicBezTo>
                  <a:pt x="3940204" y="4059157"/>
                  <a:pt x="3946041" y="4113587"/>
                  <a:pt x="3940956" y="4120846"/>
                </a:cubicBezTo>
                <a:cubicBezTo>
                  <a:pt x="3938809" y="4123909"/>
                  <a:pt x="3933770" y="4123562"/>
                  <a:pt x="3929478" y="4120056"/>
                </a:cubicBezTo>
                <a:cubicBezTo>
                  <a:pt x="3924007" y="4115587"/>
                  <a:pt x="3921825" y="4105879"/>
                  <a:pt x="3921825" y="4086004"/>
                </a:cubicBezTo>
                <a:cubicBezTo>
                  <a:pt x="3921825" y="4070714"/>
                  <a:pt x="3919827" y="4056416"/>
                  <a:pt x="3917386" y="4054232"/>
                </a:cubicBezTo>
                <a:cubicBezTo>
                  <a:pt x="3914944" y="4052047"/>
                  <a:pt x="3910125" y="4040483"/>
                  <a:pt x="3906676" y="4028534"/>
                </a:cubicBezTo>
                <a:cubicBezTo>
                  <a:pt x="3902585" y="4014359"/>
                  <a:pt x="3897455" y="4006809"/>
                  <a:pt x="3891911" y="4006809"/>
                </a:cubicBezTo>
                <a:cubicBezTo>
                  <a:pt x="3879691" y="4006809"/>
                  <a:pt x="3876455" y="3980566"/>
                  <a:pt x="3885345" y="3953575"/>
                </a:cubicBezTo>
                <a:cubicBezTo>
                  <a:pt x="3889702" y="3940346"/>
                  <a:pt x="3893356" y="3934364"/>
                  <a:pt x="3895920" y="3935463"/>
                </a:cubicBezTo>
                <a:close/>
                <a:moveTo>
                  <a:pt x="2337188" y="3930839"/>
                </a:moveTo>
                <a:cubicBezTo>
                  <a:pt x="2341763" y="3930839"/>
                  <a:pt x="2343356" y="3936017"/>
                  <a:pt x="2342396" y="3947761"/>
                </a:cubicBezTo>
                <a:cubicBezTo>
                  <a:pt x="2340687" y="3968659"/>
                  <a:pt x="2331821" y="3974077"/>
                  <a:pt x="2327982" y="3956568"/>
                </a:cubicBezTo>
                <a:cubicBezTo>
                  <a:pt x="2324570" y="3941003"/>
                  <a:pt x="2328207" y="3930839"/>
                  <a:pt x="2337188" y="3930839"/>
                </a:cubicBezTo>
                <a:close/>
                <a:moveTo>
                  <a:pt x="2224989" y="3912997"/>
                </a:moveTo>
                <a:cubicBezTo>
                  <a:pt x="2226643" y="3913005"/>
                  <a:pt x="2228411" y="3914065"/>
                  <a:pt x="2230083" y="3916486"/>
                </a:cubicBezTo>
                <a:cubicBezTo>
                  <a:pt x="2235437" y="3924236"/>
                  <a:pt x="2232336" y="3943501"/>
                  <a:pt x="2225735" y="3943501"/>
                </a:cubicBezTo>
                <a:cubicBezTo>
                  <a:pt x="2223512" y="3943501"/>
                  <a:pt x="2220433" y="3938751"/>
                  <a:pt x="2218895" y="3932946"/>
                </a:cubicBezTo>
                <a:cubicBezTo>
                  <a:pt x="2216102" y="3922410"/>
                  <a:pt x="2220029" y="3912972"/>
                  <a:pt x="2224989" y="3912997"/>
                </a:cubicBezTo>
                <a:close/>
                <a:moveTo>
                  <a:pt x="1388112" y="3908577"/>
                </a:moveTo>
                <a:cubicBezTo>
                  <a:pt x="1385822" y="3908943"/>
                  <a:pt x="1383840" y="3911987"/>
                  <a:pt x="1380454" y="3917982"/>
                </a:cubicBezTo>
                <a:cubicBezTo>
                  <a:pt x="1372652" y="3931799"/>
                  <a:pt x="1363663" y="3935077"/>
                  <a:pt x="1363663" y="3924107"/>
                </a:cubicBezTo>
                <a:cubicBezTo>
                  <a:pt x="1363663" y="3920325"/>
                  <a:pt x="1357435" y="3918244"/>
                  <a:pt x="1349452" y="3919359"/>
                </a:cubicBezTo>
                <a:cubicBezTo>
                  <a:pt x="1337649" y="3921007"/>
                  <a:pt x="1335239" y="3923978"/>
                  <a:pt x="1335239" y="3936885"/>
                </a:cubicBezTo>
                <a:cubicBezTo>
                  <a:pt x="1335239" y="3948254"/>
                  <a:pt x="1338174" y="3953421"/>
                  <a:pt x="1346172" y="3956132"/>
                </a:cubicBezTo>
                <a:cubicBezTo>
                  <a:pt x="1354295" y="3958885"/>
                  <a:pt x="1358141" y="3965852"/>
                  <a:pt x="1361141" y="3983244"/>
                </a:cubicBezTo>
                <a:cubicBezTo>
                  <a:pt x="1366324" y="4013290"/>
                  <a:pt x="1379378" y="4020675"/>
                  <a:pt x="1390289" y="3999733"/>
                </a:cubicBezTo>
                <a:cubicBezTo>
                  <a:pt x="1399821" y="3981439"/>
                  <a:pt x="1405230" y="3987414"/>
                  <a:pt x="1400728" y="4011262"/>
                </a:cubicBezTo>
                <a:cubicBezTo>
                  <a:pt x="1394690" y="4043248"/>
                  <a:pt x="1398307" y="4072265"/>
                  <a:pt x="1410270" y="4087809"/>
                </a:cubicBezTo>
                <a:cubicBezTo>
                  <a:pt x="1420615" y="4101248"/>
                  <a:pt x="1421855" y="4101531"/>
                  <a:pt x="1426873" y="4091597"/>
                </a:cubicBezTo>
                <a:cubicBezTo>
                  <a:pt x="1430678" y="4084064"/>
                  <a:pt x="1433223" y="4083036"/>
                  <a:pt x="1435407" y="4088151"/>
                </a:cubicBezTo>
                <a:cubicBezTo>
                  <a:pt x="1439959" y="4098813"/>
                  <a:pt x="1455342" y="4097052"/>
                  <a:pt x="1458399" y="4085520"/>
                </a:cubicBezTo>
                <a:cubicBezTo>
                  <a:pt x="1459846" y="4080062"/>
                  <a:pt x="1458800" y="4072370"/>
                  <a:pt x="1456075" y="4068426"/>
                </a:cubicBezTo>
                <a:cubicBezTo>
                  <a:pt x="1453351" y="4064481"/>
                  <a:pt x="1451122" y="4056099"/>
                  <a:pt x="1451122" y="4049797"/>
                </a:cubicBezTo>
                <a:cubicBezTo>
                  <a:pt x="1451122" y="4043496"/>
                  <a:pt x="1447186" y="4033461"/>
                  <a:pt x="1442376" y="4027499"/>
                </a:cubicBezTo>
                <a:cubicBezTo>
                  <a:pt x="1437566" y="4021535"/>
                  <a:pt x="1433630" y="4012989"/>
                  <a:pt x="1433630" y="4008506"/>
                </a:cubicBezTo>
                <a:cubicBezTo>
                  <a:pt x="1433630" y="4004022"/>
                  <a:pt x="1429795" y="3995601"/>
                  <a:pt x="1425108" y="3989791"/>
                </a:cubicBezTo>
                <a:cubicBezTo>
                  <a:pt x="1420421" y="3983981"/>
                  <a:pt x="1417456" y="3977189"/>
                  <a:pt x="1418520" y="3974698"/>
                </a:cubicBezTo>
                <a:cubicBezTo>
                  <a:pt x="1422053" y="3966421"/>
                  <a:pt x="1407671" y="3925510"/>
                  <a:pt x="1397617" y="3915240"/>
                </a:cubicBezTo>
                <a:cubicBezTo>
                  <a:pt x="1392999" y="3910523"/>
                  <a:pt x="1390401" y="3908211"/>
                  <a:pt x="1388112" y="3908577"/>
                </a:cubicBezTo>
                <a:close/>
                <a:moveTo>
                  <a:pt x="523559" y="3899185"/>
                </a:moveTo>
                <a:cubicBezTo>
                  <a:pt x="532732" y="3899185"/>
                  <a:pt x="547770" y="3927730"/>
                  <a:pt x="543663" y="3937349"/>
                </a:cubicBezTo>
                <a:cubicBezTo>
                  <a:pt x="539177" y="3947859"/>
                  <a:pt x="529159" y="3944115"/>
                  <a:pt x="526248" y="3930839"/>
                </a:cubicBezTo>
                <a:cubicBezTo>
                  <a:pt x="524721" y="3923875"/>
                  <a:pt x="521637" y="3918177"/>
                  <a:pt x="519394" y="3918177"/>
                </a:cubicBezTo>
                <a:cubicBezTo>
                  <a:pt x="517151" y="3918177"/>
                  <a:pt x="515316" y="3913904"/>
                  <a:pt x="515316" y="3908681"/>
                </a:cubicBezTo>
                <a:cubicBezTo>
                  <a:pt x="515316" y="3903458"/>
                  <a:pt x="519025" y="3899185"/>
                  <a:pt x="523559" y="3899185"/>
                </a:cubicBezTo>
                <a:close/>
                <a:moveTo>
                  <a:pt x="4105488" y="3892854"/>
                </a:moveTo>
                <a:cubicBezTo>
                  <a:pt x="4107893" y="3892854"/>
                  <a:pt x="4109861" y="3895702"/>
                  <a:pt x="4109861" y="3899185"/>
                </a:cubicBezTo>
                <a:cubicBezTo>
                  <a:pt x="4109861" y="3902667"/>
                  <a:pt x="4107893" y="3905515"/>
                  <a:pt x="4105488" y="3905515"/>
                </a:cubicBezTo>
                <a:cubicBezTo>
                  <a:pt x="4103082" y="3905515"/>
                  <a:pt x="4101115" y="3902667"/>
                  <a:pt x="4101115" y="3899185"/>
                </a:cubicBezTo>
                <a:cubicBezTo>
                  <a:pt x="4101115" y="3895702"/>
                  <a:pt x="4103082" y="3892854"/>
                  <a:pt x="4105488" y="3892854"/>
                </a:cubicBezTo>
                <a:close/>
                <a:moveTo>
                  <a:pt x="2909492" y="3892854"/>
                </a:moveTo>
                <a:cubicBezTo>
                  <a:pt x="2913574" y="3892854"/>
                  <a:pt x="2916052" y="3898833"/>
                  <a:pt x="2916052" y="3908681"/>
                </a:cubicBezTo>
                <a:cubicBezTo>
                  <a:pt x="2916052" y="3918529"/>
                  <a:pt x="2913574" y="3924508"/>
                  <a:pt x="2909492" y="3924508"/>
                </a:cubicBezTo>
                <a:cubicBezTo>
                  <a:pt x="2905412" y="3924508"/>
                  <a:pt x="2902933" y="3918529"/>
                  <a:pt x="2902933" y="3908681"/>
                </a:cubicBezTo>
                <a:cubicBezTo>
                  <a:pt x="2902933" y="3898833"/>
                  <a:pt x="2905412" y="3892854"/>
                  <a:pt x="2909492" y="3892854"/>
                </a:cubicBezTo>
                <a:close/>
                <a:moveTo>
                  <a:pt x="2655863" y="3892854"/>
                </a:moveTo>
                <a:cubicBezTo>
                  <a:pt x="2659470" y="3892854"/>
                  <a:pt x="2662423" y="3895535"/>
                  <a:pt x="2662423" y="3898811"/>
                </a:cubicBezTo>
                <a:cubicBezTo>
                  <a:pt x="2662423" y="3906794"/>
                  <a:pt x="2655593" y="3912512"/>
                  <a:pt x="2652101" y="3907454"/>
                </a:cubicBezTo>
                <a:cubicBezTo>
                  <a:pt x="2647175" y="3900324"/>
                  <a:pt x="2649101" y="3892854"/>
                  <a:pt x="2655863" y="3892854"/>
                </a:cubicBezTo>
                <a:close/>
                <a:moveTo>
                  <a:pt x="2015126" y="3890471"/>
                </a:moveTo>
                <a:cubicBezTo>
                  <a:pt x="2018179" y="3886051"/>
                  <a:pt x="2021270" y="3886407"/>
                  <a:pt x="2024850" y="3891588"/>
                </a:cubicBezTo>
                <a:cubicBezTo>
                  <a:pt x="2027736" y="3895766"/>
                  <a:pt x="2035607" y="3899185"/>
                  <a:pt x="2042341" y="3899185"/>
                </a:cubicBezTo>
                <a:cubicBezTo>
                  <a:pt x="2050646" y="3899185"/>
                  <a:pt x="2054585" y="3902441"/>
                  <a:pt x="2054585" y="3909307"/>
                </a:cubicBezTo>
                <a:cubicBezTo>
                  <a:pt x="2054585" y="3919304"/>
                  <a:pt x="2067171" y="3962689"/>
                  <a:pt x="2071849" y="3968824"/>
                </a:cubicBezTo>
                <a:cubicBezTo>
                  <a:pt x="2075939" y="3974186"/>
                  <a:pt x="2084746" y="3996282"/>
                  <a:pt x="2091632" y="4018461"/>
                </a:cubicBezTo>
                <a:cubicBezTo>
                  <a:pt x="2096420" y="4033881"/>
                  <a:pt x="2096979" y="4042908"/>
                  <a:pt x="2093696" y="4051792"/>
                </a:cubicBezTo>
                <a:cubicBezTo>
                  <a:pt x="2090178" y="4061308"/>
                  <a:pt x="2090784" y="4064859"/>
                  <a:pt x="2096463" y="4068015"/>
                </a:cubicBezTo>
                <a:cubicBezTo>
                  <a:pt x="2102527" y="4071383"/>
                  <a:pt x="2103267" y="4077823"/>
                  <a:pt x="2100916" y="4106782"/>
                </a:cubicBezTo>
                <a:cubicBezTo>
                  <a:pt x="2098452" y="4137132"/>
                  <a:pt x="2099212" y="4142640"/>
                  <a:pt x="2106951" y="4150489"/>
                </a:cubicBezTo>
                <a:cubicBezTo>
                  <a:pt x="2111822" y="4155427"/>
                  <a:pt x="2115806" y="4164434"/>
                  <a:pt x="2115806" y="4170504"/>
                </a:cubicBezTo>
                <a:cubicBezTo>
                  <a:pt x="2115806" y="4176574"/>
                  <a:pt x="2118021" y="4184746"/>
                  <a:pt x="2120728" y="4188665"/>
                </a:cubicBezTo>
                <a:cubicBezTo>
                  <a:pt x="2125881" y="4196127"/>
                  <a:pt x="2122376" y="4241389"/>
                  <a:pt x="2116702" y="4240650"/>
                </a:cubicBezTo>
                <a:cubicBezTo>
                  <a:pt x="2115007" y="4240429"/>
                  <a:pt x="2109193" y="4237672"/>
                  <a:pt x="2103781" y="4234523"/>
                </a:cubicBezTo>
                <a:lnTo>
                  <a:pt x="2103781" y="4234523"/>
                </a:lnTo>
                <a:cubicBezTo>
                  <a:pt x="2098369" y="4231374"/>
                  <a:pt x="2093605" y="4223720"/>
                  <a:pt x="2093194" y="4217514"/>
                </a:cubicBezTo>
                <a:cubicBezTo>
                  <a:pt x="2092783" y="4211309"/>
                  <a:pt x="2092225" y="4201681"/>
                  <a:pt x="2091953" y="4196119"/>
                </a:cubicBezTo>
                <a:cubicBezTo>
                  <a:pt x="2091475" y="4186310"/>
                  <a:pt x="2071274" y="4155196"/>
                  <a:pt x="2062695" y="4151056"/>
                </a:cubicBezTo>
                <a:cubicBezTo>
                  <a:pt x="2060057" y="4149784"/>
                  <a:pt x="2060504" y="4137905"/>
                  <a:pt x="2063875" y="4119655"/>
                </a:cubicBezTo>
                <a:cubicBezTo>
                  <a:pt x="2068214" y="4096172"/>
                  <a:pt x="2068187" y="4082900"/>
                  <a:pt x="2063743" y="4053303"/>
                </a:cubicBezTo>
                <a:cubicBezTo>
                  <a:pt x="2060687" y="4032954"/>
                  <a:pt x="2056643" y="4011938"/>
                  <a:pt x="2054756" y="4006601"/>
                </a:cubicBezTo>
                <a:cubicBezTo>
                  <a:pt x="2052869" y="4001264"/>
                  <a:pt x="2049979" y="3988027"/>
                  <a:pt x="2048334" y="3977186"/>
                </a:cubicBezTo>
                <a:cubicBezTo>
                  <a:pt x="2046690" y="3966345"/>
                  <a:pt x="2041520" y="3952465"/>
                  <a:pt x="2036846" y="3946341"/>
                </a:cubicBezTo>
                <a:cubicBezTo>
                  <a:pt x="2032172" y="3940218"/>
                  <a:pt x="2028348" y="3931817"/>
                  <a:pt x="2028348" y="3927674"/>
                </a:cubicBezTo>
                <a:cubicBezTo>
                  <a:pt x="2028348" y="3923530"/>
                  <a:pt x="2024366" y="3914922"/>
                  <a:pt x="2019499" y="3908546"/>
                </a:cubicBezTo>
                <a:cubicBezTo>
                  <a:pt x="2013463" y="3900638"/>
                  <a:pt x="2012073" y="3894892"/>
                  <a:pt x="2015126" y="3890471"/>
                </a:cubicBezTo>
                <a:close/>
                <a:moveTo>
                  <a:pt x="3762359" y="3882921"/>
                </a:moveTo>
                <a:cubicBezTo>
                  <a:pt x="3765128" y="3881912"/>
                  <a:pt x="3768444" y="3886099"/>
                  <a:pt x="3771539" y="3895761"/>
                </a:cubicBezTo>
                <a:cubicBezTo>
                  <a:pt x="3777140" y="3913245"/>
                  <a:pt x="3775346" y="3918177"/>
                  <a:pt x="3763380" y="3918177"/>
                </a:cubicBezTo>
                <a:cubicBezTo>
                  <a:pt x="3756946" y="3918177"/>
                  <a:pt x="3755385" y="3914362"/>
                  <a:pt x="3756456" y="3901256"/>
                </a:cubicBezTo>
                <a:cubicBezTo>
                  <a:pt x="3757366" y="3890135"/>
                  <a:pt x="3759589" y="3883930"/>
                  <a:pt x="3762359" y="3882921"/>
                </a:cubicBezTo>
                <a:close/>
                <a:moveTo>
                  <a:pt x="4054105" y="3868673"/>
                </a:moveTo>
                <a:cubicBezTo>
                  <a:pt x="4062485" y="3870396"/>
                  <a:pt x="4064004" y="3874724"/>
                  <a:pt x="4064349" y="3897845"/>
                </a:cubicBezTo>
                <a:cubicBezTo>
                  <a:pt x="4064572" y="3912776"/>
                  <a:pt x="4063565" y="3926057"/>
                  <a:pt x="4062113" y="3927356"/>
                </a:cubicBezTo>
                <a:cubicBezTo>
                  <a:pt x="4060660" y="3928655"/>
                  <a:pt x="4054083" y="3924035"/>
                  <a:pt x="4047496" y="3917089"/>
                </a:cubicBezTo>
                <a:cubicBezTo>
                  <a:pt x="4035765" y="3904717"/>
                  <a:pt x="4031239" y="3886523"/>
                  <a:pt x="4039894" y="3886523"/>
                </a:cubicBezTo>
                <a:cubicBezTo>
                  <a:pt x="4042299" y="3886523"/>
                  <a:pt x="4044267" y="3882052"/>
                  <a:pt x="4044267" y="3876586"/>
                </a:cubicBezTo>
                <a:cubicBezTo>
                  <a:pt x="4044267" y="3869903"/>
                  <a:pt x="4047487" y="3867312"/>
                  <a:pt x="4054105" y="3868673"/>
                </a:cubicBezTo>
                <a:close/>
                <a:moveTo>
                  <a:pt x="2218103" y="3867530"/>
                </a:moveTo>
                <a:cubicBezTo>
                  <a:pt x="2221453" y="3867530"/>
                  <a:pt x="2225327" y="3871803"/>
                  <a:pt x="2226711" y="3877027"/>
                </a:cubicBezTo>
                <a:cubicBezTo>
                  <a:pt x="2228423" y="3883486"/>
                  <a:pt x="2226475" y="3886523"/>
                  <a:pt x="2220619" y="3886523"/>
                </a:cubicBezTo>
                <a:cubicBezTo>
                  <a:pt x="2215883" y="3886523"/>
                  <a:pt x="2212011" y="3882252"/>
                  <a:pt x="2212011" y="3877027"/>
                </a:cubicBezTo>
                <a:cubicBezTo>
                  <a:pt x="2212011" y="3871803"/>
                  <a:pt x="2214752" y="3867530"/>
                  <a:pt x="2218103" y="3867530"/>
                </a:cubicBezTo>
                <a:close/>
                <a:moveTo>
                  <a:pt x="1971688" y="3857866"/>
                </a:moveTo>
                <a:cubicBezTo>
                  <a:pt x="1977160" y="3852970"/>
                  <a:pt x="1988801" y="3895709"/>
                  <a:pt x="1986087" y="3910735"/>
                </a:cubicBezTo>
                <a:cubicBezTo>
                  <a:pt x="1984860" y="3917524"/>
                  <a:pt x="1985996" y="3924993"/>
                  <a:pt x="1988610" y="3927333"/>
                </a:cubicBezTo>
                <a:cubicBezTo>
                  <a:pt x="1991226" y="3929672"/>
                  <a:pt x="1993364" y="3941041"/>
                  <a:pt x="1993364" y="3952596"/>
                </a:cubicBezTo>
                <a:cubicBezTo>
                  <a:pt x="1993364" y="3964151"/>
                  <a:pt x="1996120" y="3976915"/>
                  <a:pt x="1999487" y="3980960"/>
                </a:cubicBezTo>
                <a:cubicBezTo>
                  <a:pt x="2002854" y="3985006"/>
                  <a:pt x="2005609" y="3998543"/>
                  <a:pt x="2005609" y="4011042"/>
                </a:cubicBezTo>
                <a:cubicBezTo>
                  <a:pt x="2005609" y="4023542"/>
                  <a:pt x="2007464" y="4035537"/>
                  <a:pt x="2009731" y="4037699"/>
                </a:cubicBezTo>
                <a:cubicBezTo>
                  <a:pt x="2011999" y="4039861"/>
                  <a:pt x="2015098" y="4050888"/>
                  <a:pt x="2016619" y="4062204"/>
                </a:cubicBezTo>
                <a:cubicBezTo>
                  <a:pt x="2019841" y="4086182"/>
                  <a:pt x="2010010" y="4091486"/>
                  <a:pt x="2002084" y="4070047"/>
                </a:cubicBezTo>
                <a:cubicBezTo>
                  <a:pt x="1999495" y="4063042"/>
                  <a:pt x="1997871" y="4053784"/>
                  <a:pt x="1998475" y="4049471"/>
                </a:cubicBezTo>
                <a:cubicBezTo>
                  <a:pt x="2000402" y="4035704"/>
                  <a:pt x="1988985" y="4013140"/>
                  <a:pt x="1980092" y="4013140"/>
                </a:cubicBezTo>
                <a:cubicBezTo>
                  <a:pt x="1975366" y="4013140"/>
                  <a:pt x="1971500" y="4008867"/>
                  <a:pt x="1971500" y="4003644"/>
                </a:cubicBezTo>
                <a:cubicBezTo>
                  <a:pt x="1971500" y="3998421"/>
                  <a:pt x="1973468" y="3994147"/>
                  <a:pt x="1975873" y="3994147"/>
                </a:cubicBezTo>
                <a:cubicBezTo>
                  <a:pt x="1981430" y="3994147"/>
                  <a:pt x="1981644" y="3970593"/>
                  <a:pt x="1976112" y="3967769"/>
                </a:cubicBezTo>
                <a:cubicBezTo>
                  <a:pt x="1970708" y="3965010"/>
                  <a:pt x="1966578" y="3862438"/>
                  <a:pt x="1971688" y="3857866"/>
                </a:cubicBezTo>
                <a:close/>
                <a:moveTo>
                  <a:pt x="502197" y="3851703"/>
                </a:moveTo>
                <a:cubicBezTo>
                  <a:pt x="504602" y="3849551"/>
                  <a:pt x="506570" y="3852232"/>
                  <a:pt x="506570" y="3857660"/>
                </a:cubicBezTo>
                <a:cubicBezTo>
                  <a:pt x="506570" y="3863089"/>
                  <a:pt x="504602" y="3867530"/>
                  <a:pt x="502197" y="3867530"/>
                </a:cubicBezTo>
                <a:cubicBezTo>
                  <a:pt x="499792" y="3867530"/>
                  <a:pt x="497824" y="3864850"/>
                  <a:pt x="497824" y="3861573"/>
                </a:cubicBezTo>
                <a:cubicBezTo>
                  <a:pt x="497824" y="3858297"/>
                  <a:pt x="499792" y="3853855"/>
                  <a:pt x="502197" y="3851703"/>
                </a:cubicBezTo>
                <a:close/>
                <a:moveTo>
                  <a:pt x="2255504" y="3849289"/>
                </a:moveTo>
                <a:cubicBezTo>
                  <a:pt x="2258339" y="3850660"/>
                  <a:pt x="2260113" y="3856731"/>
                  <a:pt x="2260113" y="3867157"/>
                </a:cubicBezTo>
                <a:cubicBezTo>
                  <a:pt x="2260113" y="3890357"/>
                  <a:pt x="2254613" y="3895889"/>
                  <a:pt x="2245726" y="3881626"/>
                </a:cubicBezTo>
                <a:cubicBezTo>
                  <a:pt x="2240091" y="3872582"/>
                  <a:pt x="2239885" y="3868784"/>
                  <a:pt x="2244530" y="3859617"/>
                </a:cubicBezTo>
                <a:cubicBezTo>
                  <a:pt x="2248773" y="3851245"/>
                  <a:pt x="2252669" y="3847917"/>
                  <a:pt x="2255504" y="3849289"/>
                </a:cubicBezTo>
                <a:close/>
                <a:moveTo>
                  <a:pt x="3417010" y="3829545"/>
                </a:moveTo>
                <a:cubicBezTo>
                  <a:pt x="3420476" y="3829545"/>
                  <a:pt x="3423312" y="3833818"/>
                  <a:pt x="3423312" y="3839042"/>
                </a:cubicBezTo>
                <a:cubicBezTo>
                  <a:pt x="3423312" y="3848577"/>
                  <a:pt x="3414080" y="3852056"/>
                  <a:pt x="3408853" y="3844489"/>
                </a:cubicBezTo>
                <a:cubicBezTo>
                  <a:pt x="3404773" y="3838581"/>
                  <a:pt x="3409705" y="3829545"/>
                  <a:pt x="3417010" y="3829545"/>
                </a:cubicBezTo>
                <a:close/>
                <a:moveTo>
                  <a:pt x="2738431" y="3824454"/>
                </a:moveTo>
                <a:cubicBezTo>
                  <a:pt x="2739993" y="3823468"/>
                  <a:pt x="2743623" y="3824329"/>
                  <a:pt x="2750318" y="3826407"/>
                </a:cubicBezTo>
                <a:cubicBezTo>
                  <a:pt x="2758495" y="3828947"/>
                  <a:pt x="2765412" y="3831404"/>
                  <a:pt x="2765687" y="3831867"/>
                </a:cubicBezTo>
                <a:cubicBezTo>
                  <a:pt x="2765963" y="3832331"/>
                  <a:pt x="2767474" y="3847325"/>
                  <a:pt x="2769047" y="3865187"/>
                </a:cubicBezTo>
                <a:cubicBezTo>
                  <a:pt x="2771804" y="3896481"/>
                  <a:pt x="2771493" y="3897778"/>
                  <a:pt x="2760550" y="3900807"/>
                </a:cubicBezTo>
                <a:cubicBezTo>
                  <a:pt x="2754148" y="3902579"/>
                  <a:pt x="2748519" y="3900839"/>
                  <a:pt x="2747649" y="3896820"/>
                </a:cubicBezTo>
                <a:cubicBezTo>
                  <a:pt x="2746801" y="3892898"/>
                  <a:pt x="2745288" y="3879717"/>
                  <a:pt x="2744287" y="3867530"/>
                </a:cubicBezTo>
                <a:cubicBezTo>
                  <a:pt x="2743287" y="3855344"/>
                  <a:pt x="2740888" y="3840067"/>
                  <a:pt x="2738958" y="3833582"/>
                </a:cubicBezTo>
                <a:cubicBezTo>
                  <a:pt x="2737378" y="3828273"/>
                  <a:pt x="2736870" y="3825440"/>
                  <a:pt x="2738431" y="3824454"/>
                </a:cubicBezTo>
                <a:close/>
                <a:moveTo>
                  <a:pt x="1314629" y="3823496"/>
                </a:moveTo>
                <a:cubicBezTo>
                  <a:pt x="1309924" y="3824382"/>
                  <a:pt x="1305359" y="3827673"/>
                  <a:pt x="1304002" y="3832791"/>
                </a:cubicBezTo>
                <a:cubicBezTo>
                  <a:pt x="1302606" y="3838059"/>
                  <a:pt x="1303933" y="3846674"/>
                  <a:pt x="1306949" y="3851937"/>
                </a:cubicBezTo>
                <a:cubicBezTo>
                  <a:pt x="1314633" y="3865340"/>
                  <a:pt x="1317317" y="3858785"/>
                  <a:pt x="1311067" y="3841880"/>
                </a:cubicBezTo>
                <a:cubicBezTo>
                  <a:pt x="1306233" y="3828802"/>
                  <a:pt x="1306662" y="3828027"/>
                  <a:pt x="1317140" y="3830926"/>
                </a:cubicBezTo>
                <a:cubicBezTo>
                  <a:pt x="1323341" y="3832643"/>
                  <a:pt x="1327375" y="3831610"/>
                  <a:pt x="1326103" y="3828631"/>
                </a:cubicBezTo>
                <a:cubicBezTo>
                  <a:pt x="1324181" y="3824130"/>
                  <a:pt x="1319335" y="3822610"/>
                  <a:pt x="1314629" y="3823496"/>
                </a:cubicBezTo>
                <a:close/>
                <a:moveTo>
                  <a:pt x="3892163" y="3819903"/>
                </a:moveTo>
                <a:cubicBezTo>
                  <a:pt x="3896293" y="3817585"/>
                  <a:pt x="3904890" y="3818207"/>
                  <a:pt x="3911267" y="3821285"/>
                </a:cubicBezTo>
                <a:cubicBezTo>
                  <a:pt x="3920929" y="3825948"/>
                  <a:pt x="3923141" y="3831329"/>
                  <a:pt x="3924522" y="3853537"/>
                </a:cubicBezTo>
                <a:cubicBezTo>
                  <a:pt x="3925968" y="3876764"/>
                  <a:pt x="3925057" y="3880192"/>
                  <a:pt x="3917443" y="3880192"/>
                </a:cubicBezTo>
                <a:cubicBezTo>
                  <a:pt x="3911118" y="3880192"/>
                  <a:pt x="3908706" y="3875967"/>
                  <a:pt x="3908706" y="3864893"/>
                </a:cubicBezTo>
                <a:cubicBezTo>
                  <a:pt x="3908706" y="3855512"/>
                  <a:pt x="3904055" y="3844666"/>
                  <a:pt x="3896680" y="3836855"/>
                </a:cubicBezTo>
                <a:cubicBezTo>
                  <a:pt x="3886276" y="3825832"/>
                  <a:pt x="3885667" y="3823549"/>
                  <a:pt x="3892163" y="3819903"/>
                </a:cubicBezTo>
                <a:close/>
                <a:moveTo>
                  <a:pt x="1959090" y="3812273"/>
                </a:moveTo>
                <a:cubicBezTo>
                  <a:pt x="1962026" y="3813352"/>
                  <a:pt x="1965749" y="3817761"/>
                  <a:pt x="1968903" y="3825000"/>
                </a:cubicBezTo>
                <a:cubicBezTo>
                  <a:pt x="1972200" y="3832566"/>
                  <a:pt x="1971980" y="3837713"/>
                  <a:pt x="1968122" y="3843299"/>
                </a:cubicBezTo>
                <a:cubicBezTo>
                  <a:pt x="1965170" y="3847573"/>
                  <a:pt x="1962521" y="3848364"/>
                  <a:pt x="1962236" y="3845056"/>
                </a:cubicBezTo>
                <a:cubicBezTo>
                  <a:pt x="1961951" y="3841748"/>
                  <a:pt x="1961951" y="3836905"/>
                  <a:pt x="1962236" y="3834293"/>
                </a:cubicBezTo>
                <a:cubicBezTo>
                  <a:pt x="1962521" y="3831682"/>
                  <a:pt x="1960786" y="3829545"/>
                  <a:pt x="1958381" y="3829545"/>
                </a:cubicBezTo>
                <a:cubicBezTo>
                  <a:pt x="1955976" y="3829545"/>
                  <a:pt x="1954008" y="3825035"/>
                  <a:pt x="1954008" y="3819521"/>
                </a:cubicBezTo>
                <a:cubicBezTo>
                  <a:pt x="1954008" y="3813443"/>
                  <a:pt x="1956155" y="3811193"/>
                  <a:pt x="1959090" y="3812273"/>
                </a:cubicBezTo>
                <a:close/>
                <a:moveTo>
                  <a:pt x="486892" y="3810553"/>
                </a:moveTo>
                <a:cubicBezTo>
                  <a:pt x="490500" y="3810553"/>
                  <a:pt x="493451" y="3814826"/>
                  <a:pt x="493451" y="3820049"/>
                </a:cubicBezTo>
                <a:cubicBezTo>
                  <a:pt x="493451" y="3825272"/>
                  <a:pt x="490500" y="3829545"/>
                  <a:pt x="486892" y="3829545"/>
                </a:cubicBezTo>
                <a:cubicBezTo>
                  <a:pt x="483284" y="3829545"/>
                  <a:pt x="480332" y="3825272"/>
                  <a:pt x="480332" y="3820049"/>
                </a:cubicBezTo>
                <a:cubicBezTo>
                  <a:pt x="480332" y="3814826"/>
                  <a:pt x="483284" y="3810553"/>
                  <a:pt x="486892" y="3810553"/>
                </a:cubicBezTo>
                <a:close/>
                <a:moveTo>
                  <a:pt x="4113305" y="3809050"/>
                </a:moveTo>
                <a:cubicBezTo>
                  <a:pt x="4121709" y="3813106"/>
                  <a:pt x="4119461" y="3823215"/>
                  <a:pt x="4110156" y="3823215"/>
                </a:cubicBezTo>
                <a:cubicBezTo>
                  <a:pt x="4105506" y="3823215"/>
                  <a:pt x="4100455" y="3828912"/>
                  <a:pt x="4098927" y="3835877"/>
                </a:cubicBezTo>
                <a:cubicBezTo>
                  <a:pt x="4094805" y="3854684"/>
                  <a:pt x="4087996" y="3851200"/>
                  <a:pt x="4087996" y="3830284"/>
                </a:cubicBezTo>
                <a:cubicBezTo>
                  <a:pt x="4087996" y="3816291"/>
                  <a:pt x="4090332" y="3811382"/>
                  <a:pt x="4098000" y="3809260"/>
                </a:cubicBezTo>
                <a:cubicBezTo>
                  <a:pt x="4103503" y="3807737"/>
                  <a:pt x="4110390" y="3807643"/>
                  <a:pt x="4113305" y="3809050"/>
                </a:cubicBezTo>
                <a:close/>
                <a:moveTo>
                  <a:pt x="2043084" y="3794750"/>
                </a:moveTo>
                <a:cubicBezTo>
                  <a:pt x="2041816" y="3795042"/>
                  <a:pt x="2041467" y="3797207"/>
                  <a:pt x="2041467" y="3801376"/>
                </a:cubicBezTo>
                <a:cubicBezTo>
                  <a:pt x="2041467" y="3806834"/>
                  <a:pt x="2043435" y="3809539"/>
                  <a:pt x="2045840" y="3807387"/>
                </a:cubicBezTo>
                <a:cubicBezTo>
                  <a:pt x="2048245" y="3805235"/>
                  <a:pt x="2050212" y="3806492"/>
                  <a:pt x="2050212" y="3810179"/>
                </a:cubicBezTo>
                <a:cubicBezTo>
                  <a:pt x="2050212" y="3813867"/>
                  <a:pt x="2052181" y="3816883"/>
                  <a:pt x="2054585" y="3816883"/>
                </a:cubicBezTo>
                <a:cubicBezTo>
                  <a:pt x="2056991" y="3816883"/>
                  <a:pt x="2058958" y="3814720"/>
                  <a:pt x="2058958" y="3812075"/>
                </a:cubicBezTo>
                <a:cubicBezTo>
                  <a:pt x="2058958" y="3809431"/>
                  <a:pt x="2055023" y="3803709"/>
                  <a:pt x="2050212" y="3799360"/>
                </a:cubicBezTo>
                <a:cubicBezTo>
                  <a:pt x="2046538" y="3796038"/>
                  <a:pt x="2044352" y="3794458"/>
                  <a:pt x="2043084" y="3794750"/>
                </a:cubicBezTo>
                <a:close/>
                <a:moveTo>
                  <a:pt x="1790937" y="3787564"/>
                </a:moveTo>
                <a:cubicBezTo>
                  <a:pt x="1790740" y="3787287"/>
                  <a:pt x="1790249" y="3790113"/>
                  <a:pt x="1789378" y="3795919"/>
                </a:cubicBezTo>
                <a:cubicBezTo>
                  <a:pt x="1788235" y="3803539"/>
                  <a:pt x="1783976" y="3811211"/>
                  <a:pt x="1779916" y="3812965"/>
                </a:cubicBezTo>
                <a:cubicBezTo>
                  <a:pt x="1774602" y="3815262"/>
                  <a:pt x="1774984" y="3815797"/>
                  <a:pt x="1781278" y="3814873"/>
                </a:cubicBezTo>
                <a:cubicBezTo>
                  <a:pt x="1787214" y="3814001"/>
                  <a:pt x="1790254" y="3808526"/>
                  <a:pt x="1790740" y="3797826"/>
                </a:cubicBezTo>
                <a:cubicBezTo>
                  <a:pt x="1791040" y="3791221"/>
                  <a:pt x="1791135" y="3787841"/>
                  <a:pt x="1790937" y="3787564"/>
                </a:cubicBezTo>
                <a:close/>
                <a:moveTo>
                  <a:pt x="2023582" y="3786360"/>
                </a:moveTo>
                <a:cubicBezTo>
                  <a:pt x="2022843" y="3786156"/>
                  <a:pt x="2021117" y="3788463"/>
                  <a:pt x="2017887" y="3793139"/>
                </a:cubicBezTo>
                <a:cubicBezTo>
                  <a:pt x="2009485" y="3805302"/>
                  <a:pt x="2008763" y="3812617"/>
                  <a:pt x="2016323" y="3808973"/>
                </a:cubicBezTo>
                <a:cubicBezTo>
                  <a:pt x="2019329" y="3807524"/>
                  <a:pt x="2022493" y="3801078"/>
                  <a:pt x="2023354" y="3794649"/>
                </a:cubicBezTo>
                <a:cubicBezTo>
                  <a:pt x="2024072" y="3789280"/>
                  <a:pt x="2024321" y="3786564"/>
                  <a:pt x="2023582" y="3786360"/>
                </a:cubicBezTo>
                <a:close/>
                <a:moveTo>
                  <a:pt x="2013093" y="3774587"/>
                </a:moveTo>
                <a:cubicBezTo>
                  <a:pt x="2008310" y="3775297"/>
                  <a:pt x="2004185" y="3780119"/>
                  <a:pt x="2003926" y="3785302"/>
                </a:cubicBezTo>
                <a:cubicBezTo>
                  <a:pt x="2003667" y="3790485"/>
                  <a:pt x="2004257" y="3791340"/>
                  <a:pt x="2005238" y="3787201"/>
                </a:cubicBezTo>
                <a:cubicBezTo>
                  <a:pt x="2006219" y="3783063"/>
                  <a:pt x="2010344" y="3778241"/>
                  <a:pt x="2014405" y="3776486"/>
                </a:cubicBezTo>
                <a:cubicBezTo>
                  <a:pt x="2019760" y="3774171"/>
                  <a:pt x="2019399" y="3773649"/>
                  <a:pt x="2013093" y="3774587"/>
                </a:cubicBezTo>
                <a:close/>
                <a:moveTo>
                  <a:pt x="2633998" y="3759906"/>
                </a:moveTo>
                <a:cubicBezTo>
                  <a:pt x="2637606" y="3759906"/>
                  <a:pt x="2640558" y="3764179"/>
                  <a:pt x="2640558" y="3769402"/>
                </a:cubicBezTo>
                <a:cubicBezTo>
                  <a:pt x="2640558" y="3774625"/>
                  <a:pt x="2637606" y="3778898"/>
                  <a:pt x="2633998" y="3778898"/>
                </a:cubicBezTo>
                <a:cubicBezTo>
                  <a:pt x="2630391" y="3778898"/>
                  <a:pt x="2627439" y="3774625"/>
                  <a:pt x="2627439" y="3769402"/>
                </a:cubicBezTo>
                <a:cubicBezTo>
                  <a:pt x="2627439" y="3764179"/>
                  <a:pt x="2630391" y="3759906"/>
                  <a:pt x="2633998" y="3759906"/>
                </a:cubicBezTo>
                <a:close/>
                <a:moveTo>
                  <a:pt x="4107673" y="3751286"/>
                </a:moveTo>
                <a:cubicBezTo>
                  <a:pt x="4115157" y="3755443"/>
                  <a:pt x="4115150" y="3755412"/>
                  <a:pt x="4111580" y="3768885"/>
                </a:cubicBezTo>
                <a:cubicBezTo>
                  <a:pt x="4107513" y="3784222"/>
                  <a:pt x="4101115" y="3780789"/>
                  <a:pt x="4101115" y="3763270"/>
                </a:cubicBezTo>
                <a:cubicBezTo>
                  <a:pt x="4101115" y="3751979"/>
                  <a:pt x="4102934" y="3748653"/>
                  <a:pt x="4107673" y="3751286"/>
                </a:cubicBezTo>
                <a:close/>
                <a:moveTo>
                  <a:pt x="1769471" y="3740913"/>
                </a:moveTo>
                <a:cubicBezTo>
                  <a:pt x="1760672" y="3740913"/>
                  <a:pt x="1759276" y="3754454"/>
                  <a:pt x="1766156" y="3773065"/>
                </a:cubicBezTo>
                <a:cubicBezTo>
                  <a:pt x="1769816" y="3782965"/>
                  <a:pt x="1772397" y="3784085"/>
                  <a:pt x="1779275" y="3778756"/>
                </a:cubicBezTo>
                <a:cubicBezTo>
                  <a:pt x="1783984" y="3775107"/>
                  <a:pt x="1787837" y="3768519"/>
                  <a:pt x="1787837" y="3764115"/>
                </a:cubicBezTo>
                <a:cubicBezTo>
                  <a:pt x="1787837" y="3752569"/>
                  <a:pt x="1778610" y="3740913"/>
                  <a:pt x="1769471" y="3740913"/>
                </a:cubicBezTo>
                <a:close/>
                <a:moveTo>
                  <a:pt x="2273182" y="3737793"/>
                </a:moveTo>
                <a:cubicBezTo>
                  <a:pt x="2270804" y="3739920"/>
                  <a:pt x="2268859" y="3744341"/>
                  <a:pt x="2268859" y="3747618"/>
                </a:cubicBezTo>
                <a:cubicBezTo>
                  <a:pt x="2268859" y="3756725"/>
                  <a:pt x="2271994" y="3754718"/>
                  <a:pt x="2274901" y="3743750"/>
                </a:cubicBezTo>
                <a:cubicBezTo>
                  <a:pt x="2276394" y="3738116"/>
                  <a:pt x="2275661" y="3735575"/>
                  <a:pt x="2273182" y="3737793"/>
                </a:cubicBezTo>
                <a:close/>
                <a:moveTo>
                  <a:pt x="2067015" y="3729938"/>
                </a:moveTo>
                <a:cubicBezTo>
                  <a:pt x="2065032" y="3730426"/>
                  <a:pt x="2062949" y="3732424"/>
                  <a:pt x="2060477" y="3736003"/>
                </a:cubicBezTo>
                <a:cubicBezTo>
                  <a:pt x="2051676" y="3748743"/>
                  <a:pt x="2056577" y="3772567"/>
                  <a:pt x="2067999" y="3772567"/>
                </a:cubicBezTo>
                <a:cubicBezTo>
                  <a:pt x="2072647" y="3772567"/>
                  <a:pt x="2076450" y="3775416"/>
                  <a:pt x="2076450" y="3778898"/>
                </a:cubicBezTo>
                <a:cubicBezTo>
                  <a:pt x="2076450" y="3786965"/>
                  <a:pt x="2077951" y="3786852"/>
                  <a:pt x="2091750" y="3777750"/>
                </a:cubicBezTo>
                <a:cubicBezTo>
                  <a:pt x="2106590" y="3767961"/>
                  <a:pt x="2105195" y="3745019"/>
                  <a:pt x="2089569" y="3741890"/>
                </a:cubicBezTo>
                <a:cubicBezTo>
                  <a:pt x="2083556" y="3740685"/>
                  <a:pt x="2076078" y="3736657"/>
                  <a:pt x="2072951" y="3732937"/>
                </a:cubicBezTo>
                <a:cubicBezTo>
                  <a:pt x="2070881" y="3730474"/>
                  <a:pt x="2068998" y="3729451"/>
                  <a:pt x="2067015" y="3729938"/>
                </a:cubicBezTo>
                <a:close/>
                <a:moveTo>
                  <a:pt x="1479546" y="3728251"/>
                </a:moveTo>
                <a:cubicBezTo>
                  <a:pt x="1483154" y="3728251"/>
                  <a:pt x="1486105" y="3732524"/>
                  <a:pt x="1486105" y="3737748"/>
                </a:cubicBezTo>
                <a:cubicBezTo>
                  <a:pt x="1486105" y="3742971"/>
                  <a:pt x="1483154" y="3747244"/>
                  <a:pt x="1479546" y="3747244"/>
                </a:cubicBezTo>
                <a:cubicBezTo>
                  <a:pt x="1475938" y="3747244"/>
                  <a:pt x="1472986" y="3742971"/>
                  <a:pt x="1472986" y="3737748"/>
                </a:cubicBezTo>
                <a:cubicBezTo>
                  <a:pt x="1472986" y="3732524"/>
                  <a:pt x="1475938" y="3728251"/>
                  <a:pt x="1479546" y="3728251"/>
                </a:cubicBezTo>
                <a:close/>
                <a:moveTo>
                  <a:pt x="2608904" y="3725099"/>
                </a:moveTo>
                <a:cubicBezTo>
                  <a:pt x="2610542" y="3726827"/>
                  <a:pt x="2610330" y="3730229"/>
                  <a:pt x="2607432" y="3734424"/>
                </a:cubicBezTo>
                <a:cubicBezTo>
                  <a:pt x="2605168" y="3737704"/>
                  <a:pt x="2600706" y="3738052"/>
                  <a:pt x="2597518" y="3735200"/>
                </a:cubicBezTo>
                <a:cubicBezTo>
                  <a:pt x="2592964" y="3731125"/>
                  <a:pt x="2593340" y="3729115"/>
                  <a:pt x="2599274" y="3725818"/>
                </a:cubicBezTo>
                <a:cubicBezTo>
                  <a:pt x="2603777" y="3723317"/>
                  <a:pt x="2607266" y="3723371"/>
                  <a:pt x="2608904" y="3725099"/>
                </a:cubicBezTo>
                <a:close/>
                <a:moveTo>
                  <a:pt x="2581523" y="3714641"/>
                </a:moveTo>
                <a:cubicBezTo>
                  <a:pt x="2583808" y="3714641"/>
                  <a:pt x="2586382" y="3717703"/>
                  <a:pt x="2587244" y="3721446"/>
                </a:cubicBezTo>
                <a:cubicBezTo>
                  <a:pt x="2588106" y="3725189"/>
                  <a:pt x="2585532" y="3728251"/>
                  <a:pt x="2581523" y="3728251"/>
                </a:cubicBezTo>
                <a:cubicBezTo>
                  <a:pt x="2577515" y="3728251"/>
                  <a:pt x="2574940" y="3725189"/>
                  <a:pt x="2575802" y="3721446"/>
                </a:cubicBezTo>
                <a:cubicBezTo>
                  <a:pt x="2576664" y="3717703"/>
                  <a:pt x="2579238" y="3714641"/>
                  <a:pt x="2581523" y="3714641"/>
                </a:cubicBezTo>
                <a:close/>
                <a:moveTo>
                  <a:pt x="1636912" y="3707003"/>
                </a:moveTo>
                <a:cubicBezTo>
                  <a:pt x="1641037" y="3704711"/>
                  <a:pt x="1642869" y="3705686"/>
                  <a:pt x="1641308" y="3709343"/>
                </a:cubicBezTo>
                <a:cubicBezTo>
                  <a:pt x="1639836" y="3712791"/>
                  <a:pt x="1643575" y="3718335"/>
                  <a:pt x="1649617" y="3721661"/>
                </a:cubicBezTo>
                <a:cubicBezTo>
                  <a:pt x="1655660" y="3724987"/>
                  <a:pt x="1663448" y="3735671"/>
                  <a:pt x="1666924" y="3745404"/>
                </a:cubicBezTo>
                <a:cubicBezTo>
                  <a:pt x="1670401" y="3755137"/>
                  <a:pt x="1677383" y="3768522"/>
                  <a:pt x="1682439" y="3775146"/>
                </a:cubicBezTo>
                <a:cubicBezTo>
                  <a:pt x="1687496" y="3781772"/>
                  <a:pt x="1691633" y="3792215"/>
                  <a:pt x="1691633" y="3798355"/>
                </a:cubicBezTo>
                <a:cubicBezTo>
                  <a:pt x="1691633" y="3819130"/>
                  <a:pt x="1696899" y="3829545"/>
                  <a:pt x="1707406" y="3829545"/>
                </a:cubicBezTo>
                <a:cubicBezTo>
                  <a:pt x="1722195" y="3829545"/>
                  <a:pt x="1720827" y="3847204"/>
                  <a:pt x="1705845" y="3849700"/>
                </a:cubicBezTo>
                <a:cubicBezTo>
                  <a:pt x="1697234" y="3851135"/>
                  <a:pt x="1693422" y="3855749"/>
                  <a:pt x="1692422" y="3865948"/>
                </a:cubicBezTo>
                <a:cubicBezTo>
                  <a:pt x="1690837" y="3882100"/>
                  <a:pt x="1690316" y="3882167"/>
                  <a:pt x="1670861" y="3868731"/>
                </a:cubicBezTo>
                <a:cubicBezTo>
                  <a:pt x="1663044" y="3863332"/>
                  <a:pt x="1656649" y="3855297"/>
                  <a:pt x="1656649" y="3850875"/>
                </a:cubicBezTo>
                <a:cubicBezTo>
                  <a:pt x="1656649" y="3846454"/>
                  <a:pt x="1653206" y="3839680"/>
                  <a:pt x="1648997" y="3835823"/>
                </a:cubicBezTo>
                <a:cubicBezTo>
                  <a:pt x="1643517" y="3830801"/>
                  <a:pt x="1642896" y="3827866"/>
                  <a:pt x="1646810" y="3825485"/>
                </a:cubicBezTo>
                <a:cubicBezTo>
                  <a:pt x="1649816" y="3823656"/>
                  <a:pt x="1652276" y="3817048"/>
                  <a:pt x="1652276" y="3810800"/>
                </a:cubicBezTo>
                <a:cubicBezTo>
                  <a:pt x="1652276" y="3794762"/>
                  <a:pt x="1642985" y="3785837"/>
                  <a:pt x="1632598" y="3791898"/>
                </a:cubicBezTo>
                <a:cubicBezTo>
                  <a:pt x="1619750" y="3799395"/>
                  <a:pt x="1617293" y="3798890"/>
                  <a:pt x="1617293" y="3788754"/>
                </a:cubicBezTo>
                <a:cubicBezTo>
                  <a:pt x="1617293" y="3783728"/>
                  <a:pt x="1621429" y="3775422"/>
                  <a:pt x="1626485" y="3770295"/>
                </a:cubicBezTo>
                <a:cubicBezTo>
                  <a:pt x="1634218" y="3762454"/>
                  <a:pt x="1635214" y="3757000"/>
                  <a:pt x="1632758" y="3735953"/>
                </a:cubicBezTo>
                <a:cubicBezTo>
                  <a:pt x="1630444" y="3716125"/>
                  <a:pt x="1631307" y="3710117"/>
                  <a:pt x="1636912" y="3707003"/>
                </a:cubicBezTo>
                <a:close/>
                <a:moveTo>
                  <a:pt x="777691" y="3702928"/>
                </a:moveTo>
                <a:cubicBezTo>
                  <a:pt x="783522" y="3702928"/>
                  <a:pt x="786437" y="3707149"/>
                  <a:pt x="786437" y="3715590"/>
                </a:cubicBezTo>
                <a:cubicBezTo>
                  <a:pt x="786437" y="3729940"/>
                  <a:pt x="781903" y="3731816"/>
                  <a:pt x="774193" y="3720654"/>
                </a:cubicBezTo>
                <a:cubicBezTo>
                  <a:pt x="766484" y="3709493"/>
                  <a:pt x="767779" y="3702928"/>
                  <a:pt x="777691" y="3702928"/>
                </a:cubicBezTo>
                <a:close/>
                <a:moveTo>
                  <a:pt x="2265717" y="3690468"/>
                </a:moveTo>
                <a:cubicBezTo>
                  <a:pt x="2258314" y="3690659"/>
                  <a:pt x="2258307" y="3691087"/>
                  <a:pt x="2265579" y="3699080"/>
                </a:cubicBezTo>
                <a:cubicBezTo>
                  <a:pt x="2269788" y="3703705"/>
                  <a:pt x="2273387" y="3711449"/>
                  <a:pt x="2273577" y="3716288"/>
                </a:cubicBezTo>
                <a:cubicBezTo>
                  <a:pt x="2273840" y="3722989"/>
                  <a:pt x="2274459" y="3723150"/>
                  <a:pt x="2276176" y="3716964"/>
                </a:cubicBezTo>
                <a:cubicBezTo>
                  <a:pt x="2277416" y="3712496"/>
                  <a:pt x="2277322" y="3704662"/>
                  <a:pt x="2275968" y="3699554"/>
                </a:cubicBezTo>
                <a:cubicBezTo>
                  <a:pt x="2274614" y="3694446"/>
                  <a:pt x="2270001" y="3690357"/>
                  <a:pt x="2265717" y="3690468"/>
                </a:cubicBezTo>
                <a:close/>
                <a:moveTo>
                  <a:pt x="4393541" y="3685390"/>
                </a:moveTo>
                <a:cubicBezTo>
                  <a:pt x="4407007" y="3683826"/>
                  <a:pt x="4408035" y="3684924"/>
                  <a:pt x="4405396" y="3698051"/>
                </a:cubicBezTo>
                <a:cubicBezTo>
                  <a:pt x="4396982" y="3739892"/>
                  <a:pt x="4397299" y="3752219"/>
                  <a:pt x="4406971" y="3759714"/>
                </a:cubicBezTo>
                <a:cubicBezTo>
                  <a:pt x="4414177" y="3765297"/>
                  <a:pt x="4416149" y="3771834"/>
                  <a:pt x="4415127" y="3786745"/>
                </a:cubicBezTo>
                <a:cubicBezTo>
                  <a:pt x="4413808" y="3805985"/>
                  <a:pt x="4407473" y="3815139"/>
                  <a:pt x="4401479" y="3806464"/>
                </a:cubicBezTo>
                <a:cubicBezTo>
                  <a:pt x="4399826" y="3804070"/>
                  <a:pt x="4398473" y="3794243"/>
                  <a:pt x="4398473" y="3784626"/>
                </a:cubicBezTo>
                <a:cubicBezTo>
                  <a:pt x="4398473" y="3775009"/>
                  <a:pt x="4395522" y="3762868"/>
                  <a:pt x="4391914" y="3757645"/>
                </a:cubicBezTo>
                <a:cubicBezTo>
                  <a:pt x="4388306" y="3752422"/>
                  <a:pt x="4385355" y="3739398"/>
                  <a:pt x="4385355" y="3728704"/>
                </a:cubicBezTo>
                <a:cubicBezTo>
                  <a:pt x="4385355" y="3715640"/>
                  <a:pt x="4383203" y="3709259"/>
                  <a:pt x="4378795" y="3709259"/>
                </a:cubicBezTo>
                <a:cubicBezTo>
                  <a:pt x="4375187" y="3709259"/>
                  <a:pt x="4372266" y="3707123"/>
                  <a:pt x="4372303" y="3704511"/>
                </a:cubicBezTo>
                <a:cubicBezTo>
                  <a:pt x="4372456" y="3693518"/>
                  <a:pt x="4379702" y="3686995"/>
                  <a:pt x="4393541" y="3685390"/>
                </a:cubicBezTo>
                <a:close/>
                <a:moveTo>
                  <a:pt x="444041" y="3678411"/>
                </a:moveTo>
                <a:cubicBezTo>
                  <a:pt x="446083" y="3677038"/>
                  <a:pt x="449144" y="3679301"/>
                  <a:pt x="453220" y="3685202"/>
                </a:cubicBezTo>
                <a:cubicBezTo>
                  <a:pt x="461267" y="3696852"/>
                  <a:pt x="459463" y="3709259"/>
                  <a:pt x="449722" y="3709259"/>
                </a:cubicBezTo>
                <a:cubicBezTo>
                  <a:pt x="443308" y="3709259"/>
                  <a:pt x="440976" y="3705038"/>
                  <a:pt x="440976" y="3693432"/>
                </a:cubicBezTo>
                <a:cubicBezTo>
                  <a:pt x="440976" y="3684792"/>
                  <a:pt x="441999" y="3679784"/>
                  <a:pt x="444041" y="3678411"/>
                </a:cubicBezTo>
                <a:close/>
                <a:moveTo>
                  <a:pt x="4470885" y="3671274"/>
                </a:moveTo>
                <a:cubicBezTo>
                  <a:pt x="4471945" y="3671274"/>
                  <a:pt x="4472813" y="3674122"/>
                  <a:pt x="4472813" y="3677605"/>
                </a:cubicBezTo>
                <a:cubicBezTo>
                  <a:pt x="4472813" y="3681087"/>
                  <a:pt x="4470729" y="3683935"/>
                  <a:pt x="4468182" y="3683935"/>
                </a:cubicBezTo>
                <a:cubicBezTo>
                  <a:pt x="4465635" y="3683935"/>
                  <a:pt x="4464767" y="3681087"/>
                  <a:pt x="4466253" y="3677605"/>
                </a:cubicBezTo>
                <a:cubicBezTo>
                  <a:pt x="4467740" y="3674122"/>
                  <a:pt x="4469825" y="3671274"/>
                  <a:pt x="4470885" y="3671274"/>
                </a:cubicBezTo>
                <a:close/>
                <a:moveTo>
                  <a:pt x="4171728" y="3669684"/>
                </a:moveTo>
                <a:cubicBezTo>
                  <a:pt x="4182148" y="3673629"/>
                  <a:pt x="4193120" y="3699191"/>
                  <a:pt x="4194226" y="3722097"/>
                </a:cubicBezTo>
                <a:cubicBezTo>
                  <a:pt x="4194724" y="3732432"/>
                  <a:pt x="4196608" y="3740894"/>
                  <a:pt x="4198412" y="3740901"/>
                </a:cubicBezTo>
                <a:cubicBezTo>
                  <a:pt x="4200216" y="3740907"/>
                  <a:pt x="4201692" y="3745186"/>
                  <a:pt x="4201692" y="3750410"/>
                </a:cubicBezTo>
                <a:cubicBezTo>
                  <a:pt x="4201692" y="3755633"/>
                  <a:pt x="4198741" y="3759906"/>
                  <a:pt x="4195132" y="3759906"/>
                </a:cubicBezTo>
                <a:cubicBezTo>
                  <a:pt x="4191525" y="3759906"/>
                  <a:pt x="4188573" y="3755633"/>
                  <a:pt x="4188573" y="3750410"/>
                </a:cubicBezTo>
                <a:cubicBezTo>
                  <a:pt x="4188573" y="3745186"/>
                  <a:pt x="4186391" y="3740913"/>
                  <a:pt x="4183725" y="3740913"/>
                </a:cubicBezTo>
                <a:cubicBezTo>
                  <a:pt x="4180698" y="3740913"/>
                  <a:pt x="4179943" y="3734777"/>
                  <a:pt x="4181714" y="3724559"/>
                </a:cubicBezTo>
                <a:cubicBezTo>
                  <a:pt x="4183943" y="3711701"/>
                  <a:pt x="4182736" y="3707519"/>
                  <a:pt x="4176068" y="3704994"/>
                </a:cubicBezTo>
                <a:cubicBezTo>
                  <a:pt x="4170917" y="3703045"/>
                  <a:pt x="4166888" y="3694907"/>
                  <a:pt x="4165810" y="3684278"/>
                </a:cubicBezTo>
                <a:cubicBezTo>
                  <a:pt x="4164369" y="3670065"/>
                  <a:pt x="4165483" y="3667320"/>
                  <a:pt x="4171728" y="3669684"/>
                </a:cubicBezTo>
                <a:close/>
                <a:moveTo>
                  <a:pt x="3781533" y="3666259"/>
                </a:moveTo>
                <a:cubicBezTo>
                  <a:pt x="3778911" y="3667379"/>
                  <a:pt x="3776058" y="3670574"/>
                  <a:pt x="3772184" y="3676181"/>
                </a:cubicBezTo>
                <a:cubicBezTo>
                  <a:pt x="3763730" y="3688422"/>
                  <a:pt x="3763132" y="3692204"/>
                  <a:pt x="3767900" y="3703257"/>
                </a:cubicBezTo>
                <a:cubicBezTo>
                  <a:pt x="3770948" y="3710324"/>
                  <a:pt x="3772274" y="3718838"/>
                  <a:pt x="3770849" y="3722178"/>
                </a:cubicBezTo>
                <a:cubicBezTo>
                  <a:pt x="3769423" y="3725518"/>
                  <a:pt x="3770340" y="3728251"/>
                  <a:pt x="3772888" y="3728251"/>
                </a:cubicBezTo>
                <a:cubicBezTo>
                  <a:pt x="3775434" y="3728251"/>
                  <a:pt x="3777518" y="3731574"/>
                  <a:pt x="3777518" y="3735634"/>
                </a:cubicBezTo>
                <a:cubicBezTo>
                  <a:pt x="3777518" y="3745550"/>
                  <a:pt x="3791721" y="3765852"/>
                  <a:pt x="3797197" y="3763763"/>
                </a:cubicBezTo>
                <a:cubicBezTo>
                  <a:pt x="3799601" y="3762847"/>
                  <a:pt x="3802141" y="3753769"/>
                  <a:pt x="3802839" y="3743591"/>
                </a:cubicBezTo>
                <a:cubicBezTo>
                  <a:pt x="3804782" y="3715301"/>
                  <a:pt x="3797843" y="3676411"/>
                  <a:pt x="3789493" y="3668785"/>
                </a:cubicBezTo>
                <a:cubicBezTo>
                  <a:pt x="3786545" y="3666092"/>
                  <a:pt x="3784154" y="3665138"/>
                  <a:pt x="3781533" y="3666259"/>
                </a:cubicBezTo>
                <a:close/>
                <a:moveTo>
                  <a:pt x="440976" y="3652281"/>
                </a:moveTo>
                <a:cubicBezTo>
                  <a:pt x="443381" y="3652281"/>
                  <a:pt x="445349" y="3654962"/>
                  <a:pt x="445349" y="3658238"/>
                </a:cubicBezTo>
                <a:cubicBezTo>
                  <a:pt x="445349" y="3661515"/>
                  <a:pt x="443381" y="3665956"/>
                  <a:pt x="440976" y="3668109"/>
                </a:cubicBezTo>
                <a:cubicBezTo>
                  <a:pt x="438571" y="3670260"/>
                  <a:pt x="436603" y="3667580"/>
                  <a:pt x="436603" y="3662151"/>
                </a:cubicBezTo>
                <a:cubicBezTo>
                  <a:pt x="436603" y="3656723"/>
                  <a:pt x="438571" y="3652281"/>
                  <a:pt x="440976" y="3652281"/>
                </a:cubicBezTo>
                <a:close/>
                <a:moveTo>
                  <a:pt x="3171373" y="3641045"/>
                </a:moveTo>
                <a:cubicBezTo>
                  <a:pt x="3176439" y="3643882"/>
                  <a:pt x="3179653" y="3659430"/>
                  <a:pt x="3181007" y="3687671"/>
                </a:cubicBezTo>
                <a:cubicBezTo>
                  <a:pt x="3181977" y="3707877"/>
                  <a:pt x="3184744" y="3727268"/>
                  <a:pt x="3187158" y="3730762"/>
                </a:cubicBezTo>
                <a:cubicBezTo>
                  <a:pt x="3194625" y="3741571"/>
                  <a:pt x="3192227" y="3759906"/>
                  <a:pt x="3183347" y="3759906"/>
                </a:cubicBezTo>
                <a:cubicBezTo>
                  <a:pt x="3177662" y="3759906"/>
                  <a:pt x="3174310" y="3753839"/>
                  <a:pt x="3172415" y="3740122"/>
                </a:cubicBezTo>
                <a:cubicBezTo>
                  <a:pt x="3170911" y="3729240"/>
                  <a:pt x="3169682" y="3712147"/>
                  <a:pt x="3169682" y="3702136"/>
                </a:cubicBezTo>
                <a:cubicBezTo>
                  <a:pt x="3169682" y="3692126"/>
                  <a:pt x="3167713" y="3683935"/>
                  <a:pt x="3165309" y="3683935"/>
                </a:cubicBezTo>
                <a:cubicBezTo>
                  <a:pt x="3159389" y="3683935"/>
                  <a:pt x="3159720" y="3647785"/>
                  <a:pt x="3165690" y="3642444"/>
                </a:cubicBezTo>
                <a:cubicBezTo>
                  <a:pt x="3167790" y="3640565"/>
                  <a:pt x="3169684" y="3640099"/>
                  <a:pt x="3171373" y="3641045"/>
                </a:cubicBezTo>
                <a:close/>
                <a:moveTo>
                  <a:pt x="4333348" y="3639619"/>
                </a:moveTo>
                <a:cubicBezTo>
                  <a:pt x="4335495" y="3639619"/>
                  <a:pt x="4337253" y="3646742"/>
                  <a:pt x="4337253" y="3655447"/>
                </a:cubicBezTo>
                <a:cubicBezTo>
                  <a:pt x="4337253" y="3671092"/>
                  <a:pt x="4331327" y="3676672"/>
                  <a:pt x="4326564" y="3665514"/>
                </a:cubicBezTo>
                <a:cubicBezTo>
                  <a:pt x="4323404" y="3658110"/>
                  <a:pt x="4328247" y="3639619"/>
                  <a:pt x="4333348" y="3639619"/>
                </a:cubicBezTo>
                <a:close/>
                <a:moveTo>
                  <a:pt x="3189618" y="3639619"/>
                </a:moveTo>
                <a:cubicBezTo>
                  <a:pt x="3190679" y="3639619"/>
                  <a:pt x="3191547" y="3642468"/>
                  <a:pt x="3191547" y="3645950"/>
                </a:cubicBezTo>
                <a:cubicBezTo>
                  <a:pt x="3191547" y="3649432"/>
                  <a:pt x="3189462" y="3652281"/>
                  <a:pt x="3186916" y="3652281"/>
                </a:cubicBezTo>
                <a:cubicBezTo>
                  <a:pt x="3184368" y="3652281"/>
                  <a:pt x="3183500" y="3649432"/>
                  <a:pt x="3184987" y="3645950"/>
                </a:cubicBezTo>
                <a:cubicBezTo>
                  <a:pt x="3186474" y="3642468"/>
                  <a:pt x="3188557" y="3639619"/>
                  <a:pt x="3189618" y="3639619"/>
                </a:cubicBezTo>
                <a:close/>
                <a:moveTo>
                  <a:pt x="682150" y="3636920"/>
                </a:moveTo>
                <a:cubicBezTo>
                  <a:pt x="682988" y="3635911"/>
                  <a:pt x="691160" y="3636436"/>
                  <a:pt x="700310" y="3638085"/>
                </a:cubicBezTo>
                <a:cubicBezTo>
                  <a:pt x="714294" y="3640607"/>
                  <a:pt x="716734" y="3643239"/>
                  <a:pt x="715615" y="3654597"/>
                </a:cubicBezTo>
                <a:cubicBezTo>
                  <a:pt x="713678" y="3674264"/>
                  <a:pt x="698421" y="3674483"/>
                  <a:pt x="688710" y="3654982"/>
                </a:cubicBezTo>
                <a:cubicBezTo>
                  <a:pt x="684265" y="3646057"/>
                  <a:pt x="681313" y="3637928"/>
                  <a:pt x="682150" y="3636920"/>
                </a:cubicBezTo>
                <a:close/>
                <a:moveTo>
                  <a:pt x="1590882" y="3636609"/>
                </a:moveTo>
                <a:cubicBezTo>
                  <a:pt x="1596011" y="3632020"/>
                  <a:pt x="1603945" y="3642372"/>
                  <a:pt x="1604107" y="3653864"/>
                </a:cubicBezTo>
                <a:cubicBezTo>
                  <a:pt x="1604200" y="3660428"/>
                  <a:pt x="1602682" y="3659892"/>
                  <a:pt x="1593415" y="3650082"/>
                </a:cubicBezTo>
                <a:cubicBezTo>
                  <a:pt x="1587302" y="3643611"/>
                  <a:pt x="1586691" y="3640359"/>
                  <a:pt x="1590882" y="3636609"/>
                </a:cubicBezTo>
                <a:close/>
                <a:moveTo>
                  <a:pt x="4351611" y="3620852"/>
                </a:moveTo>
                <a:cubicBezTo>
                  <a:pt x="4351946" y="3620814"/>
                  <a:pt x="4352455" y="3623386"/>
                  <a:pt x="4353385" y="3628541"/>
                </a:cubicBezTo>
                <a:cubicBezTo>
                  <a:pt x="4354486" y="3634634"/>
                  <a:pt x="4358948" y="3639620"/>
                  <a:pt x="4363301" y="3639620"/>
                </a:cubicBezTo>
                <a:cubicBezTo>
                  <a:pt x="4371610" y="3639620"/>
                  <a:pt x="4378995" y="3664825"/>
                  <a:pt x="4372776" y="3671956"/>
                </a:cubicBezTo>
                <a:cubicBezTo>
                  <a:pt x="4370826" y="3674193"/>
                  <a:pt x="4369697" y="3674781"/>
                  <a:pt x="4370269" y="3673264"/>
                </a:cubicBezTo>
                <a:cubicBezTo>
                  <a:pt x="4370841" y="3671748"/>
                  <a:pt x="4366598" y="3663687"/>
                  <a:pt x="4360839" y="3655351"/>
                </a:cubicBezTo>
                <a:cubicBezTo>
                  <a:pt x="4355082" y="3647015"/>
                  <a:pt x="4350599" y="3635080"/>
                  <a:pt x="4350879" y="3628828"/>
                </a:cubicBezTo>
                <a:cubicBezTo>
                  <a:pt x="4351115" y="3623540"/>
                  <a:pt x="4351276" y="3620890"/>
                  <a:pt x="4351611" y="3620852"/>
                </a:cubicBezTo>
                <a:close/>
                <a:moveTo>
                  <a:pt x="1737013" y="3614296"/>
                </a:moveTo>
                <a:cubicBezTo>
                  <a:pt x="1729036" y="3614296"/>
                  <a:pt x="1726616" y="3617735"/>
                  <a:pt x="1726616" y="3629068"/>
                </a:cubicBezTo>
                <a:cubicBezTo>
                  <a:pt x="1726616" y="3653909"/>
                  <a:pt x="1738955" y="3660646"/>
                  <a:pt x="1751414" y="3642608"/>
                </a:cubicBezTo>
                <a:cubicBezTo>
                  <a:pt x="1760065" y="3630084"/>
                  <a:pt x="1752034" y="3614296"/>
                  <a:pt x="1737013" y="3614296"/>
                </a:cubicBezTo>
                <a:close/>
                <a:moveTo>
                  <a:pt x="807126" y="3610806"/>
                </a:moveTo>
                <a:cubicBezTo>
                  <a:pt x="808349" y="3613130"/>
                  <a:pt x="808030" y="3617221"/>
                  <a:pt x="805224" y="3621284"/>
                </a:cubicBezTo>
                <a:cubicBezTo>
                  <a:pt x="802084" y="3625831"/>
                  <a:pt x="799638" y="3625940"/>
                  <a:pt x="797792" y="3621616"/>
                </a:cubicBezTo>
                <a:cubicBezTo>
                  <a:pt x="796279" y="3618071"/>
                  <a:pt x="797171" y="3613264"/>
                  <a:pt x="799775" y="3610934"/>
                </a:cubicBezTo>
                <a:cubicBezTo>
                  <a:pt x="803137" y="3607926"/>
                  <a:pt x="805903" y="3608482"/>
                  <a:pt x="807126" y="3610806"/>
                </a:cubicBezTo>
                <a:close/>
                <a:moveTo>
                  <a:pt x="2205452" y="3601634"/>
                </a:moveTo>
                <a:cubicBezTo>
                  <a:pt x="2201844" y="3601634"/>
                  <a:pt x="2198892" y="3604483"/>
                  <a:pt x="2198892" y="3607965"/>
                </a:cubicBezTo>
                <a:cubicBezTo>
                  <a:pt x="2198892" y="3611447"/>
                  <a:pt x="2201844" y="3614296"/>
                  <a:pt x="2205452" y="3614296"/>
                </a:cubicBezTo>
                <a:cubicBezTo>
                  <a:pt x="2209059" y="3614296"/>
                  <a:pt x="2212011" y="3611447"/>
                  <a:pt x="2212011" y="3607965"/>
                </a:cubicBezTo>
                <a:cubicBezTo>
                  <a:pt x="2212011" y="3604483"/>
                  <a:pt x="2209059" y="3601634"/>
                  <a:pt x="2205452" y="3601634"/>
                </a:cubicBezTo>
                <a:close/>
                <a:moveTo>
                  <a:pt x="2052748" y="3583925"/>
                </a:moveTo>
                <a:cubicBezTo>
                  <a:pt x="2039055" y="3586759"/>
                  <a:pt x="2037764" y="3623601"/>
                  <a:pt x="2050662" y="3643478"/>
                </a:cubicBezTo>
                <a:cubicBezTo>
                  <a:pt x="2061876" y="3660759"/>
                  <a:pt x="2072077" y="3663267"/>
                  <a:pt x="2072077" y="3648742"/>
                </a:cubicBezTo>
                <a:cubicBezTo>
                  <a:pt x="2072077" y="3643018"/>
                  <a:pt x="2074153" y="3640729"/>
                  <a:pt x="2077017" y="3643293"/>
                </a:cubicBezTo>
                <a:cubicBezTo>
                  <a:pt x="2079734" y="3645724"/>
                  <a:pt x="2081070" y="3645179"/>
                  <a:pt x="2079985" y="3642083"/>
                </a:cubicBezTo>
                <a:cubicBezTo>
                  <a:pt x="2078900" y="3638987"/>
                  <a:pt x="2074374" y="3624211"/>
                  <a:pt x="2069928" y="3609249"/>
                </a:cubicBezTo>
                <a:cubicBezTo>
                  <a:pt x="2063652" y="3588133"/>
                  <a:pt x="2059807" y="3582465"/>
                  <a:pt x="2052748" y="3583925"/>
                </a:cubicBezTo>
                <a:close/>
                <a:moveTo>
                  <a:pt x="2102688" y="3582642"/>
                </a:moveTo>
                <a:cubicBezTo>
                  <a:pt x="2091905" y="3582642"/>
                  <a:pt x="2087616" y="3595839"/>
                  <a:pt x="2091367" y="3617476"/>
                </a:cubicBezTo>
                <a:cubicBezTo>
                  <a:pt x="2093125" y="3627617"/>
                  <a:pt x="2097186" y="3633289"/>
                  <a:pt x="2102688" y="3633289"/>
                </a:cubicBezTo>
                <a:cubicBezTo>
                  <a:pt x="2108190" y="3633289"/>
                  <a:pt x="2112250" y="3627617"/>
                  <a:pt x="2114008" y="3617476"/>
                </a:cubicBezTo>
                <a:cubicBezTo>
                  <a:pt x="2117759" y="3595839"/>
                  <a:pt x="2113470" y="3582642"/>
                  <a:pt x="2102688" y="3582642"/>
                </a:cubicBezTo>
                <a:close/>
                <a:moveTo>
                  <a:pt x="2147146" y="3571020"/>
                </a:moveTo>
                <a:cubicBezTo>
                  <a:pt x="2141182" y="3572202"/>
                  <a:pt x="2137807" y="3585205"/>
                  <a:pt x="2137738" y="3608493"/>
                </a:cubicBezTo>
                <a:cubicBezTo>
                  <a:pt x="2137660" y="3635013"/>
                  <a:pt x="2140599" y="3640832"/>
                  <a:pt x="2152797" y="3638304"/>
                </a:cubicBezTo>
                <a:cubicBezTo>
                  <a:pt x="2160233" y="3636763"/>
                  <a:pt x="2161723" y="3631816"/>
                  <a:pt x="2161723" y="3608655"/>
                </a:cubicBezTo>
                <a:cubicBezTo>
                  <a:pt x="2161723" y="3588863"/>
                  <a:pt x="2159482" y="3578834"/>
                  <a:pt x="2153945" y="3573836"/>
                </a:cubicBezTo>
                <a:cubicBezTo>
                  <a:pt x="2151409" y="3571546"/>
                  <a:pt x="2149133" y="3570627"/>
                  <a:pt x="2147146" y="3571020"/>
                </a:cubicBezTo>
                <a:close/>
                <a:moveTo>
                  <a:pt x="1798001" y="3564738"/>
                </a:moveTo>
                <a:cubicBezTo>
                  <a:pt x="1781204" y="3569368"/>
                  <a:pt x="1787367" y="3690226"/>
                  <a:pt x="1804404" y="3690298"/>
                </a:cubicBezTo>
                <a:cubicBezTo>
                  <a:pt x="1808521" y="3690317"/>
                  <a:pt x="1817791" y="3697377"/>
                  <a:pt x="1825007" y="3705989"/>
                </a:cubicBezTo>
                <a:cubicBezTo>
                  <a:pt x="1839540" y="3723338"/>
                  <a:pt x="1848022" y="3724009"/>
                  <a:pt x="1854833" y="3708350"/>
                </a:cubicBezTo>
                <a:cubicBezTo>
                  <a:pt x="1858206" y="3700595"/>
                  <a:pt x="1857490" y="3695239"/>
                  <a:pt x="1852022" y="3687323"/>
                </a:cubicBezTo>
                <a:cubicBezTo>
                  <a:pt x="1847987" y="3681480"/>
                  <a:pt x="1844685" y="3672630"/>
                  <a:pt x="1844685" y="3667656"/>
                </a:cubicBezTo>
                <a:cubicBezTo>
                  <a:pt x="1844685" y="3662682"/>
                  <a:pt x="1842507" y="3658612"/>
                  <a:pt x="1839844" y="3658612"/>
                </a:cubicBezTo>
                <a:cubicBezTo>
                  <a:pt x="1837182" y="3658612"/>
                  <a:pt x="1836165" y="3654231"/>
                  <a:pt x="1837584" y="3648876"/>
                </a:cubicBezTo>
                <a:cubicBezTo>
                  <a:pt x="1839003" y="3643522"/>
                  <a:pt x="1837479" y="3637647"/>
                  <a:pt x="1834195" y="3635824"/>
                </a:cubicBezTo>
                <a:cubicBezTo>
                  <a:pt x="1830912" y="3634000"/>
                  <a:pt x="1827039" y="3621768"/>
                  <a:pt x="1825589" y="3608642"/>
                </a:cubicBezTo>
                <a:cubicBezTo>
                  <a:pt x="1822611" y="3581679"/>
                  <a:pt x="1809905" y="3561458"/>
                  <a:pt x="1798001" y="3564738"/>
                </a:cubicBezTo>
                <a:close/>
                <a:moveTo>
                  <a:pt x="4146521" y="3557318"/>
                </a:moveTo>
                <a:cubicBezTo>
                  <a:pt x="4149847" y="3557318"/>
                  <a:pt x="4153705" y="3563604"/>
                  <a:pt x="4155093" y="3571287"/>
                </a:cubicBezTo>
                <a:cubicBezTo>
                  <a:pt x="4158027" y="3587536"/>
                  <a:pt x="4158105" y="3587392"/>
                  <a:pt x="4148124" y="3584178"/>
                </a:cubicBezTo>
                <a:cubicBezTo>
                  <a:pt x="4139112" y="3581276"/>
                  <a:pt x="4137681" y="3557318"/>
                  <a:pt x="4146521" y="3557318"/>
                </a:cubicBezTo>
                <a:close/>
                <a:moveTo>
                  <a:pt x="1509191" y="3547053"/>
                </a:moveTo>
                <a:cubicBezTo>
                  <a:pt x="1508732" y="3547719"/>
                  <a:pt x="1508420" y="3549938"/>
                  <a:pt x="1508315" y="3553625"/>
                </a:cubicBezTo>
                <a:cubicBezTo>
                  <a:pt x="1508125" y="3560299"/>
                  <a:pt x="1509159" y="3564039"/>
                  <a:pt x="1510612" y="3561935"/>
                </a:cubicBezTo>
                <a:cubicBezTo>
                  <a:pt x="1512065" y="3559831"/>
                  <a:pt x="1512220" y="3554371"/>
                  <a:pt x="1510957" y="3549800"/>
                </a:cubicBezTo>
                <a:lnTo>
                  <a:pt x="1510957" y="3549800"/>
                </a:lnTo>
                <a:cubicBezTo>
                  <a:pt x="1510259" y="3547275"/>
                  <a:pt x="1509651" y="3546388"/>
                  <a:pt x="1509191" y="3547053"/>
                </a:cubicBezTo>
                <a:close/>
                <a:moveTo>
                  <a:pt x="4384535" y="3546663"/>
                </a:moveTo>
                <a:cubicBezTo>
                  <a:pt x="4381046" y="3548684"/>
                  <a:pt x="4382082" y="3550184"/>
                  <a:pt x="4387177" y="3550488"/>
                </a:cubicBezTo>
                <a:cubicBezTo>
                  <a:pt x="4391786" y="3550763"/>
                  <a:pt x="4394370" y="3549267"/>
                  <a:pt x="4392916" y="3547163"/>
                </a:cubicBezTo>
                <a:lnTo>
                  <a:pt x="4392916" y="3547162"/>
                </a:lnTo>
                <a:cubicBezTo>
                  <a:pt x="4391463" y="3545059"/>
                  <a:pt x="4387691" y="3544834"/>
                  <a:pt x="4384535" y="3546663"/>
                </a:cubicBezTo>
                <a:close/>
                <a:moveTo>
                  <a:pt x="2522488" y="3535161"/>
                </a:moveTo>
                <a:cubicBezTo>
                  <a:pt x="2507315" y="3535161"/>
                  <a:pt x="2502057" y="3552202"/>
                  <a:pt x="2512028" y="3569062"/>
                </a:cubicBezTo>
                <a:cubicBezTo>
                  <a:pt x="2521362" y="3584844"/>
                  <a:pt x="2530250" y="3584610"/>
                  <a:pt x="2537303" y="3568397"/>
                </a:cubicBezTo>
                <a:cubicBezTo>
                  <a:pt x="2543826" y="3553401"/>
                  <a:pt x="2535696" y="3535161"/>
                  <a:pt x="2522488" y="3535161"/>
                </a:cubicBezTo>
                <a:close/>
                <a:moveTo>
                  <a:pt x="4512472" y="3529100"/>
                </a:moveTo>
                <a:cubicBezTo>
                  <a:pt x="4518537" y="3534527"/>
                  <a:pt x="4517405" y="3538326"/>
                  <a:pt x="4509725" y="3538326"/>
                </a:cubicBezTo>
                <a:cubicBezTo>
                  <a:pt x="4505975" y="3538326"/>
                  <a:pt x="4504144" y="3535430"/>
                  <a:pt x="4505654" y="3531892"/>
                </a:cubicBezTo>
                <a:cubicBezTo>
                  <a:pt x="4507165" y="3528353"/>
                  <a:pt x="4510233" y="3527096"/>
                  <a:pt x="4512472" y="3529100"/>
                </a:cubicBezTo>
                <a:close/>
                <a:moveTo>
                  <a:pt x="1784685" y="3528061"/>
                </a:moveTo>
                <a:cubicBezTo>
                  <a:pt x="1785145" y="3527396"/>
                  <a:pt x="1785753" y="3528283"/>
                  <a:pt x="1786451" y="3530808"/>
                </a:cubicBezTo>
                <a:cubicBezTo>
                  <a:pt x="1787714" y="3535378"/>
                  <a:pt x="1787559" y="3540839"/>
                  <a:pt x="1786106" y="3542942"/>
                </a:cubicBezTo>
                <a:cubicBezTo>
                  <a:pt x="1784653" y="3545046"/>
                  <a:pt x="1783620" y="3541307"/>
                  <a:pt x="1783809" y="3534633"/>
                </a:cubicBezTo>
                <a:cubicBezTo>
                  <a:pt x="1783914" y="3530946"/>
                  <a:pt x="1784226" y="3528727"/>
                  <a:pt x="1784685" y="3528061"/>
                </a:cubicBezTo>
                <a:close/>
                <a:moveTo>
                  <a:pt x="2708921" y="3527919"/>
                </a:moveTo>
                <a:cubicBezTo>
                  <a:pt x="2712790" y="3526048"/>
                  <a:pt x="2717257" y="3527196"/>
                  <a:pt x="2719644" y="3532655"/>
                </a:cubicBezTo>
                <a:cubicBezTo>
                  <a:pt x="2725875" y="3546899"/>
                  <a:pt x="2724328" y="3550987"/>
                  <a:pt x="2712711" y="3550987"/>
                </a:cubicBezTo>
                <a:cubicBezTo>
                  <a:pt x="2705809" y="3550987"/>
                  <a:pt x="2701779" y="3547414"/>
                  <a:pt x="2701779" y="3541293"/>
                </a:cubicBezTo>
                <a:cubicBezTo>
                  <a:pt x="2701779" y="3534679"/>
                  <a:pt x="2705051" y="3529790"/>
                  <a:pt x="2708921" y="3527919"/>
                </a:cubicBezTo>
                <a:close/>
                <a:moveTo>
                  <a:pt x="4454649" y="3527292"/>
                </a:moveTo>
                <a:cubicBezTo>
                  <a:pt x="4457341" y="3526735"/>
                  <a:pt x="4459694" y="3529043"/>
                  <a:pt x="4459694" y="3534633"/>
                </a:cubicBezTo>
                <a:cubicBezTo>
                  <a:pt x="4459694" y="3540146"/>
                  <a:pt x="4456578" y="3544657"/>
                  <a:pt x="4452770" y="3544657"/>
                </a:cubicBezTo>
                <a:cubicBezTo>
                  <a:pt x="4448962" y="3544657"/>
                  <a:pt x="4446626" y="3541273"/>
                  <a:pt x="4447578" y="3537139"/>
                </a:cubicBezTo>
                <a:cubicBezTo>
                  <a:pt x="4448929" y="3531270"/>
                  <a:pt x="4451958" y="3527848"/>
                  <a:pt x="4454649" y="3527292"/>
                </a:cubicBezTo>
                <a:close/>
                <a:moveTo>
                  <a:pt x="4330693" y="3513002"/>
                </a:moveTo>
                <a:cubicBezTo>
                  <a:pt x="4334301" y="3513002"/>
                  <a:pt x="4337253" y="3517444"/>
                  <a:pt x="4337253" y="3522872"/>
                </a:cubicBezTo>
                <a:cubicBezTo>
                  <a:pt x="4337253" y="3528301"/>
                  <a:pt x="4339220" y="3530981"/>
                  <a:pt x="4341625" y="3528830"/>
                </a:cubicBezTo>
                <a:cubicBezTo>
                  <a:pt x="4344031" y="3526678"/>
                  <a:pt x="4345998" y="3527934"/>
                  <a:pt x="4345998" y="3531621"/>
                </a:cubicBezTo>
                <a:cubicBezTo>
                  <a:pt x="4345998" y="3538577"/>
                  <a:pt x="4344596" y="3538808"/>
                  <a:pt x="4331787" y="3533962"/>
                </a:cubicBezTo>
                <a:cubicBezTo>
                  <a:pt x="4322453" y="3530431"/>
                  <a:pt x="4321544" y="3513002"/>
                  <a:pt x="4330693" y="3513002"/>
                </a:cubicBezTo>
                <a:close/>
                <a:moveTo>
                  <a:pt x="1781278" y="3513002"/>
                </a:moveTo>
                <a:cubicBezTo>
                  <a:pt x="1778259" y="3513002"/>
                  <a:pt x="1773340" y="3517275"/>
                  <a:pt x="1770345" y="3522499"/>
                </a:cubicBezTo>
                <a:cubicBezTo>
                  <a:pt x="1766002" y="3530075"/>
                  <a:pt x="1766002" y="3533915"/>
                  <a:pt x="1770345" y="3541491"/>
                </a:cubicBezTo>
                <a:cubicBezTo>
                  <a:pt x="1773340" y="3546714"/>
                  <a:pt x="1778259" y="3550987"/>
                  <a:pt x="1781278" y="3550987"/>
                </a:cubicBezTo>
                <a:cubicBezTo>
                  <a:pt x="1784296" y="3550987"/>
                  <a:pt x="1789216" y="3546714"/>
                  <a:pt x="1792210" y="3541491"/>
                </a:cubicBezTo>
                <a:cubicBezTo>
                  <a:pt x="1796553" y="3533915"/>
                  <a:pt x="1796553" y="3530075"/>
                  <a:pt x="1792210" y="3522499"/>
                </a:cubicBezTo>
                <a:cubicBezTo>
                  <a:pt x="1789216" y="3517275"/>
                  <a:pt x="1784296" y="3513002"/>
                  <a:pt x="1781278" y="3513002"/>
                </a:cubicBezTo>
                <a:close/>
                <a:moveTo>
                  <a:pt x="2765727" y="3506671"/>
                </a:moveTo>
                <a:cubicBezTo>
                  <a:pt x="2772587" y="3506671"/>
                  <a:pt x="2773316" y="3511755"/>
                  <a:pt x="2771915" y="3549820"/>
                </a:cubicBezTo>
                <a:cubicBezTo>
                  <a:pt x="2771281" y="3567051"/>
                  <a:pt x="2773350" y="3581080"/>
                  <a:pt x="2777517" y="3587805"/>
                </a:cubicBezTo>
                <a:cubicBezTo>
                  <a:pt x="2785544" y="3600760"/>
                  <a:pt x="2785603" y="3645950"/>
                  <a:pt x="2777592" y="3645950"/>
                </a:cubicBezTo>
                <a:cubicBezTo>
                  <a:pt x="2774546" y="3645950"/>
                  <a:pt x="2769842" y="3639969"/>
                  <a:pt x="2767140" y="3632658"/>
                </a:cubicBezTo>
                <a:cubicBezTo>
                  <a:pt x="2763472" y="3622736"/>
                  <a:pt x="2759317" y="3620170"/>
                  <a:pt x="2750756" y="3622540"/>
                </a:cubicBezTo>
                <a:cubicBezTo>
                  <a:pt x="2743212" y="3624627"/>
                  <a:pt x="2737404" y="3622134"/>
                  <a:pt x="2733789" y="3615257"/>
                </a:cubicBezTo>
                <a:cubicBezTo>
                  <a:pt x="2726359" y="3601118"/>
                  <a:pt x="2726680" y="3595303"/>
                  <a:pt x="2734887" y="3595303"/>
                </a:cubicBezTo>
                <a:cubicBezTo>
                  <a:pt x="2747519" y="3595303"/>
                  <a:pt x="2755756" y="3575677"/>
                  <a:pt x="2757753" y="3540827"/>
                </a:cubicBezTo>
                <a:cubicBezTo>
                  <a:pt x="2759094" y="3517425"/>
                  <a:pt x="2761605" y="3506671"/>
                  <a:pt x="2765727" y="3506671"/>
                </a:cubicBezTo>
                <a:close/>
                <a:moveTo>
                  <a:pt x="740522" y="3475017"/>
                </a:moveTo>
                <a:cubicBezTo>
                  <a:pt x="744129" y="3475017"/>
                  <a:pt x="747081" y="3479290"/>
                  <a:pt x="747081" y="3484514"/>
                </a:cubicBezTo>
                <a:cubicBezTo>
                  <a:pt x="747081" y="3489737"/>
                  <a:pt x="744129" y="3494010"/>
                  <a:pt x="740522" y="3494010"/>
                </a:cubicBezTo>
                <a:cubicBezTo>
                  <a:pt x="736914" y="3494010"/>
                  <a:pt x="733962" y="3489737"/>
                  <a:pt x="733962" y="3484514"/>
                </a:cubicBezTo>
                <a:cubicBezTo>
                  <a:pt x="733962" y="3479290"/>
                  <a:pt x="736914" y="3475017"/>
                  <a:pt x="740522" y="3475017"/>
                </a:cubicBezTo>
                <a:close/>
                <a:moveTo>
                  <a:pt x="2881943" y="3462355"/>
                </a:moveTo>
                <a:cubicBezTo>
                  <a:pt x="2894195" y="3462355"/>
                  <a:pt x="2891755" y="3486670"/>
                  <a:pt x="2878636" y="3495324"/>
                </a:cubicBezTo>
                <a:cubicBezTo>
                  <a:pt x="2869292" y="3501488"/>
                  <a:pt x="2867766" y="3506034"/>
                  <a:pt x="2869346" y="3523011"/>
                </a:cubicBezTo>
                <a:cubicBezTo>
                  <a:pt x="2871849" y="3549903"/>
                  <a:pt x="2875441" y="3557318"/>
                  <a:pt x="2885957" y="3557318"/>
                </a:cubicBezTo>
                <a:cubicBezTo>
                  <a:pt x="2890768" y="3557318"/>
                  <a:pt x="2893487" y="3554470"/>
                  <a:pt x="2892001" y="3550987"/>
                </a:cubicBezTo>
                <a:cubicBezTo>
                  <a:pt x="2890515" y="3547505"/>
                  <a:pt x="2893450" y="3544657"/>
                  <a:pt x="2898525" y="3544657"/>
                </a:cubicBezTo>
                <a:cubicBezTo>
                  <a:pt x="2906735" y="3544657"/>
                  <a:pt x="2907560" y="3547620"/>
                  <a:pt x="2906022" y="3571563"/>
                </a:cubicBezTo>
                <a:cubicBezTo>
                  <a:pt x="2904716" y="3591896"/>
                  <a:pt x="2902259" y="3599006"/>
                  <a:pt x="2895961" y="3600666"/>
                </a:cubicBezTo>
                <a:cubicBezTo>
                  <a:pt x="2891378" y="3601875"/>
                  <a:pt x="2885758" y="3605436"/>
                  <a:pt x="2883473" y="3608579"/>
                </a:cubicBezTo>
                <a:cubicBezTo>
                  <a:pt x="2877147" y="3617286"/>
                  <a:pt x="2873437" y="3615573"/>
                  <a:pt x="2866193" y="3600603"/>
                </a:cubicBezTo>
                <a:cubicBezTo>
                  <a:pt x="2862551" y="3593071"/>
                  <a:pt x="2860640" y="3584400"/>
                  <a:pt x="2861950" y="3581332"/>
                </a:cubicBezTo>
                <a:cubicBezTo>
                  <a:pt x="2863259" y="3578266"/>
                  <a:pt x="2861976" y="3571647"/>
                  <a:pt x="2859095" y="3566625"/>
                </a:cubicBezTo>
                <a:cubicBezTo>
                  <a:pt x="2856216" y="3561602"/>
                  <a:pt x="2854647" y="3547741"/>
                  <a:pt x="2855607" y="3535822"/>
                </a:cubicBezTo>
                <a:cubicBezTo>
                  <a:pt x="2857084" y="3517519"/>
                  <a:pt x="2855474" y="3512542"/>
                  <a:pt x="2845247" y="3503796"/>
                </a:cubicBezTo>
                <a:cubicBezTo>
                  <a:pt x="2834450" y="3494563"/>
                  <a:pt x="2833721" y="3491927"/>
                  <a:pt x="2838518" y="3479481"/>
                </a:cubicBezTo>
                <a:cubicBezTo>
                  <a:pt x="2841477" y="3471803"/>
                  <a:pt x="2844199" y="3464611"/>
                  <a:pt x="2844567" y="3463500"/>
                </a:cubicBezTo>
                <a:cubicBezTo>
                  <a:pt x="2844933" y="3462388"/>
                  <a:pt x="2849312" y="3465166"/>
                  <a:pt x="2854296" y="3469672"/>
                </a:cubicBezTo>
                <a:cubicBezTo>
                  <a:pt x="2861447" y="3476138"/>
                  <a:pt x="2864488" y="3476230"/>
                  <a:pt x="2868715" y="3470111"/>
                </a:cubicBezTo>
                <a:cubicBezTo>
                  <a:pt x="2871661" y="3465846"/>
                  <a:pt x="2877614" y="3462355"/>
                  <a:pt x="2881943" y="3462355"/>
                </a:cubicBezTo>
                <a:close/>
                <a:moveTo>
                  <a:pt x="3212720" y="3424461"/>
                </a:moveTo>
                <a:cubicBezTo>
                  <a:pt x="3210761" y="3424317"/>
                  <a:pt x="3208239" y="3426087"/>
                  <a:pt x="3204212" y="3429702"/>
                </a:cubicBezTo>
                <a:cubicBezTo>
                  <a:pt x="3196994" y="3436182"/>
                  <a:pt x="3193983" y="3436409"/>
                  <a:pt x="3191529" y="3430662"/>
                </a:cubicBezTo>
                <a:cubicBezTo>
                  <a:pt x="3185716" y="3417044"/>
                  <a:pt x="3171810" y="3426461"/>
                  <a:pt x="3172515" y="3443537"/>
                </a:cubicBezTo>
                <a:cubicBezTo>
                  <a:pt x="3174170" y="3483584"/>
                  <a:pt x="3176852" y="3497988"/>
                  <a:pt x="3184563" y="3508254"/>
                </a:cubicBezTo>
                <a:cubicBezTo>
                  <a:pt x="3194326" y="3521253"/>
                  <a:pt x="3200919" y="3522226"/>
                  <a:pt x="3208164" y="3511736"/>
                </a:cubicBezTo>
                <a:cubicBezTo>
                  <a:pt x="3214518" y="3502537"/>
                  <a:pt x="3215128" y="3481348"/>
                  <a:pt x="3209038" y="3481348"/>
                </a:cubicBezTo>
                <a:cubicBezTo>
                  <a:pt x="3200919" y="3481348"/>
                  <a:pt x="3204591" y="3463861"/>
                  <a:pt x="3213411" y="3460521"/>
                </a:cubicBezTo>
                <a:cubicBezTo>
                  <a:pt x="3222848" y="3456948"/>
                  <a:pt x="3224502" y="3445839"/>
                  <a:pt x="3217851" y="3430701"/>
                </a:cubicBezTo>
                <a:cubicBezTo>
                  <a:pt x="3216075" y="3426661"/>
                  <a:pt x="3214679" y="3424604"/>
                  <a:pt x="3212720" y="3424461"/>
                </a:cubicBezTo>
                <a:close/>
                <a:moveTo>
                  <a:pt x="4431270" y="3405378"/>
                </a:moveTo>
                <a:cubicBezTo>
                  <a:pt x="4439132" y="3405378"/>
                  <a:pt x="4442203" y="3408789"/>
                  <a:pt x="4442203" y="3417522"/>
                </a:cubicBezTo>
                <a:cubicBezTo>
                  <a:pt x="4442203" y="3424201"/>
                  <a:pt x="4443397" y="3434172"/>
                  <a:pt x="4444857" y="3439680"/>
                </a:cubicBezTo>
                <a:cubicBezTo>
                  <a:pt x="4448227" y="3452396"/>
                  <a:pt x="4442500" y="3452457"/>
                  <a:pt x="4430057" y="3439839"/>
                </a:cubicBezTo>
                <a:cubicBezTo>
                  <a:pt x="4416418" y="3426008"/>
                  <a:pt x="4417145" y="3405378"/>
                  <a:pt x="4431270" y="3405378"/>
                </a:cubicBezTo>
                <a:close/>
                <a:moveTo>
                  <a:pt x="549890" y="3399047"/>
                </a:moveTo>
                <a:cubicBezTo>
                  <a:pt x="545314" y="3399047"/>
                  <a:pt x="544506" y="3420204"/>
                  <a:pt x="548842" y="3426481"/>
                </a:cubicBezTo>
                <a:cubicBezTo>
                  <a:pt x="550445" y="3428802"/>
                  <a:pt x="554873" y="3430371"/>
                  <a:pt x="558681" y="3429967"/>
                </a:cubicBezTo>
                <a:cubicBezTo>
                  <a:pt x="563849" y="3429419"/>
                  <a:pt x="563561" y="3428469"/>
                  <a:pt x="557546" y="3426224"/>
                </a:cubicBezTo>
                <a:cubicBezTo>
                  <a:pt x="552135" y="3424204"/>
                  <a:pt x="550205" y="3419246"/>
                  <a:pt x="551671" y="3411132"/>
                </a:cubicBezTo>
                <a:cubicBezTo>
                  <a:pt x="552871" y="3404485"/>
                  <a:pt x="552070" y="3399047"/>
                  <a:pt x="549890" y="3399047"/>
                </a:cubicBezTo>
                <a:close/>
                <a:moveTo>
                  <a:pt x="4493782" y="3361062"/>
                </a:moveTo>
                <a:cubicBezTo>
                  <a:pt x="4504549" y="3361062"/>
                  <a:pt x="4512737" y="3387401"/>
                  <a:pt x="4515201" y="3429955"/>
                </a:cubicBezTo>
                <a:cubicBezTo>
                  <a:pt x="4517467" y="3469086"/>
                  <a:pt x="4516864" y="3475017"/>
                  <a:pt x="4510617" y="3475017"/>
                </a:cubicBezTo>
                <a:cubicBezTo>
                  <a:pt x="4505926" y="3475017"/>
                  <a:pt x="4503423" y="3469697"/>
                  <a:pt x="4503423" y="3459717"/>
                </a:cubicBezTo>
                <a:cubicBezTo>
                  <a:pt x="4503423" y="3451303"/>
                  <a:pt x="4501737" y="3443469"/>
                  <a:pt x="4499676" y="3442307"/>
                </a:cubicBezTo>
                <a:cubicBezTo>
                  <a:pt x="4494542" y="3439417"/>
                  <a:pt x="4488859" y="3361062"/>
                  <a:pt x="4493782" y="3361062"/>
                </a:cubicBezTo>
                <a:close/>
                <a:moveTo>
                  <a:pt x="2909492" y="3361062"/>
                </a:moveTo>
                <a:cubicBezTo>
                  <a:pt x="2913574" y="3361062"/>
                  <a:pt x="2916052" y="3367041"/>
                  <a:pt x="2916052" y="3376889"/>
                </a:cubicBezTo>
                <a:cubicBezTo>
                  <a:pt x="2916052" y="3385593"/>
                  <a:pt x="2915560" y="3392491"/>
                  <a:pt x="2914958" y="3392216"/>
                </a:cubicBezTo>
                <a:cubicBezTo>
                  <a:pt x="2914358" y="3391942"/>
                  <a:pt x="2911405" y="3390279"/>
                  <a:pt x="2908399" y="3388523"/>
                </a:cubicBezTo>
                <a:cubicBezTo>
                  <a:pt x="2900670" y="3384008"/>
                  <a:pt x="2901584" y="3361062"/>
                  <a:pt x="2909492" y="3361062"/>
                </a:cubicBezTo>
                <a:close/>
                <a:moveTo>
                  <a:pt x="4276032" y="3354731"/>
                </a:moveTo>
                <a:cubicBezTo>
                  <a:pt x="4271735" y="3354731"/>
                  <a:pt x="4267027" y="3359237"/>
                  <a:pt x="4265567" y="3364745"/>
                </a:cubicBezTo>
                <a:cubicBezTo>
                  <a:pt x="4261468" y="3380210"/>
                  <a:pt x="4262429" y="3405378"/>
                  <a:pt x="4267117" y="3405378"/>
                </a:cubicBezTo>
                <a:cubicBezTo>
                  <a:pt x="4269429" y="3405378"/>
                  <a:pt x="4273441" y="3416773"/>
                  <a:pt x="4276032" y="3430701"/>
                </a:cubicBezTo>
                <a:cubicBezTo>
                  <a:pt x="4281041" y="3457634"/>
                  <a:pt x="4291986" y="3464466"/>
                  <a:pt x="4302037" y="3446933"/>
                </a:cubicBezTo>
                <a:cubicBezTo>
                  <a:pt x="4307700" y="3437054"/>
                  <a:pt x="4301464" y="3411709"/>
                  <a:pt x="4293369" y="3411709"/>
                </a:cubicBezTo>
                <a:cubicBezTo>
                  <a:pt x="4291049" y="3411709"/>
                  <a:pt x="4289150" y="3403395"/>
                  <a:pt x="4289150" y="3393234"/>
                </a:cubicBezTo>
                <a:cubicBezTo>
                  <a:pt x="4289150" y="3366871"/>
                  <a:pt x="4285014" y="3354731"/>
                  <a:pt x="4276032" y="3354731"/>
                </a:cubicBezTo>
                <a:close/>
                <a:moveTo>
                  <a:pt x="2669069" y="3336073"/>
                </a:moveTo>
                <a:cubicBezTo>
                  <a:pt x="2665559" y="3335774"/>
                  <a:pt x="2662564" y="3338266"/>
                  <a:pt x="2661312" y="3343652"/>
                </a:cubicBezTo>
                <a:cubicBezTo>
                  <a:pt x="2659866" y="3349871"/>
                  <a:pt x="2657960" y="3349759"/>
                  <a:pt x="2652411" y="3343129"/>
                </a:cubicBezTo>
                <a:cubicBezTo>
                  <a:pt x="2648409" y="3338348"/>
                  <a:pt x="2641470" y="3336475"/>
                  <a:pt x="2636395" y="3338808"/>
                </a:cubicBezTo>
                <a:cubicBezTo>
                  <a:pt x="2629019" y="3342196"/>
                  <a:pt x="2627439" y="3348247"/>
                  <a:pt x="2627439" y="3373095"/>
                </a:cubicBezTo>
                <a:cubicBezTo>
                  <a:pt x="2627439" y="3389690"/>
                  <a:pt x="2628751" y="3405167"/>
                  <a:pt x="2630354" y="3407488"/>
                </a:cubicBezTo>
                <a:cubicBezTo>
                  <a:pt x="2635193" y="3414494"/>
                  <a:pt x="2648560" y="3412235"/>
                  <a:pt x="2652210" y="3403795"/>
                </a:cubicBezTo>
                <a:cubicBezTo>
                  <a:pt x="2654092" y="3399442"/>
                  <a:pt x="2655684" y="3391608"/>
                  <a:pt x="2655748" y="3386385"/>
                </a:cubicBezTo>
                <a:cubicBezTo>
                  <a:pt x="2655811" y="3381162"/>
                  <a:pt x="2660148" y="3376006"/>
                  <a:pt x="2665384" y="3374926"/>
                </a:cubicBezTo>
                <a:cubicBezTo>
                  <a:pt x="2679476" y="3372021"/>
                  <a:pt x="2686749" y="3357158"/>
                  <a:pt x="2679914" y="3345235"/>
                </a:cubicBezTo>
                <a:cubicBezTo>
                  <a:pt x="2676604" y="3339460"/>
                  <a:pt x="2672579" y="3336371"/>
                  <a:pt x="2669069" y="3336073"/>
                </a:cubicBezTo>
                <a:close/>
                <a:moveTo>
                  <a:pt x="587549" y="3300251"/>
                </a:moveTo>
                <a:cubicBezTo>
                  <a:pt x="585292" y="3297131"/>
                  <a:pt x="581333" y="3297816"/>
                  <a:pt x="574278" y="3300379"/>
                </a:cubicBezTo>
                <a:cubicBezTo>
                  <a:pt x="564976" y="3303760"/>
                  <a:pt x="563120" y="3307703"/>
                  <a:pt x="564236" y="3321715"/>
                </a:cubicBezTo>
                <a:cubicBezTo>
                  <a:pt x="565211" y="3333958"/>
                  <a:pt x="568436" y="3339486"/>
                  <a:pt x="575444" y="3340927"/>
                </a:cubicBezTo>
                <a:cubicBezTo>
                  <a:pt x="581595" y="3342191"/>
                  <a:pt x="585283" y="3347337"/>
                  <a:pt x="585283" y="3354654"/>
                </a:cubicBezTo>
                <a:cubicBezTo>
                  <a:pt x="585283" y="3383278"/>
                  <a:pt x="595253" y="3394742"/>
                  <a:pt x="606273" y="3378788"/>
                </a:cubicBezTo>
                <a:cubicBezTo>
                  <a:pt x="614472" y="3366918"/>
                  <a:pt x="612474" y="3354943"/>
                  <a:pt x="601264" y="3348772"/>
                </a:cubicBezTo>
                <a:cubicBezTo>
                  <a:pt x="593614" y="3344562"/>
                  <a:pt x="590907" y="3338001"/>
                  <a:pt x="590611" y="3322956"/>
                </a:cubicBezTo>
                <a:cubicBezTo>
                  <a:pt x="590363" y="3310298"/>
                  <a:pt x="589807" y="3303372"/>
                  <a:pt x="587549" y="3300251"/>
                </a:cubicBezTo>
                <a:close/>
                <a:moveTo>
                  <a:pt x="4154664" y="3279903"/>
                </a:moveTo>
                <a:cubicBezTo>
                  <a:pt x="4140613" y="3277009"/>
                  <a:pt x="4136422" y="3296689"/>
                  <a:pt x="4148160" y="3310449"/>
                </a:cubicBezTo>
                <a:cubicBezTo>
                  <a:pt x="4155681" y="3319265"/>
                  <a:pt x="4156874" y="3325844"/>
                  <a:pt x="4154873" y="3347448"/>
                </a:cubicBezTo>
                <a:cubicBezTo>
                  <a:pt x="4153260" y="3364859"/>
                  <a:pt x="4154107" y="3373723"/>
                  <a:pt x="4157387" y="3373723"/>
                </a:cubicBezTo>
                <a:cubicBezTo>
                  <a:pt x="4160108" y="3373723"/>
                  <a:pt x="4162336" y="3382799"/>
                  <a:pt x="4162336" y="3393890"/>
                </a:cubicBezTo>
                <a:cubicBezTo>
                  <a:pt x="4162336" y="3405884"/>
                  <a:pt x="4166190" y="3419997"/>
                  <a:pt x="4171844" y="3428710"/>
                </a:cubicBezTo>
                <a:cubicBezTo>
                  <a:pt x="4183547" y="3446745"/>
                  <a:pt x="4187175" y="3447056"/>
                  <a:pt x="4190840" y="3430334"/>
                </a:cubicBezTo>
                <a:cubicBezTo>
                  <a:pt x="4194319" y="3414464"/>
                  <a:pt x="4189124" y="3354731"/>
                  <a:pt x="4184264" y="3354731"/>
                </a:cubicBezTo>
                <a:cubicBezTo>
                  <a:pt x="4182345" y="3354731"/>
                  <a:pt x="4179540" y="3347608"/>
                  <a:pt x="4178032" y="3338904"/>
                </a:cubicBezTo>
                <a:cubicBezTo>
                  <a:pt x="4176523" y="3330199"/>
                  <a:pt x="4172366" y="3323077"/>
                  <a:pt x="4168795" y="3323077"/>
                </a:cubicBezTo>
                <a:cubicBezTo>
                  <a:pt x="4164157" y="3323077"/>
                  <a:pt x="4162620" y="3317198"/>
                  <a:pt x="4163412" y="3302505"/>
                </a:cubicBezTo>
                <a:cubicBezTo>
                  <a:pt x="4164336" y="3285391"/>
                  <a:pt x="4162865" y="3281593"/>
                  <a:pt x="4154664" y="3279903"/>
                </a:cubicBezTo>
                <a:close/>
                <a:moveTo>
                  <a:pt x="3384462" y="3266400"/>
                </a:moveTo>
                <a:cubicBezTo>
                  <a:pt x="3382627" y="3266785"/>
                  <a:pt x="3381140" y="3268762"/>
                  <a:pt x="3379525" y="3272430"/>
                </a:cubicBezTo>
                <a:cubicBezTo>
                  <a:pt x="3373763" y="3285514"/>
                  <a:pt x="3374087" y="3353134"/>
                  <a:pt x="3379925" y="3355951"/>
                </a:cubicBezTo>
                <a:cubicBezTo>
                  <a:pt x="3382518" y="3357203"/>
                  <a:pt x="3384978" y="3368123"/>
                  <a:pt x="3385390" y="3380219"/>
                </a:cubicBezTo>
                <a:cubicBezTo>
                  <a:pt x="3386068" y="3400055"/>
                  <a:pt x="3384906" y="3402417"/>
                  <a:pt x="3373548" y="3404295"/>
                </a:cubicBezTo>
                <a:cubicBezTo>
                  <a:pt x="3361139" y="3406347"/>
                  <a:pt x="3360992" y="3406842"/>
                  <a:pt x="3363543" y="3438014"/>
                </a:cubicBezTo>
                <a:cubicBezTo>
                  <a:pt x="3365474" y="3461632"/>
                  <a:pt x="3368943" y="3472854"/>
                  <a:pt x="3377229" y="3482289"/>
                </a:cubicBezTo>
                <a:cubicBezTo>
                  <a:pt x="3383333" y="3489241"/>
                  <a:pt x="3388329" y="3500251"/>
                  <a:pt x="3388329" y="3506757"/>
                </a:cubicBezTo>
                <a:cubicBezTo>
                  <a:pt x="3388329" y="3513263"/>
                  <a:pt x="3390296" y="3520347"/>
                  <a:pt x="3392701" y="3522499"/>
                </a:cubicBezTo>
                <a:cubicBezTo>
                  <a:pt x="3395106" y="3524650"/>
                  <a:pt x="3397074" y="3531749"/>
                  <a:pt x="3397074" y="3538273"/>
                </a:cubicBezTo>
                <a:cubicBezTo>
                  <a:pt x="3397074" y="3544797"/>
                  <a:pt x="3401009" y="3551943"/>
                  <a:pt x="3405820" y="3554153"/>
                </a:cubicBezTo>
                <a:cubicBezTo>
                  <a:pt x="3410630" y="3556363"/>
                  <a:pt x="3414566" y="3563678"/>
                  <a:pt x="3414566" y="3570407"/>
                </a:cubicBezTo>
                <a:cubicBezTo>
                  <a:pt x="3414566" y="3577136"/>
                  <a:pt x="3416533" y="3582642"/>
                  <a:pt x="3418939" y="3582642"/>
                </a:cubicBezTo>
                <a:cubicBezTo>
                  <a:pt x="3421344" y="3582642"/>
                  <a:pt x="3423312" y="3589289"/>
                  <a:pt x="3423312" y="3597414"/>
                </a:cubicBezTo>
                <a:cubicBezTo>
                  <a:pt x="3423312" y="3605538"/>
                  <a:pt x="3424623" y="3614085"/>
                  <a:pt x="3426227" y="3616406"/>
                </a:cubicBezTo>
                <a:cubicBezTo>
                  <a:pt x="3431633" y="3624232"/>
                  <a:pt x="3444220" y="3620704"/>
                  <a:pt x="3446895" y="3610613"/>
                </a:cubicBezTo>
                <a:cubicBezTo>
                  <a:pt x="3450838" y="3595735"/>
                  <a:pt x="3450106" y="3569980"/>
                  <a:pt x="3445741" y="3569980"/>
                </a:cubicBezTo>
                <a:cubicBezTo>
                  <a:pt x="3443646" y="3569980"/>
                  <a:pt x="3440597" y="3552886"/>
                  <a:pt x="3438964" y="3531995"/>
                </a:cubicBezTo>
                <a:cubicBezTo>
                  <a:pt x="3437332" y="3511103"/>
                  <a:pt x="3434331" y="3494010"/>
                  <a:pt x="3432296" y="3494010"/>
                </a:cubicBezTo>
                <a:cubicBezTo>
                  <a:pt x="3430260" y="3494010"/>
                  <a:pt x="3427201" y="3471219"/>
                  <a:pt x="3425497" y="3443363"/>
                </a:cubicBezTo>
                <a:cubicBezTo>
                  <a:pt x="3423795" y="3415507"/>
                  <a:pt x="3420637" y="3392716"/>
                  <a:pt x="3418484" y="3392716"/>
                </a:cubicBezTo>
                <a:cubicBezTo>
                  <a:pt x="3416328" y="3392716"/>
                  <a:pt x="3414566" y="3384519"/>
                  <a:pt x="3414566" y="3374498"/>
                </a:cubicBezTo>
                <a:cubicBezTo>
                  <a:pt x="3414566" y="3364479"/>
                  <a:pt x="3411711" y="3352852"/>
                  <a:pt x="3408222" y="3348660"/>
                </a:cubicBezTo>
                <a:cubicBezTo>
                  <a:pt x="3404618" y="3344329"/>
                  <a:pt x="3401314" y="3327191"/>
                  <a:pt x="3400570" y="3308969"/>
                </a:cubicBezTo>
                <a:cubicBezTo>
                  <a:pt x="3399653" y="3286524"/>
                  <a:pt x="3396926" y="3274803"/>
                  <a:pt x="3391484" y="3269917"/>
                </a:cubicBezTo>
                <a:cubicBezTo>
                  <a:pt x="3388479" y="3267220"/>
                  <a:pt x="3386297" y="3266014"/>
                  <a:pt x="3384462" y="3266400"/>
                </a:cubicBezTo>
                <a:close/>
                <a:moveTo>
                  <a:pt x="3348864" y="3248793"/>
                </a:moveTo>
                <a:cubicBezTo>
                  <a:pt x="3345735" y="3247498"/>
                  <a:pt x="3342333" y="3248277"/>
                  <a:pt x="3339131" y="3252124"/>
                </a:cubicBezTo>
                <a:cubicBezTo>
                  <a:pt x="3328886" y="3264436"/>
                  <a:pt x="3334271" y="3297753"/>
                  <a:pt x="3346508" y="3297753"/>
                </a:cubicBezTo>
                <a:cubicBezTo>
                  <a:pt x="3349679" y="3297753"/>
                  <a:pt x="3354371" y="3294095"/>
                  <a:pt x="3356934" y="3289624"/>
                </a:cubicBezTo>
                <a:cubicBezTo>
                  <a:pt x="3365185" y="3275229"/>
                  <a:pt x="3358250" y="3252677"/>
                  <a:pt x="3348864" y="3248793"/>
                </a:cubicBezTo>
                <a:close/>
                <a:moveTo>
                  <a:pt x="313287" y="3234445"/>
                </a:moveTo>
                <a:cubicBezTo>
                  <a:pt x="307242" y="3234445"/>
                  <a:pt x="305415" y="3239467"/>
                  <a:pt x="305415" y="3256085"/>
                </a:cubicBezTo>
                <a:cubicBezTo>
                  <a:pt x="305415" y="3285553"/>
                  <a:pt x="309257" y="3297753"/>
                  <a:pt x="318534" y="3297753"/>
                </a:cubicBezTo>
                <a:cubicBezTo>
                  <a:pt x="322830" y="3297753"/>
                  <a:pt x="327539" y="3293247"/>
                  <a:pt x="328998" y="3287739"/>
                </a:cubicBezTo>
                <a:cubicBezTo>
                  <a:pt x="336318" y="3260124"/>
                  <a:pt x="328747" y="3234445"/>
                  <a:pt x="313287" y="3234445"/>
                </a:cubicBezTo>
                <a:close/>
                <a:moveTo>
                  <a:pt x="4380392" y="3159521"/>
                </a:moveTo>
                <a:cubicBezTo>
                  <a:pt x="4370345" y="3161580"/>
                  <a:pt x="4370094" y="3163088"/>
                  <a:pt x="4371629" y="3212287"/>
                </a:cubicBezTo>
                <a:cubicBezTo>
                  <a:pt x="4372498" y="3240143"/>
                  <a:pt x="4374957" y="3263884"/>
                  <a:pt x="4377095" y="3265043"/>
                </a:cubicBezTo>
                <a:cubicBezTo>
                  <a:pt x="4379233" y="3266204"/>
                  <a:pt x="4380982" y="3271100"/>
                  <a:pt x="4380982" y="3275924"/>
                </a:cubicBezTo>
                <a:cubicBezTo>
                  <a:pt x="4380982" y="3287969"/>
                  <a:pt x="4393153" y="3280395"/>
                  <a:pt x="4396210" y="3266447"/>
                </a:cubicBezTo>
                <a:cubicBezTo>
                  <a:pt x="4400868" y="3245201"/>
                  <a:pt x="4400394" y="3171384"/>
                  <a:pt x="4395554" y="3164378"/>
                </a:cubicBezTo>
                <a:cubicBezTo>
                  <a:pt x="4392905" y="3160541"/>
                  <a:pt x="4386082" y="3158356"/>
                  <a:pt x="4380392" y="3159521"/>
                </a:cubicBezTo>
                <a:close/>
                <a:moveTo>
                  <a:pt x="608431" y="3076110"/>
                </a:moveTo>
                <a:cubicBezTo>
                  <a:pt x="606192" y="3077029"/>
                  <a:pt x="604049" y="3079406"/>
                  <a:pt x="602272" y="3083464"/>
                </a:cubicBezTo>
                <a:cubicBezTo>
                  <a:pt x="597025" y="3095452"/>
                  <a:pt x="597492" y="3125259"/>
                  <a:pt x="603005" y="3130192"/>
                </a:cubicBezTo>
                <a:cubicBezTo>
                  <a:pt x="605537" y="3132458"/>
                  <a:pt x="606802" y="3137611"/>
                  <a:pt x="605816" y="3141644"/>
                </a:cubicBezTo>
                <a:cubicBezTo>
                  <a:pt x="604830" y="3145678"/>
                  <a:pt x="612106" y="3161798"/>
                  <a:pt x="621984" y="3177467"/>
                </a:cubicBezTo>
                <a:lnTo>
                  <a:pt x="639944" y="3205956"/>
                </a:lnTo>
                <a:lnTo>
                  <a:pt x="626855" y="3208107"/>
                </a:lnTo>
                <a:cubicBezTo>
                  <a:pt x="616428" y="3209822"/>
                  <a:pt x="611314" y="3206007"/>
                  <a:pt x="601711" y="3189354"/>
                </a:cubicBezTo>
                <a:cubicBezTo>
                  <a:pt x="595080" y="3177856"/>
                  <a:pt x="589531" y="3171190"/>
                  <a:pt x="589378" y="3174540"/>
                </a:cubicBezTo>
                <a:cubicBezTo>
                  <a:pt x="589226" y="3177891"/>
                  <a:pt x="587275" y="3174039"/>
                  <a:pt x="585043" y="3165981"/>
                </a:cubicBezTo>
                <a:cubicBezTo>
                  <a:pt x="582810" y="3157923"/>
                  <a:pt x="579284" y="3152851"/>
                  <a:pt x="577206" y="3154710"/>
                </a:cubicBezTo>
                <a:cubicBezTo>
                  <a:pt x="575127" y="3156570"/>
                  <a:pt x="574357" y="3151055"/>
                  <a:pt x="575492" y="3142456"/>
                </a:cubicBezTo>
                <a:cubicBezTo>
                  <a:pt x="576628" y="3133856"/>
                  <a:pt x="579295" y="3126820"/>
                  <a:pt x="581420" y="3126820"/>
                </a:cubicBezTo>
                <a:cubicBezTo>
                  <a:pt x="589701" y="3126820"/>
                  <a:pt x="584711" y="3109483"/>
                  <a:pt x="574489" y="3102739"/>
                </a:cubicBezTo>
                <a:cubicBezTo>
                  <a:pt x="565212" y="3096621"/>
                  <a:pt x="562753" y="3097566"/>
                  <a:pt x="556997" y="3109463"/>
                </a:cubicBezTo>
                <a:cubicBezTo>
                  <a:pt x="548748" y="3126512"/>
                  <a:pt x="548298" y="3140196"/>
                  <a:pt x="556129" y="3135846"/>
                </a:cubicBezTo>
                <a:cubicBezTo>
                  <a:pt x="560434" y="3133454"/>
                  <a:pt x="561446" y="3137659"/>
                  <a:pt x="560000" y="3151929"/>
                </a:cubicBezTo>
                <a:cubicBezTo>
                  <a:pt x="558904" y="3162741"/>
                  <a:pt x="560595" y="3175707"/>
                  <a:pt x="563838" y="3181366"/>
                </a:cubicBezTo>
                <a:cubicBezTo>
                  <a:pt x="567027" y="3186928"/>
                  <a:pt x="571680" y="3196390"/>
                  <a:pt x="574180" y="3202392"/>
                </a:cubicBezTo>
                <a:cubicBezTo>
                  <a:pt x="591104" y="3243042"/>
                  <a:pt x="597600" y="3253960"/>
                  <a:pt x="600152" y="3246045"/>
                </a:cubicBezTo>
                <a:cubicBezTo>
                  <a:pt x="601648" y="3241406"/>
                  <a:pt x="602050" y="3244020"/>
                  <a:pt x="601046" y="3251855"/>
                </a:cubicBezTo>
                <a:cubicBezTo>
                  <a:pt x="600042" y="3259689"/>
                  <a:pt x="600966" y="3266099"/>
                  <a:pt x="603100" y="3266099"/>
                </a:cubicBezTo>
                <a:cubicBezTo>
                  <a:pt x="605235" y="3266099"/>
                  <a:pt x="608273" y="3273933"/>
                  <a:pt x="609854" y="3283509"/>
                </a:cubicBezTo>
                <a:cubicBezTo>
                  <a:pt x="611433" y="3293085"/>
                  <a:pt x="614664" y="3304479"/>
                  <a:pt x="617032" y="3308832"/>
                </a:cubicBezTo>
                <a:cubicBezTo>
                  <a:pt x="619400" y="3313184"/>
                  <a:pt x="619811" y="3316746"/>
                  <a:pt x="617946" y="3316746"/>
                </a:cubicBezTo>
                <a:cubicBezTo>
                  <a:pt x="616081" y="3316746"/>
                  <a:pt x="618792" y="3322066"/>
                  <a:pt x="623970" y="3328567"/>
                </a:cubicBezTo>
                <a:cubicBezTo>
                  <a:pt x="629148" y="3335070"/>
                  <a:pt x="633385" y="3345990"/>
                  <a:pt x="633385" y="3352836"/>
                </a:cubicBezTo>
                <a:cubicBezTo>
                  <a:pt x="633385" y="3373477"/>
                  <a:pt x="639067" y="3377284"/>
                  <a:pt x="658577" y="3369716"/>
                </a:cubicBezTo>
                <a:cubicBezTo>
                  <a:pt x="664086" y="3367578"/>
                  <a:pt x="669621" y="3359206"/>
                  <a:pt x="671077" y="3350809"/>
                </a:cubicBezTo>
                <a:cubicBezTo>
                  <a:pt x="674135" y="3333168"/>
                  <a:pt x="679944" y="3331754"/>
                  <a:pt x="690819" y="3346003"/>
                </a:cubicBezTo>
                <a:cubicBezTo>
                  <a:pt x="707087" y="3367317"/>
                  <a:pt x="719876" y="3339683"/>
                  <a:pt x="704860" y="3315662"/>
                </a:cubicBezTo>
                <a:cubicBezTo>
                  <a:pt x="696086" y="3301624"/>
                  <a:pt x="686481" y="3300707"/>
                  <a:pt x="683069" y="3313581"/>
                </a:cubicBezTo>
                <a:cubicBezTo>
                  <a:pt x="677390" y="3335002"/>
                  <a:pt x="653576" y="3313004"/>
                  <a:pt x="648396" y="3281551"/>
                </a:cubicBezTo>
                <a:cubicBezTo>
                  <a:pt x="646709" y="3271312"/>
                  <a:pt x="642464" y="3258153"/>
                  <a:pt x="638964" y="3252310"/>
                </a:cubicBezTo>
                <a:cubicBezTo>
                  <a:pt x="634458" y="3244789"/>
                  <a:pt x="633839" y="3238477"/>
                  <a:pt x="636844" y="3230703"/>
                </a:cubicBezTo>
                <a:cubicBezTo>
                  <a:pt x="640711" y="3220699"/>
                  <a:pt x="641357" y="3220941"/>
                  <a:pt x="644091" y="3233414"/>
                </a:cubicBezTo>
                <a:cubicBezTo>
                  <a:pt x="645742" y="3240944"/>
                  <a:pt x="649912" y="3247106"/>
                  <a:pt x="653357" y="3247106"/>
                </a:cubicBezTo>
                <a:cubicBezTo>
                  <a:pt x="656803" y="3247106"/>
                  <a:pt x="659622" y="3250938"/>
                  <a:pt x="659622" y="3255622"/>
                </a:cubicBezTo>
                <a:cubicBezTo>
                  <a:pt x="659622" y="3260305"/>
                  <a:pt x="663668" y="3269437"/>
                  <a:pt x="668613" y="3275916"/>
                </a:cubicBezTo>
                <a:cubicBezTo>
                  <a:pt x="676292" y="3285977"/>
                  <a:pt x="678929" y="3286497"/>
                  <a:pt x="686690" y="3279479"/>
                </a:cubicBezTo>
                <a:cubicBezTo>
                  <a:pt x="693647" y="3273190"/>
                  <a:pt x="696533" y="3273031"/>
                  <a:pt x="698996" y="3278800"/>
                </a:cubicBezTo>
                <a:cubicBezTo>
                  <a:pt x="704713" y="3292193"/>
                  <a:pt x="718657" y="3283123"/>
                  <a:pt x="718657" y="3266012"/>
                </a:cubicBezTo>
                <a:cubicBezTo>
                  <a:pt x="718657" y="3252393"/>
                  <a:pt x="716447" y="3250007"/>
                  <a:pt x="702258" y="3248307"/>
                </a:cubicBezTo>
                <a:cubicBezTo>
                  <a:pt x="686019" y="3246361"/>
                  <a:pt x="685860" y="3246074"/>
                  <a:pt x="685860" y="3218686"/>
                </a:cubicBezTo>
                <a:cubicBezTo>
                  <a:pt x="685860" y="3195981"/>
                  <a:pt x="683223" y="3186983"/>
                  <a:pt x="671132" y="3168421"/>
                </a:cubicBezTo>
                <a:cubicBezTo>
                  <a:pt x="663031" y="3155986"/>
                  <a:pt x="653493" y="3145813"/>
                  <a:pt x="649936" y="3145813"/>
                </a:cubicBezTo>
                <a:cubicBezTo>
                  <a:pt x="638352" y="3145813"/>
                  <a:pt x="625360" y="3123579"/>
                  <a:pt x="623889" y="3101236"/>
                </a:cubicBezTo>
                <a:cubicBezTo>
                  <a:pt x="622735" y="3083732"/>
                  <a:pt x="615150" y="3073356"/>
                  <a:pt x="608431" y="3076110"/>
                </a:cubicBezTo>
                <a:close/>
                <a:moveTo>
                  <a:pt x="299116" y="2844933"/>
                </a:moveTo>
                <a:cubicBezTo>
                  <a:pt x="303196" y="2846859"/>
                  <a:pt x="305415" y="2851711"/>
                  <a:pt x="305415" y="2859317"/>
                </a:cubicBezTo>
                <a:cubicBezTo>
                  <a:pt x="305415" y="2865615"/>
                  <a:pt x="308538" y="2877223"/>
                  <a:pt x="312354" y="2885111"/>
                </a:cubicBezTo>
                <a:cubicBezTo>
                  <a:pt x="317852" y="2896473"/>
                  <a:pt x="318194" y="2901370"/>
                  <a:pt x="314006" y="2908678"/>
                </a:cubicBezTo>
                <a:cubicBezTo>
                  <a:pt x="311097" y="2913751"/>
                  <a:pt x="306217" y="2917902"/>
                  <a:pt x="303161" y="2917902"/>
                </a:cubicBezTo>
                <a:cubicBezTo>
                  <a:pt x="300106" y="2917902"/>
                  <a:pt x="296536" y="2921936"/>
                  <a:pt x="295229" y="2926867"/>
                </a:cubicBezTo>
                <a:cubicBezTo>
                  <a:pt x="292244" y="2938128"/>
                  <a:pt x="296760" y="3007519"/>
                  <a:pt x="301032" y="3016030"/>
                </a:cubicBezTo>
                <a:cubicBezTo>
                  <a:pt x="302780" y="3019512"/>
                  <a:pt x="305502" y="3030195"/>
                  <a:pt x="307082" y="3039770"/>
                </a:cubicBezTo>
                <a:cubicBezTo>
                  <a:pt x="308662" y="3049346"/>
                  <a:pt x="311885" y="3057181"/>
                  <a:pt x="314244" y="3057181"/>
                </a:cubicBezTo>
                <a:cubicBezTo>
                  <a:pt x="321268" y="3057181"/>
                  <a:pt x="319314" y="3111671"/>
                  <a:pt x="311975" y="3120489"/>
                </a:cubicBezTo>
                <a:cubicBezTo>
                  <a:pt x="302206" y="3132227"/>
                  <a:pt x="303689" y="3156344"/>
                  <a:pt x="314431" y="3160411"/>
                </a:cubicBezTo>
                <a:cubicBezTo>
                  <a:pt x="319389" y="3162288"/>
                  <a:pt x="323092" y="3167606"/>
                  <a:pt x="322659" y="3172228"/>
                </a:cubicBezTo>
                <a:cubicBezTo>
                  <a:pt x="320920" y="3190782"/>
                  <a:pt x="323366" y="3196459"/>
                  <a:pt x="333101" y="3196459"/>
                </a:cubicBezTo>
                <a:cubicBezTo>
                  <a:pt x="346142" y="3196459"/>
                  <a:pt x="355695" y="3221025"/>
                  <a:pt x="351673" y="3244221"/>
                </a:cubicBezTo>
                <a:cubicBezTo>
                  <a:pt x="349397" y="3257353"/>
                  <a:pt x="350784" y="3263404"/>
                  <a:pt x="357674" y="3270391"/>
                </a:cubicBezTo>
                <a:cubicBezTo>
                  <a:pt x="368216" y="3281081"/>
                  <a:pt x="369336" y="3294899"/>
                  <a:pt x="360077" y="3300043"/>
                </a:cubicBezTo>
                <a:cubicBezTo>
                  <a:pt x="350697" y="3305254"/>
                  <a:pt x="351979" y="3331760"/>
                  <a:pt x="362263" y="3345235"/>
                </a:cubicBezTo>
                <a:cubicBezTo>
                  <a:pt x="367074" y="3351537"/>
                  <a:pt x="371009" y="3363374"/>
                  <a:pt x="371009" y="3371539"/>
                </a:cubicBezTo>
                <a:cubicBezTo>
                  <a:pt x="371009" y="3383203"/>
                  <a:pt x="368637" y="3386385"/>
                  <a:pt x="359940" y="3386385"/>
                </a:cubicBezTo>
                <a:cubicBezTo>
                  <a:pt x="348442" y="3386385"/>
                  <a:pt x="339041" y="3405778"/>
                  <a:pt x="348358" y="3410274"/>
                </a:cubicBezTo>
                <a:cubicBezTo>
                  <a:pt x="351196" y="3411643"/>
                  <a:pt x="353518" y="3421320"/>
                  <a:pt x="353518" y="3431779"/>
                </a:cubicBezTo>
                <a:cubicBezTo>
                  <a:pt x="353518" y="3446987"/>
                  <a:pt x="356080" y="3452194"/>
                  <a:pt x="366316" y="3457788"/>
                </a:cubicBezTo>
                <a:cubicBezTo>
                  <a:pt x="378646" y="3464526"/>
                  <a:pt x="388501" y="3484868"/>
                  <a:pt x="388501" y="3503581"/>
                </a:cubicBezTo>
                <a:cubicBezTo>
                  <a:pt x="388501" y="3508518"/>
                  <a:pt x="392437" y="3515606"/>
                  <a:pt x="397247" y="3519333"/>
                </a:cubicBezTo>
                <a:cubicBezTo>
                  <a:pt x="402057" y="3523060"/>
                  <a:pt x="405993" y="3531897"/>
                  <a:pt x="405993" y="3538971"/>
                </a:cubicBezTo>
                <a:cubicBezTo>
                  <a:pt x="405993" y="3546044"/>
                  <a:pt x="410912" y="3561170"/>
                  <a:pt x="416925" y="3572583"/>
                </a:cubicBezTo>
                <a:cubicBezTo>
                  <a:pt x="438773" y="3614051"/>
                  <a:pt x="425890" y="3621313"/>
                  <a:pt x="400289" y="3581960"/>
                </a:cubicBezTo>
                <a:cubicBezTo>
                  <a:pt x="391139" y="3567895"/>
                  <a:pt x="379425" y="3544489"/>
                  <a:pt x="374258" y="3529946"/>
                </a:cubicBezTo>
                <a:cubicBezTo>
                  <a:pt x="369091" y="3515404"/>
                  <a:pt x="361327" y="3499784"/>
                  <a:pt x="357004" y="3495233"/>
                </a:cubicBezTo>
                <a:cubicBezTo>
                  <a:pt x="352682" y="3490684"/>
                  <a:pt x="349145" y="3480338"/>
                  <a:pt x="349145" y="3472244"/>
                </a:cubicBezTo>
                <a:cubicBezTo>
                  <a:pt x="349145" y="3462865"/>
                  <a:pt x="343594" y="3451398"/>
                  <a:pt x="333840" y="3440626"/>
                </a:cubicBezTo>
                <a:cubicBezTo>
                  <a:pt x="325355" y="3431258"/>
                  <a:pt x="318534" y="3418093"/>
                  <a:pt x="318534" y="3411084"/>
                </a:cubicBezTo>
                <a:cubicBezTo>
                  <a:pt x="318534" y="3404131"/>
                  <a:pt x="313615" y="3391841"/>
                  <a:pt x="307602" y="3383774"/>
                </a:cubicBezTo>
                <a:cubicBezTo>
                  <a:pt x="301589" y="3375707"/>
                  <a:pt x="296670" y="3365833"/>
                  <a:pt x="296670" y="3361833"/>
                </a:cubicBezTo>
                <a:cubicBezTo>
                  <a:pt x="296670" y="3357832"/>
                  <a:pt x="294210" y="3348528"/>
                  <a:pt x="291204" y="3341156"/>
                </a:cubicBezTo>
                <a:cubicBezTo>
                  <a:pt x="286831" y="3330434"/>
                  <a:pt x="286831" y="3327180"/>
                  <a:pt x="291204" y="3324887"/>
                </a:cubicBezTo>
                <a:cubicBezTo>
                  <a:pt x="297713" y="3321474"/>
                  <a:pt x="298538" y="3293842"/>
                  <a:pt x="292297" y="3288257"/>
                </a:cubicBezTo>
                <a:cubicBezTo>
                  <a:pt x="289891" y="3286105"/>
                  <a:pt x="287924" y="3277123"/>
                  <a:pt x="287924" y="3268298"/>
                </a:cubicBezTo>
                <a:cubicBezTo>
                  <a:pt x="287924" y="3257662"/>
                  <a:pt x="285022" y="3251153"/>
                  <a:pt x="279316" y="3248993"/>
                </a:cubicBezTo>
                <a:cubicBezTo>
                  <a:pt x="271869" y="3246174"/>
                  <a:pt x="270836" y="3240854"/>
                  <a:pt x="271663" y="3209582"/>
                </a:cubicBezTo>
                <a:cubicBezTo>
                  <a:pt x="272576" y="3175025"/>
                  <a:pt x="271877" y="3172444"/>
                  <a:pt x="255824" y="3151135"/>
                </a:cubicBezTo>
                <a:cubicBezTo>
                  <a:pt x="243739" y="3135092"/>
                  <a:pt x="239448" y="3124700"/>
                  <a:pt x="240519" y="3114065"/>
                </a:cubicBezTo>
                <a:cubicBezTo>
                  <a:pt x="242026" y="3099109"/>
                  <a:pt x="262146" y="3077495"/>
                  <a:pt x="275363" y="3076636"/>
                </a:cubicBezTo>
                <a:cubicBezTo>
                  <a:pt x="279277" y="3076381"/>
                  <a:pt x="284521" y="3072612"/>
                  <a:pt x="287016" y="3068260"/>
                </a:cubicBezTo>
                <a:cubicBezTo>
                  <a:pt x="293564" y="3056837"/>
                  <a:pt x="281862" y="3019213"/>
                  <a:pt x="271736" y="3019134"/>
                </a:cubicBezTo>
                <a:cubicBezTo>
                  <a:pt x="267411" y="3019102"/>
                  <a:pt x="256985" y="3007731"/>
                  <a:pt x="248567" y="2993872"/>
                </a:cubicBezTo>
                <a:cubicBezTo>
                  <a:pt x="236873" y="2974617"/>
                  <a:pt x="230028" y="2968658"/>
                  <a:pt x="219553" y="2968611"/>
                </a:cubicBezTo>
                <a:cubicBezTo>
                  <a:pt x="209719" y="2968566"/>
                  <a:pt x="203783" y="2963994"/>
                  <a:pt x="198550" y="2952433"/>
                </a:cubicBezTo>
                <a:cubicBezTo>
                  <a:pt x="188371" y="2929942"/>
                  <a:pt x="193259" y="2911571"/>
                  <a:pt x="209422" y="2911571"/>
                </a:cubicBezTo>
                <a:cubicBezTo>
                  <a:pt x="219680" y="2911571"/>
                  <a:pt x="222747" y="2908178"/>
                  <a:pt x="225158" y="2894161"/>
                </a:cubicBezTo>
                <a:cubicBezTo>
                  <a:pt x="228039" y="2877407"/>
                  <a:pt x="237932" y="2861545"/>
                  <a:pt x="245762" y="2861125"/>
                </a:cubicBezTo>
                <a:cubicBezTo>
                  <a:pt x="247826" y="2861014"/>
                  <a:pt x="248389" y="2867420"/>
                  <a:pt x="247013" y="2875360"/>
                </a:cubicBezTo>
                <a:cubicBezTo>
                  <a:pt x="240820" y="2911084"/>
                  <a:pt x="258686" y="2935855"/>
                  <a:pt x="275118" y="2914326"/>
                </a:cubicBezTo>
                <a:cubicBezTo>
                  <a:pt x="285388" y="2900871"/>
                  <a:pt x="285718" y="2890590"/>
                  <a:pt x="276532" y="2870294"/>
                </a:cubicBezTo>
                <a:cubicBezTo>
                  <a:pt x="269749" y="2855307"/>
                  <a:pt x="269922" y="2854561"/>
                  <a:pt x="281659" y="2848100"/>
                </a:cubicBezTo>
                <a:cubicBezTo>
                  <a:pt x="289097" y="2844006"/>
                  <a:pt x="295037" y="2843007"/>
                  <a:pt x="299116" y="2844933"/>
                </a:cubicBezTo>
                <a:close/>
                <a:moveTo>
                  <a:pt x="4347140" y="2808314"/>
                </a:moveTo>
                <a:cubicBezTo>
                  <a:pt x="4337315" y="2807335"/>
                  <a:pt x="4335235" y="2809562"/>
                  <a:pt x="4335975" y="2820272"/>
                </a:cubicBezTo>
                <a:cubicBezTo>
                  <a:pt x="4336814" y="2832429"/>
                  <a:pt x="4335100" y="2833218"/>
                  <a:pt x="4313472" y="2830622"/>
                </a:cubicBezTo>
                <a:cubicBezTo>
                  <a:pt x="4292375" y="2828089"/>
                  <a:pt x="4289759" y="2829181"/>
                  <a:pt x="4287024" y="2841656"/>
                </a:cubicBezTo>
                <a:cubicBezTo>
                  <a:pt x="4285062" y="2850604"/>
                  <a:pt x="4286448" y="2859434"/>
                  <a:pt x="4290942" y="2866625"/>
                </a:cubicBezTo>
                <a:cubicBezTo>
                  <a:pt x="4298778" y="2879159"/>
                  <a:pt x="4300112" y="2892578"/>
                  <a:pt x="4293523" y="2892578"/>
                </a:cubicBezTo>
                <a:cubicBezTo>
                  <a:pt x="4285230" y="2892578"/>
                  <a:pt x="4289172" y="2910727"/>
                  <a:pt x="4298383" y="2914961"/>
                </a:cubicBezTo>
                <a:cubicBezTo>
                  <a:pt x="4308883" y="2919785"/>
                  <a:pt x="4326494" y="2899832"/>
                  <a:pt x="4316481" y="2894457"/>
                </a:cubicBezTo>
                <a:cubicBezTo>
                  <a:pt x="4307136" y="2889442"/>
                  <a:pt x="4310473" y="2873571"/>
                  <a:pt x="4322232" y="2867098"/>
                </a:cubicBezTo>
                <a:cubicBezTo>
                  <a:pt x="4337564" y="2858659"/>
                  <a:pt x="4336902" y="2858163"/>
                  <a:pt x="4344228" y="2883547"/>
                </a:cubicBezTo>
                <a:cubicBezTo>
                  <a:pt x="4350698" y="2905968"/>
                  <a:pt x="4349183" y="2930563"/>
                  <a:pt x="4341331" y="2930563"/>
                </a:cubicBezTo>
                <a:cubicBezTo>
                  <a:pt x="4336075" y="2930563"/>
                  <a:pt x="4335993" y="2947834"/>
                  <a:pt x="4341235" y="2950611"/>
                </a:cubicBezTo>
                <a:cubicBezTo>
                  <a:pt x="4343426" y="2951772"/>
                  <a:pt x="4345760" y="2964117"/>
                  <a:pt x="4346422" y="2978045"/>
                </a:cubicBezTo>
                <a:cubicBezTo>
                  <a:pt x="4347085" y="2991973"/>
                  <a:pt x="4349414" y="3006834"/>
                  <a:pt x="4351599" y="3011069"/>
                </a:cubicBezTo>
                <a:cubicBezTo>
                  <a:pt x="4353784" y="3015304"/>
                  <a:pt x="4354720" y="3022427"/>
                  <a:pt x="4353681" y="3026896"/>
                </a:cubicBezTo>
                <a:cubicBezTo>
                  <a:pt x="4352641" y="3031366"/>
                  <a:pt x="4354914" y="3038493"/>
                  <a:pt x="4358733" y="3042735"/>
                </a:cubicBezTo>
                <a:cubicBezTo>
                  <a:pt x="4367551" y="3052530"/>
                  <a:pt x="4367318" y="3052543"/>
                  <a:pt x="4374735" y="3041806"/>
                </a:cubicBezTo>
                <a:cubicBezTo>
                  <a:pt x="4381984" y="3031311"/>
                  <a:pt x="4382916" y="3015342"/>
                  <a:pt x="4376609" y="3009699"/>
                </a:cubicBezTo>
                <a:cubicBezTo>
                  <a:pt x="4374203" y="3007547"/>
                  <a:pt x="4372236" y="2993135"/>
                  <a:pt x="4372236" y="2977671"/>
                </a:cubicBezTo>
                <a:cubicBezTo>
                  <a:pt x="4372236" y="2962208"/>
                  <a:pt x="4374203" y="2949556"/>
                  <a:pt x="4376609" y="2949556"/>
                </a:cubicBezTo>
                <a:cubicBezTo>
                  <a:pt x="4382749" y="2949556"/>
                  <a:pt x="4382065" y="2928334"/>
                  <a:pt x="4375625" y="2919010"/>
                </a:cubicBezTo>
                <a:cubicBezTo>
                  <a:pt x="4371800" y="2913473"/>
                  <a:pt x="4371563" y="2908132"/>
                  <a:pt x="4374793" y="2900334"/>
                </a:cubicBezTo>
                <a:cubicBezTo>
                  <a:pt x="4380909" y="2885567"/>
                  <a:pt x="4382369" y="2841931"/>
                  <a:pt x="4376745" y="2841931"/>
                </a:cubicBezTo>
                <a:cubicBezTo>
                  <a:pt x="4374265" y="2841931"/>
                  <a:pt x="4372236" y="2838879"/>
                  <a:pt x="4372236" y="2835149"/>
                </a:cubicBezTo>
                <a:cubicBezTo>
                  <a:pt x="4372236" y="2823118"/>
                  <a:pt x="4359546" y="2809548"/>
                  <a:pt x="4347140" y="2808314"/>
                </a:cubicBezTo>
                <a:close/>
                <a:moveTo>
                  <a:pt x="185194" y="2800466"/>
                </a:moveTo>
                <a:cubicBezTo>
                  <a:pt x="189412" y="2798867"/>
                  <a:pt x="195472" y="2799995"/>
                  <a:pt x="202843" y="2804051"/>
                </a:cubicBezTo>
                <a:cubicBezTo>
                  <a:pt x="212914" y="2809595"/>
                  <a:pt x="214175" y="2812194"/>
                  <a:pt x="209063" y="2816874"/>
                </a:cubicBezTo>
                <a:cubicBezTo>
                  <a:pt x="198483" y="2826562"/>
                  <a:pt x="178601" y="2824192"/>
                  <a:pt x="178601" y="2813244"/>
                </a:cubicBezTo>
                <a:cubicBezTo>
                  <a:pt x="178601" y="2806392"/>
                  <a:pt x="180976" y="2802066"/>
                  <a:pt x="185194" y="2800466"/>
                </a:cubicBezTo>
                <a:close/>
                <a:moveTo>
                  <a:pt x="222256" y="2788186"/>
                </a:moveTo>
                <a:cubicBezTo>
                  <a:pt x="224620" y="2786070"/>
                  <a:pt x="233475" y="2786219"/>
                  <a:pt x="241934" y="2788517"/>
                </a:cubicBezTo>
                <a:cubicBezTo>
                  <a:pt x="255309" y="2792149"/>
                  <a:pt x="257313" y="2795077"/>
                  <a:pt x="257313" y="2810982"/>
                </a:cubicBezTo>
                <a:cubicBezTo>
                  <a:pt x="257313" y="2824652"/>
                  <a:pt x="255240" y="2829270"/>
                  <a:pt x="249103" y="2829270"/>
                </a:cubicBezTo>
                <a:cubicBezTo>
                  <a:pt x="244587" y="2829270"/>
                  <a:pt x="238443" y="2824997"/>
                  <a:pt x="235449" y="2819774"/>
                </a:cubicBezTo>
                <a:cubicBezTo>
                  <a:pt x="232454" y="2814551"/>
                  <a:pt x="227294" y="2810277"/>
                  <a:pt x="223981" y="2810277"/>
                </a:cubicBezTo>
                <a:cubicBezTo>
                  <a:pt x="217082" y="2810277"/>
                  <a:pt x="215807" y="2793955"/>
                  <a:pt x="222256" y="2788186"/>
                </a:cubicBezTo>
                <a:close/>
                <a:moveTo>
                  <a:pt x="4412081" y="2689991"/>
                </a:moveTo>
                <a:cubicBezTo>
                  <a:pt x="4424157" y="2689991"/>
                  <a:pt x="4429546" y="2714850"/>
                  <a:pt x="4428685" y="2766566"/>
                </a:cubicBezTo>
                <a:cubicBezTo>
                  <a:pt x="4427818" y="2818737"/>
                  <a:pt x="4424057" y="2832168"/>
                  <a:pt x="4416240" y="2811021"/>
                </a:cubicBezTo>
                <a:cubicBezTo>
                  <a:pt x="4413745" y="2804271"/>
                  <a:pt x="4410404" y="2774278"/>
                  <a:pt x="4408816" y="2744370"/>
                </a:cubicBezTo>
                <a:cubicBezTo>
                  <a:pt x="4406454" y="2699871"/>
                  <a:pt x="4407047" y="2689991"/>
                  <a:pt x="4412081" y="2689991"/>
                </a:cubicBezTo>
                <a:close/>
                <a:moveTo>
                  <a:pt x="127218" y="2621494"/>
                </a:moveTo>
                <a:cubicBezTo>
                  <a:pt x="145820" y="2625318"/>
                  <a:pt x="141816" y="2670565"/>
                  <a:pt x="122846" y="2670901"/>
                </a:cubicBezTo>
                <a:cubicBezTo>
                  <a:pt x="119358" y="2670964"/>
                  <a:pt x="117380" y="2661676"/>
                  <a:pt x="117380" y="2645235"/>
                </a:cubicBezTo>
                <a:cubicBezTo>
                  <a:pt x="117380" y="2622138"/>
                  <a:pt x="118398" y="2619680"/>
                  <a:pt x="127218" y="2621494"/>
                </a:cubicBezTo>
                <a:close/>
                <a:moveTo>
                  <a:pt x="202062" y="2494799"/>
                </a:moveTo>
                <a:cubicBezTo>
                  <a:pt x="208110" y="2493113"/>
                  <a:pt x="209587" y="2496021"/>
                  <a:pt x="208469" y="2507415"/>
                </a:cubicBezTo>
                <a:cubicBezTo>
                  <a:pt x="207535" y="2516934"/>
                  <a:pt x="210532" y="2526344"/>
                  <a:pt x="216859" y="2533762"/>
                </a:cubicBezTo>
                <a:cubicBezTo>
                  <a:pt x="222273" y="2540108"/>
                  <a:pt x="226703" y="2550221"/>
                  <a:pt x="226703" y="2556236"/>
                </a:cubicBezTo>
                <a:cubicBezTo>
                  <a:pt x="226703" y="2562251"/>
                  <a:pt x="228904" y="2570359"/>
                  <a:pt x="231595" y="2574254"/>
                </a:cubicBezTo>
                <a:cubicBezTo>
                  <a:pt x="235202" y="2579476"/>
                  <a:pt x="234053" y="2592559"/>
                  <a:pt x="227222" y="2624068"/>
                </a:cubicBezTo>
                <a:cubicBezTo>
                  <a:pt x="216136" y="2675200"/>
                  <a:pt x="215791" y="2685838"/>
                  <a:pt x="224867" y="2696743"/>
                </a:cubicBezTo>
                <a:cubicBezTo>
                  <a:pt x="230186" y="2703134"/>
                  <a:pt x="234717" y="2703439"/>
                  <a:pt x="244545" y="2698068"/>
                </a:cubicBezTo>
                <a:cubicBezTo>
                  <a:pt x="256458" y="2691558"/>
                  <a:pt x="257313" y="2692114"/>
                  <a:pt x="257313" y="2706368"/>
                </a:cubicBezTo>
                <a:cubicBezTo>
                  <a:pt x="257313" y="2719409"/>
                  <a:pt x="255216" y="2721645"/>
                  <a:pt x="242983" y="2721645"/>
                </a:cubicBezTo>
                <a:cubicBezTo>
                  <a:pt x="233167" y="2721645"/>
                  <a:pt x="224127" y="2727629"/>
                  <a:pt x="214289" y="2740638"/>
                </a:cubicBezTo>
                <a:cubicBezTo>
                  <a:pt x="193758" y="2767786"/>
                  <a:pt x="187346" y="2765651"/>
                  <a:pt x="187346" y="2731669"/>
                </a:cubicBezTo>
                <a:cubicBezTo>
                  <a:pt x="187346" y="2716208"/>
                  <a:pt x="185096" y="2702622"/>
                  <a:pt x="182313" y="2701279"/>
                </a:cubicBezTo>
                <a:cubicBezTo>
                  <a:pt x="179544" y="2699942"/>
                  <a:pt x="176345" y="2682559"/>
                  <a:pt x="175205" y="2662649"/>
                </a:cubicBezTo>
                <a:cubicBezTo>
                  <a:pt x="174064" y="2642739"/>
                  <a:pt x="171410" y="2624909"/>
                  <a:pt x="169307" y="2623027"/>
                </a:cubicBezTo>
                <a:cubicBezTo>
                  <a:pt x="167203" y="2621144"/>
                  <a:pt x="165482" y="2611226"/>
                  <a:pt x="165482" y="2600985"/>
                </a:cubicBezTo>
                <a:cubicBezTo>
                  <a:pt x="165482" y="2585465"/>
                  <a:pt x="167258" y="2582366"/>
                  <a:pt x="176156" y="2582366"/>
                </a:cubicBezTo>
                <a:cubicBezTo>
                  <a:pt x="190305" y="2582366"/>
                  <a:pt x="193356" y="2573656"/>
                  <a:pt x="193816" y="2531949"/>
                </a:cubicBezTo>
                <a:cubicBezTo>
                  <a:pt x="194128" y="2503601"/>
                  <a:pt x="195688" y="2496576"/>
                  <a:pt x="202062" y="2494799"/>
                </a:cubicBezTo>
                <a:close/>
                <a:moveTo>
                  <a:pt x="154003" y="2487403"/>
                </a:moveTo>
                <a:cubicBezTo>
                  <a:pt x="160250" y="2487403"/>
                  <a:pt x="165482" y="2513730"/>
                  <a:pt x="165482" y="2545173"/>
                </a:cubicBezTo>
                <a:cubicBezTo>
                  <a:pt x="165482" y="2564737"/>
                  <a:pt x="159039" y="2567728"/>
                  <a:pt x="140337" y="2556845"/>
                </a:cubicBezTo>
                <a:cubicBezTo>
                  <a:pt x="128127" y="2549740"/>
                  <a:pt x="127849" y="2541455"/>
                  <a:pt x="139428" y="2529713"/>
                </a:cubicBezTo>
                <a:cubicBezTo>
                  <a:pt x="144340" y="2524732"/>
                  <a:pt x="148043" y="2518161"/>
                  <a:pt x="147656" y="2515110"/>
                </a:cubicBezTo>
                <a:cubicBezTo>
                  <a:pt x="145740" y="2499961"/>
                  <a:pt x="148616" y="2487403"/>
                  <a:pt x="154003" y="2487403"/>
                </a:cubicBezTo>
                <a:close/>
                <a:moveTo>
                  <a:pt x="4489212" y="2459669"/>
                </a:moveTo>
                <a:cubicBezTo>
                  <a:pt x="4506938" y="2465803"/>
                  <a:pt x="4507796" y="2467224"/>
                  <a:pt x="4507796" y="2490415"/>
                </a:cubicBezTo>
                <a:cubicBezTo>
                  <a:pt x="4507796" y="2502106"/>
                  <a:pt x="4510118" y="2512793"/>
                  <a:pt x="4512956" y="2514162"/>
                </a:cubicBezTo>
                <a:cubicBezTo>
                  <a:pt x="4516322" y="2515787"/>
                  <a:pt x="4516842" y="2520920"/>
                  <a:pt x="4514448" y="2528934"/>
                </a:cubicBezTo>
                <a:cubicBezTo>
                  <a:pt x="4512431" y="2535689"/>
                  <a:pt x="4511135" y="2543535"/>
                  <a:pt x="4511569" y="2546369"/>
                </a:cubicBezTo>
                <a:cubicBezTo>
                  <a:pt x="4512002" y="2549203"/>
                  <a:pt x="4510191" y="2563161"/>
                  <a:pt x="4507545" y="2577386"/>
                </a:cubicBezTo>
                <a:cubicBezTo>
                  <a:pt x="4503120" y="2601177"/>
                  <a:pt x="4503569" y="2604315"/>
                  <a:pt x="4513150" y="2616549"/>
                </a:cubicBezTo>
                <a:cubicBezTo>
                  <a:pt x="4518879" y="2623863"/>
                  <a:pt x="4527279" y="2632901"/>
                  <a:pt x="4531819" y="2636631"/>
                </a:cubicBezTo>
                <a:cubicBezTo>
                  <a:pt x="4536358" y="2640362"/>
                  <a:pt x="4541899" y="2651342"/>
                  <a:pt x="4544130" y="2661031"/>
                </a:cubicBezTo>
                <a:cubicBezTo>
                  <a:pt x="4547409" y="2675279"/>
                  <a:pt x="4546498" y="2681091"/>
                  <a:pt x="4539364" y="2691419"/>
                </a:cubicBezTo>
                <a:cubicBezTo>
                  <a:pt x="4529460" y="2705758"/>
                  <a:pt x="4520915" y="2701899"/>
                  <a:pt x="4520915" y="2683088"/>
                </a:cubicBezTo>
                <a:cubicBezTo>
                  <a:pt x="4520915" y="2676220"/>
                  <a:pt x="4517964" y="2668962"/>
                  <a:pt x="4514355" y="2666957"/>
                </a:cubicBezTo>
                <a:cubicBezTo>
                  <a:pt x="4510748" y="2664953"/>
                  <a:pt x="4507796" y="2656729"/>
                  <a:pt x="4507796" y="2648681"/>
                </a:cubicBezTo>
                <a:cubicBezTo>
                  <a:pt x="4507796" y="2612677"/>
                  <a:pt x="4491969" y="2602005"/>
                  <a:pt x="4476606" y="2627651"/>
                </a:cubicBezTo>
                <a:cubicBezTo>
                  <a:pt x="4467602" y="2642680"/>
                  <a:pt x="4466499" y="2649522"/>
                  <a:pt x="4472248" y="2654666"/>
                </a:cubicBezTo>
                <a:cubicBezTo>
                  <a:pt x="4474343" y="2656540"/>
                  <a:pt x="4477189" y="2666270"/>
                  <a:pt x="4478572" y="2676289"/>
                </a:cubicBezTo>
                <a:cubicBezTo>
                  <a:pt x="4481394" y="2696713"/>
                  <a:pt x="4501448" y="2712864"/>
                  <a:pt x="4516779" y="2707060"/>
                </a:cubicBezTo>
                <a:cubicBezTo>
                  <a:pt x="4528708" y="2702543"/>
                  <a:pt x="4532889" y="2718650"/>
                  <a:pt x="4523632" y="2733459"/>
                </a:cubicBezTo>
                <a:cubicBezTo>
                  <a:pt x="4519041" y="2740804"/>
                  <a:pt x="4516542" y="2756205"/>
                  <a:pt x="4516542" y="2777165"/>
                </a:cubicBezTo>
                <a:cubicBezTo>
                  <a:pt x="4516542" y="2814008"/>
                  <a:pt x="4512711" y="2820860"/>
                  <a:pt x="4500806" y="2805311"/>
                </a:cubicBezTo>
                <a:lnTo>
                  <a:pt x="4500806" y="2805310"/>
                </a:lnTo>
                <a:cubicBezTo>
                  <a:pt x="4496233" y="2799337"/>
                  <a:pt x="4490031" y="2794165"/>
                  <a:pt x="4487024" y="2793817"/>
                </a:cubicBezTo>
                <a:cubicBezTo>
                  <a:pt x="4484019" y="2793469"/>
                  <a:pt x="4478608" y="2792757"/>
                  <a:pt x="4475000" y="2792234"/>
                </a:cubicBezTo>
                <a:cubicBezTo>
                  <a:pt x="4471093" y="2791669"/>
                  <a:pt x="4468440" y="2784883"/>
                  <a:pt x="4468440" y="2775457"/>
                </a:cubicBezTo>
                <a:cubicBezTo>
                  <a:pt x="4468440" y="2766753"/>
                  <a:pt x="4466472" y="2759630"/>
                  <a:pt x="4464067" y="2759630"/>
                </a:cubicBezTo>
                <a:cubicBezTo>
                  <a:pt x="4461662" y="2759630"/>
                  <a:pt x="4459694" y="2754101"/>
                  <a:pt x="4459694" y="2747342"/>
                </a:cubicBezTo>
                <a:cubicBezTo>
                  <a:pt x="4459694" y="2740584"/>
                  <a:pt x="4461662" y="2733293"/>
                  <a:pt x="4464067" y="2731141"/>
                </a:cubicBezTo>
                <a:cubicBezTo>
                  <a:pt x="4470062" y="2725778"/>
                  <a:pt x="4469618" y="2689991"/>
                  <a:pt x="4463558" y="2689991"/>
                </a:cubicBezTo>
                <a:cubicBezTo>
                  <a:pt x="4460828" y="2689991"/>
                  <a:pt x="4459682" y="2684408"/>
                  <a:pt x="4460961" y="2677329"/>
                </a:cubicBezTo>
                <a:cubicBezTo>
                  <a:pt x="4462219" y="2670365"/>
                  <a:pt x="4461465" y="2664667"/>
                  <a:pt x="4459285" y="2664667"/>
                </a:cubicBezTo>
                <a:cubicBezTo>
                  <a:pt x="4457105" y="2664667"/>
                  <a:pt x="4455321" y="2648666"/>
                  <a:pt x="4455321" y="2629110"/>
                </a:cubicBezTo>
                <a:cubicBezTo>
                  <a:pt x="4455321" y="2595782"/>
                  <a:pt x="4455915" y="2593776"/>
                  <a:pt x="4464775" y="2597130"/>
                </a:cubicBezTo>
                <a:cubicBezTo>
                  <a:pt x="4485373" y="2604929"/>
                  <a:pt x="4498727" y="2574663"/>
                  <a:pt x="4484058" y="2553425"/>
                </a:cubicBezTo>
                <a:cubicBezTo>
                  <a:pt x="4476151" y="2541978"/>
                  <a:pt x="4473076" y="2542075"/>
                  <a:pt x="4463930" y="2554058"/>
                </a:cubicBezTo>
                <a:cubicBezTo>
                  <a:pt x="4453905" y="2567191"/>
                  <a:pt x="4440547" y="2559078"/>
                  <a:pt x="4417058" y="2525589"/>
                </a:cubicBezTo>
                <a:cubicBezTo>
                  <a:pt x="4405156" y="2508619"/>
                  <a:pt x="4398473" y="2493472"/>
                  <a:pt x="4398473" y="2483464"/>
                </a:cubicBezTo>
                <a:cubicBezTo>
                  <a:pt x="4398473" y="2469034"/>
                  <a:pt x="4399645" y="2468156"/>
                  <a:pt x="4413779" y="2471995"/>
                </a:cubicBezTo>
                <a:cubicBezTo>
                  <a:pt x="4423811" y="2474719"/>
                  <a:pt x="4429084" y="2473727"/>
                  <a:pt x="4429084" y="2469116"/>
                </a:cubicBezTo>
                <a:cubicBezTo>
                  <a:pt x="4429084" y="2457459"/>
                  <a:pt x="4442832" y="2461193"/>
                  <a:pt x="4451173" y="2475117"/>
                </a:cubicBezTo>
                <a:cubicBezTo>
                  <a:pt x="4457941" y="2486414"/>
                  <a:pt x="4460198" y="2487055"/>
                  <a:pt x="4468085" y="2479925"/>
                </a:cubicBezTo>
                <a:cubicBezTo>
                  <a:pt x="4473091" y="2475399"/>
                  <a:pt x="4477186" y="2468054"/>
                  <a:pt x="4477186" y="2463602"/>
                </a:cubicBezTo>
                <a:cubicBezTo>
                  <a:pt x="4477186" y="2457984"/>
                  <a:pt x="4480865" y="2456781"/>
                  <a:pt x="4489212" y="2459669"/>
                </a:cubicBezTo>
                <a:close/>
                <a:moveTo>
                  <a:pt x="7746" y="2436756"/>
                </a:moveTo>
                <a:cubicBezTo>
                  <a:pt x="16623" y="2436756"/>
                  <a:pt x="17123" y="2439343"/>
                  <a:pt x="15909" y="2478985"/>
                </a:cubicBezTo>
                <a:cubicBezTo>
                  <a:pt x="15090" y="2505722"/>
                  <a:pt x="12610" y="2522174"/>
                  <a:pt x="9149" y="2523829"/>
                </a:cubicBezTo>
                <a:cubicBezTo>
                  <a:pt x="5287" y="2525677"/>
                  <a:pt x="3666" y="2517470"/>
                  <a:pt x="3624" y="2495844"/>
                </a:cubicBezTo>
                <a:cubicBezTo>
                  <a:pt x="3589" y="2479015"/>
                  <a:pt x="2378" y="2458836"/>
                  <a:pt x="927" y="2451001"/>
                </a:cubicBezTo>
                <a:cubicBezTo>
                  <a:pt x="-1212" y="2439444"/>
                  <a:pt x="75" y="2436756"/>
                  <a:pt x="7746" y="2436756"/>
                </a:cubicBezTo>
                <a:close/>
                <a:moveTo>
                  <a:pt x="4451449" y="2180169"/>
                </a:moveTo>
                <a:cubicBezTo>
                  <a:pt x="4454310" y="2178602"/>
                  <a:pt x="4458375" y="2179294"/>
                  <a:pt x="4461168" y="2183599"/>
                </a:cubicBezTo>
                <a:cubicBezTo>
                  <a:pt x="4465043" y="2189569"/>
                  <a:pt x="4464951" y="2192127"/>
                  <a:pt x="4460788" y="2194337"/>
                </a:cubicBezTo>
                <a:cubicBezTo>
                  <a:pt x="4457782" y="2195933"/>
                  <a:pt x="4455322" y="2206973"/>
                  <a:pt x="4455322" y="2218869"/>
                </a:cubicBezTo>
                <a:cubicBezTo>
                  <a:pt x="4455322" y="2230767"/>
                  <a:pt x="4453354" y="2240500"/>
                  <a:pt x="4450949" y="2240500"/>
                </a:cubicBezTo>
                <a:cubicBezTo>
                  <a:pt x="4444202" y="2240500"/>
                  <a:pt x="4445778" y="2263314"/>
                  <a:pt x="4453135" y="2272154"/>
                </a:cubicBezTo>
                <a:cubicBezTo>
                  <a:pt x="4461664" y="2282403"/>
                  <a:pt x="4461501" y="2295119"/>
                  <a:pt x="4452776" y="2299966"/>
                </a:cubicBezTo>
                <a:cubicBezTo>
                  <a:pt x="4448972" y="2302079"/>
                  <a:pt x="4445529" y="2303584"/>
                  <a:pt x="4445124" y="2303309"/>
                </a:cubicBezTo>
                <a:cubicBezTo>
                  <a:pt x="4444722" y="2303034"/>
                  <a:pt x="4441928" y="2301372"/>
                  <a:pt x="4438922" y="2299616"/>
                </a:cubicBezTo>
                <a:lnTo>
                  <a:pt x="4438923" y="2299616"/>
                </a:lnTo>
                <a:cubicBezTo>
                  <a:pt x="4431949" y="2295542"/>
                  <a:pt x="4431791" y="2258106"/>
                  <a:pt x="4438704" y="2248097"/>
                </a:cubicBezTo>
                <a:cubicBezTo>
                  <a:pt x="4442786" y="2242188"/>
                  <a:pt x="4442786" y="2240500"/>
                  <a:pt x="4438704" y="2240500"/>
                </a:cubicBezTo>
                <a:cubicBezTo>
                  <a:pt x="4435818" y="2240500"/>
                  <a:pt x="4433457" y="2234802"/>
                  <a:pt x="4433457" y="2227838"/>
                </a:cubicBezTo>
                <a:cubicBezTo>
                  <a:pt x="4433457" y="2220875"/>
                  <a:pt x="4435424" y="2215176"/>
                  <a:pt x="4437830" y="2215176"/>
                </a:cubicBezTo>
                <a:cubicBezTo>
                  <a:pt x="4440235" y="2215176"/>
                  <a:pt x="4442203" y="2210903"/>
                  <a:pt x="4442203" y="2205680"/>
                </a:cubicBezTo>
                <a:cubicBezTo>
                  <a:pt x="4442203" y="2200458"/>
                  <a:pt x="4444287" y="2196184"/>
                  <a:pt x="4446833" y="2196184"/>
                </a:cubicBezTo>
                <a:cubicBezTo>
                  <a:pt x="4449381" y="2196184"/>
                  <a:pt x="4450332" y="2193532"/>
                  <a:pt x="4448948" y="2190290"/>
                </a:cubicBezTo>
                <a:cubicBezTo>
                  <a:pt x="4446930" y="2185561"/>
                  <a:pt x="4448588" y="2181735"/>
                  <a:pt x="4451449" y="2180169"/>
                </a:cubicBezTo>
                <a:close/>
                <a:moveTo>
                  <a:pt x="34606" y="2069567"/>
                </a:moveTo>
                <a:cubicBezTo>
                  <a:pt x="41993" y="2069567"/>
                  <a:pt x="50608" y="2073128"/>
                  <a:pt x="53749" y="2077480"/>
                </a:cubicBezTo>
                <a:cubicBezTo>
                  <a:pt x="56890" y="2081833"/>
                  <a:pt x="63637" y="2089584"/>
                  <a:pt x="68742" y="2094705"/>
                </a:cubicBezTo>
                <a:cubicBezTo>
                  <a:pt x="73846" y="2099827"/>
                  <a:pt x="78086" y="2108373"/>
                  <a:pt x="78162" y="2113698"/>
                </a:cubicBezTo>
                <a:cubicBezTo>
                  <a:pt x="78239" y="2119023"/>
                  <a:pt x="81191" y="2128909"/>
                  <a:pt x="84722" y="2135668"/>
                </a:cubicBezTo>
                <a:cubicBezTo>
                  <a:pt x="88253" y="2142427"/>
                  <a:pt x="91142" y="2152969"/>
                  <a:pt x="91142" y="2159094"/>
                </a:cubicBezTo>
                <a:cubicBezTo>
                  <a:pt x="91142" y="2165220"/>
                  <a:pt x="94520" y="2172968"/>
                  <a:pt x="98649" y="2176313"/>
                </a:cubicBezTo>
                <a:cubicBezTo>
                  <a:pt x="105049" y="2181498"/>
                  <a:pt x="105348" y="2184580"/>
                  <a:pt x="100678" y="2197213"/>
                </a:cubicBezTo>
                <a:cubicBezTo>
                  <a:pt x="97665" y="2205363"/>
                  <a:pt x="94779" y="2224821"/>
                  <a:pt x="94264" y="2240455"/>
                </a:cubicBezTo>
                <a:cubicBezTo>
                  <a:pt x="93470" y="2264584"/>
                  <a:pt x="94825" y="2269837"/>
                  <a:pt x="103228" y="2275221"/>
                </a:cubicBezTo>
                <a:cubicBezTo>
                  <a:pt x="108672" y="2278708"/>
                  <a:pt x="112240" y="2284908"/>
                  <a:pt x="111157" y="2288996"/>
                </a:cubicBezTo>
                <a:cubicBezTo>
                  <a:pt x="110073" y="2293084"/>
                  <a:pt x="111871" y="2297922"/>
                  <a:pt x="115154" y="2299745"/>
                </a:cubicBezTo>
                <a:cubicBezTo>
                  <a:pt x="119360" y="2302082"/>
                  <a:pt x="120743" y="2312515"/>
                  <a:pt x="119839" y="2335089"/>
                </a:cubicBezTo>
                <a:cubicBezTo>
                  <a:pt x="119133" y="2352705"/>
                  <a:pt x="119767" y="2367139"/>
                  <a:pt x="121247" y="2367166"/>
                </a:cubicBezTo>
                <a:cubicBezTo>
                  <a:pt x="127529" y="2367282"/>
                  <a:pt x="134871" y="2403761"/>
                  <a:pt x="134871" y="2434853"/>
                </a:cubicBezTo>
                <a:cubicBezTo>
                  <a:pt x="134871" y="2471186"/>
                  <a:pt x="136638" y="2469452"/>
                  <a:pt x="105354" y="2463831"/>
                </a:cubicBezTo>
                <a:cubicBezTo>
                  <a:pt x="92947" y="2461602"/>
                  <a:pt x="91142" y="2458917"/>
                  <a:pt x="91142" y="2442687"/>
                </a:cubicBezTo>
                <a:cubicBezTo>
                  <a:pt x="91142" y="2432461"/>
                  <a:pt x="89019" y="2424095"/>
                  <a:pt x="86424" y="2424095"/>
                </a:cubicBezTo>
                <a:cubicBezTo>
                  <a:pt x="83339" y="2424095"/>
                  <a:pt x="82204" y="2407647"/>
                  <a:pt x="83144" y="2376598"/>
                </a:cubicBezTo>
                <a:cubicBezTo>
                  <a:pt x="83935" y="2350476"/>
                  <a:pt x="83105" y="2329109"/>
                  <a:pt x="81303" y="2329117"/>
                </a:cubicBezTo>
                <a:cubicBezTo>
                  <a:pt x="79499" y="2329123"/>
                  <a:pt x="78023" y="2308310"/>
                  <a:pt x="78023" y="2282860"/>
                </a:cubicBezTo>
                <a:cubicBezTo>
                  <a:pt x="78023" y="2233532"/>
                  <a:pt x="74047" y="2219757"/>
                  <a:pt x="56084" y="2206845"/>
                </a:cubicBezTo>
                <a:cubicBezTo>
                  <a:pt x="46323" y="2199829"/>
                  <a:pt x="45006" y="2194261"/>
                  <a:pt x="43040" y="2151714"/>
                </a:cubicBezTo>
                <a:cubicBezTo>
                  <a:pt x="41048" y="2108581"/>
                  <a:pt x="39981" y="2104207"/>
                  <a:pt x="31014" y="2102364"/>
                </a:cubicBezTo>
                <a:cubicBezTo>
                  <a:pt x="23893" y="2100899"/>
                  <a:pt x="21175" y="2096091"/>
                  <a:pt x="21175" y="2084954"/>
                </a:cubicBezTo>
                <a:cubicBezTo>
                  <a:pt x="21175" y="2071998"/>
                  <a:pt x="23298" y="2069567"/>
                  <a:pt x="34606" y="2069567"/>
                </a:cubicBezTo>
                <a:close/>
                <a:moveTo>
                  <a:pt x="4460614" y="2037913"/>
                </a:moveTo>
                <a:cubicBezTo>
                  <a:pt x="4468293" y="2037913"/>
                  <a:pt x="4468881" y="2040781"/>
                  <a:pt x="4466134" y="2064819"/>
                </a:cubicBezTo>
                <a:cubicBezTo>
                  <a:pt x="4462464" y="2096925"/>
                  <a:pt x="4460963" y="2101221"/>
                  <a:pt x="4453412" y="2101221"/>
                </a:cubicBezTo>
                <a:cubicBezTo>
                  <a:pt x="4450241" y="2101221"/>
                  <a:pt x="4445196" y="2105495"/>
                  <a:pt x="4442203" y="2110717"/>
                </a:cubicBezTo>
                <a:cubicBezTo>
                  <a:pt x="4439209" y="2115941"/>
                  <a:pt x="4435031" y="2120214"/>
                  <a:pt x="4432921" y="2120214"/>
                </a:cubicBezTo>
                <a:cubicBezTo>
                  <a:pt x="4430811" y="2120214"/>
                  <a:pt x="4429084" y="2115941"/>
                  <a:pt x="4429084" y="2110717"/>
                </a:cubicBezTo>
                <a:cubicBezTo>
                  <a:pt x="4429084" y="2105495"/>
                  <a:pt x="4427116" y="2101221"/>
                  <a:pt x="4424711" y="2101221"/>
                </a:cubicBezTo>
                <a:cubicBezTo>
                  <a:pt x="4422306" y="2101221"/>
                  <a:pt x="4420338" y="2097185"/>
                  <a:pt x="4420338" y="2092252"/>
                </a:cubicBezTo>
                <a:cubicBezTo>
                  <a:pt x="4420338" y="2087320"/>
                  <a:pt x="4418016" y="2082163"/>
                  <a:pt x="4415178" y="2080794"/>
                </a:cubicBezTo>
                <a:cubicBezTo>
                  <a:pt x="4404971" y="2075869"/>
                  <a:pt x="4415475" y="2056905"/>
                  <a:pt x="4428412" y="2056905"/>
                </a:cubicBezTo>
                <a:cubicBezTo>
                  <a:pt x="4435408" y="2056905"/>
                  <a:pt x="4443582" y="2052632"/>
                  <a:pt x="4446576" y="2047409"/>
                </a:cubicBezTo>
                <a:cubicBezTo>
                  <a:pt x="4449569" y="2042186"/>
                  <a:pt x="4455887" y="2037913"/>
                  <a:pt x="4460614" y="2037913"/>
                </a:cubicBezTo>
                <a:close/>
                <a:moveTo>
                  <a:pt x="103803" y="1997172"/>
                </a:moveTo>
                <a:cubicBezTo>
                  <a:pt x="108304" y="1993144"/>
                  <a:pt x="113732" y="2009429"/>
                  <a:pt x="109790" y="2015136"/>
                </a:cubicBezTo>
                <a:cubicBezTo>
                  <a:pt x="105098" y="2021929"/>
                  <a:pt x="99888" y="2019120"/>
                  <a:pt x="99888" y="2009798"/>
                </a:cubicBezTo>
                <a:cubicBezTo>
                  <a:pt x="99888" y="2004780"/>
                  <a:pt x="101649" y="1999099"/>
                  <a:pt x="103803" y="1997172"/>
                </a:cubicBezTo>
                <a:close/>
                <a:moveTo>
                  <a:pt x="4417411" y="1842865"/>
                </a:moveTo>
                <a:cubicBezTo>
                  <a:pt x="4426211" y="1841865"/>
                  <a:pt x="4436219" y="1843425"/>
                  <a:pt x="4440321" y="1848354"/>
                </a:cubicBezTo>
                <a:cubicBezTo>
                  <a:pt x="4444542" y="1853425"/>
                  <a:pt x="4446576" y="1868924"/>
                  <a:pt x="4446576" y="1896026"/>
                </a:cubicBezTo>
                <a:cubicBezTo>
                  <a:pt x="4446576" y="1932005"/>
                  <a:pt x="4445226" y="1938181"/>
                  <a:pt x="4433604" y="1955393"/>
                </a:cubicBezTo>
                <a:cubicBezTo>
                  <a:pt x="4420486" y="1974823"/>
                  <a:pt x="4415431" y="1978051"/>
                  <a:pt x="4410134" y="1970383"/>
                </a:cubicBezTo>
                <a:cubicBezTo>
                  <a:pt x="4408531" y="1968063"/>
                  <a:pt x="4407219" y="1958295"/>
                  <a:pt x="4407219" y="1948678"/>
                </a:cubicBezTo>
                <a:cubicBezTo>
                  <a:pt x="4407219" y="1939061"/>
                  <a:pt x="4404268" y="1926919"/>
                  <a:pt x="4400659" y="1921696"/>
                </a:cubicBezTo>
                <a:cubicBezTo>
                  <a:pt x="4393356" y="1911121"/>
                  <a:pt x="4391547" y="1860649"/>
                  <a:pt x="4398473" y="1860649"/>
                </a:cubicBezTo>
                <a:cubicBezTo>
                  <a:pt x="4400878" y="1860649"/>
                  <a:pt x="4402354" y="1857087"/>
                  <a:pt x="4401754" y="1852735"/>
                </a:cubicBezTo>
                <a:cubicBezTo>
                  <a:pt x="4401020" y="1847424"/>
                  <a:pt x="4408611" y="1843865"/>
                  <a:pt x="4417411" y="1842865"/>
                </a:cubicBezTo>
                <a:close/>
                <a:moveTo>
                  <a:pt x="4344905" y="1614950"/>
                </a:moveTo>
                <a:cubicBezTo>
                  <a:pt x="4349115" y="1616124"/>
                  <a:pt x="4352557" y="1621279"/>
                  <a:pt x="4352557" y="1626407"/>
                </a:cubicBezTo>
                <a:cubicBezTo>
                  <a:pt x="4352557" y="1631535"/>
                  <a:pt x="4349115" y="1636690"/>
                  <a:pt x="4344905" y="1637863"/>
                </a:cubicBezTo>
                <a:cubicBezTo>
                  <a:pt x="4339535" y="1639360"/>
                  <a:pt x="4337253" y="1635942"/>
                  <a:pt x="4337253" y="1626407"/>
                </a:cubicBezTo>
                <a:cubicBezTo>
                  <a:pt x="4337253" y="1616872"/>
                  <a:pt x="4339535" y="1613453"/>
                  <a:pt x="4344905" y="1614950"/>
                </a:cubicBezTo>
                <a:close/>
                <a:moveTo>
                  <a:pt x="4204363" y="1582188"/>
                </a:moveTo>
                <a:cubicBezTo>
                  <a:pt x="4197064" y="1582102"/>
                  <a:pt x="4196393" y="1585598"/>
                  <a:pt x="4198605" y="1612163"/>
                </a:cubicBezTo>
                <a:cubicBezTo>
                  <a:pt x="4200911" y="1639834"/>
                  <a:pt x="4214478" y="1693454"/>
                  <a:pt x="4221888" y="1704182"/>
                </a:cubicBezTo>
                <a:cubicBezTo>
                  <a:pt x="4226089" y="1710263"/>
                  <a:pt x="4227977" y="1709597"/>
                  <a:pt x="4243234" y="1696654"/>
                </a:cubicBezTo>
                <a:cubicBezTo>
                  <a:pt x="4250450" y="1690534"/>
                  <a:pt x="4257024" y="1680517"/>
                  <a:pt x="4257843" y="1674394"/>
                </a:cubicBezTo>
                <a:cubicBezTo>
                  <a:pt x="4259456" y="1662329"/>
                  <a:pt x="4242669" y="1632479"/>
                  <a:pt x="4235464" y="1634601"/>
                </a:cubicBezTo>
                <a:cubicBezTo>
                  <a:pt x="4233031" y="1635317"/>
                  <a:pt x="4229173" y="1625936"/>
                  <a:pt x="4226892" y="1613755"/>
                </a:cubicBezTo>
                <a:cubicBezTo>
                  <a:pt x="4222385" y="1589697"/>
                  <a:pt x="4217133" y="1582337"/>
                  <a:pt x="4204363" y="1582188"/>
                </a:cubicBezTo>
                <a:close/>
                <a:moveTo>
                  <a:pt x="4407219" y="1487128"/>
                </a:moveTo>
                <a:cubicBezTo>
                  <a:pt x="4409624" y="1487128"/>
                  <a:pt x="4411592" y="1491402"/>
                  <a:pt x="4411592" y="1496625"/>
                </a:cubicBezTo>
                <a:cubicBezTo>
                  <a:pt x="4411592" y="1501848"/>
                  <a:pt x="4409624" y="1506120"/>
                  <a:pt x="4407219" y="1506120"/>
                </a:cubicBezTo>
                <a:cubicBezTo>
                  <a:pt x="4404814" y="1506120"/>
                  <a:pt x="4402846" y="1501848"/>
                  <a:pt x="4402846" y="1496625"/>
                </a:cubicBezTo>
                <a:cubicBezTo>
                  <a:pt x="4402846" y="1491402"/>
                  <a:pt x="4404814" y="1487128"/>
                  <a:pt x="4407219" y="1487128"/>
                </a:cubicBezTo>
                <a:close/>
                <a:moveTo>
                  <a:pt x="4317718" y="1474466"/>
                </a:moveTo>
                <a:cubicBezTo>
                  <a:pt x="4321431" y="1474466"/>
                  <a:pt x="4345998" y="1512422"/>
                  <a:pt x="4345998" y="1518157"/>
                </a:cubicBezTo>
                <a:cubicBezTo>
                  <a:pt x="4345998" y="1527487"/>
                  <a:pt x="4336171" y="1526974"/>
                  <a:pt x="4327663" y="1517200"/>
                </a:cubicBezTo>
                <a:cubicBezTo>
                  <a:pt x="4322087" y="1510793"/>
                  <a:pt x="4313633" y="1474466"/>
                  <a:pt x="4317718" y="1474466"/>
                </a:cubicBezTo>
                <a:close/>
                <a:moveTo>
                  <a:pt x="4293987" y="1306730"/>
                </a:moveTo>
                <a:cubicBezTo>
                  <a:pt x="4296786" y="1305175"/>
                  <a:pt x="4300348" y="1306376"/>
                  <a:pt x="4303395" y="1311043"/>
                </a:cubicBezTo>
                <a:cubicBezTo>
                  <a:pt x="4314481" y="1328015"/>
                  <a:pt x="4320345" y="1352557"/>
                  <a:pt x="4318980" y="1376275"/>
                </a:cubicBezTo>
                <a:cubicBezTo>
                  <a:pt x="4317138" y="1408262"/>
                  <a:pt x="4308655" y="1411397"/>
                  <a:pt x="4300491" y="1383107"/>
                </a:cubicBezTo>
                <a:cubicBezTo>
                  <a:pt x="4296020" y="1367613"/>
                  <a:pt x="4291151" y="1360511"/>
                  <a:pt x="4285001" y="1360511"/>
                </a:cubicBezTo>
                <a:cubicBezTo>
                  <a:pt x="4274509" y="1360511"/>
                  <a:pt x="4273177" y="1346499"/>
                  <a:pt x="4282590" y="1335187"/>
                </a:cubicBezTo>
                <a:cubicBezTo>
                  <a:pt x="4286199" y="1330853"/>
                  <a:pt x="4289150" y="1323550"/>
                  <a:pt x="4289150" y="1318959"/>
                </a:cubicBezTo>
                <a:cubicBezTo>
                  <a:pt x="4289150" y="1312598"/>
                  <a:pt x="4291188" y="1308286"/>
                  <a:pt x="4293987" y="1306730"/>
                </a:cubicBezTo>
                <a:close/>
                <a:moveTo>
                  <a:pt x="4289150" y="1180082"/>
                </a:moveTo>
                <a:cubicBezTo>
                  <a:pt x="4291556" y="1177930"/>
                  <a:pt x="4293523" y="1180610"/>
                  <a:pt x="4293523" y="1186038"/>
                </a:cubicBezTo>
                <a:cubicBezTo>
                  <a:pt x="4293523" y="1191467"/>
                  <a:pt x="4291556" y="1195908"/>
                  <a:pt x="4289150" y="1195908"/>
                </a:cubicBezTo>
                <a:cubicBezTo>
                  <a:pt x="4286745" y="1195908"/>
                  <a:pt x="4284778" y="1193228"/>
                  <a:pt x="4284778" y="1189951"/>
                </a:cubicBezTo>
                <a:cubicBezTo>
                  <a:pt x="4284778" y="1186675"/>
                  <a:pt x="4286745" y="1182233"/>
                  <a:pt x="4289150" y="1180082"/>
                </a:cubicBezTo>
                <a:close/>
                <a:moveTo>
                  <a:pt x="4345236" y="1176916"/>
                </a:moveTo>
                <a:cubicBezTo>
                  <a:pt x="4356140" y="1176916"/>
                  <a:pt x="4373988" y="1205488"/>
                  <a:pt x="4370740" y="1217745"/>
                </a:cubicBezTo>
                <a:cubicBezTo>
                  <a:pt x="4367336" y="1230589"/>
                  <a:pt x="4345998" y="1230866"/>
                  <a:pt x="4345998" y="1218067"/>
                </a:cubicBezTo>
                <a:cubicBezTo>
                  <a:pt x="4345998" y="1212843"/>
                  <a:pt x="4344031" y="1208570"/>
                  <a:pt x="4341625" y="1208570"/>
                </a:cubicBezTo>
                <a:cubicBezTo>
                  <a:pt x="4339220" y="1208570"/>
                  <a:pt x="4337253" y="1201448"/>
                  <a:pt x="4337253" y="1192743"/>
                </a:cubicBezTo>
                <a:cubicBezTo>
                  <a:pt x="4337253" y="1181640"/>
                  <a:pt x="4339636" y="1176916"/>
                  <a:pt x="4345236" y="1176916"/>
                </a:cubicBezTo>
                <a:close/>
                <a:moveTo>
                  <a:pt x="4039894" y="1107277"/>
                </a:moveTo>
                <a:cubicBezTo>
                  <a:pt x="4046077" y="1107277"/>
                  <a:pt x="4045347" y="1153828"/>
                  <a:pt x="4039019" y="1162988"/>
                </a:cubicBezTo>
                <a:cubicBezTo>
                  <a:pt x="4031817" y="1173414"/>
                  <a:pt x="4029404" y="1172663"/>
                  <a:pt x="4019800" y="1156998"/>
                </a:cubicBezTo>
                <a:cubicBezTo>
                  <a:pt x="4013808" y="1147226"/>
                  <a:pt x="4013004" y="1142635"/>
                  <a:pt x="4016936" y="1140644"/>
                </a:cubicBezTo>
                <a:cubicBezTo>
                  <a:pt x="4019942" y="1139122"/>
                  <a:pt x="4022402" y="1133840"/>
                  <a:pt x="4022402" y="1128907"/>
                </a:cubicBezTo>
                <a:cubicBezTo>
                  <a:pt x="4022402" y="1123974"/>
                  <a:pt x="4025354" y="1119938"/>
                  <a:pt x="4028961" y="1119938"/>
                </a:cubicBezTo>
                <a:cubicBezTo>
                  <a:pt x="4032569" y="1119938"/>
                  <a:pt x="4035521" y="1117089"/>
                  <a:pt x="4035521" y="1113607"/>
                </a:cubicBezTo>
                <a:cubicBezTo>
                  <a:pt x="4035521" y="1110125"/>
                  <a:pt x="4037488" y="1107277"/>
                  <a:pt x="4039894" y="1107277"/>
                </a:cubicBezTo>
                <a:close/>
                <a:moveTo>
                  <a:pt x="4144916" y="1053528"/>
                </a:moveTo>
                <a:cubicBezTo>
                  <a:pt x="4149806" y="1057904"/>
                  <a:pt x="4146596" y="1069291"/>
                  <a:pt x="4140471" y="1069291"/>
                </a:cubicBezTo>
                <a:cubicBezTo>
                  <a:pt x="4138350" y="1069291"/>
                  <a:pt x="4135483" y="1066639"/>
                  <a:pt x="4134098" y="1063398"/>
                </a:cubicBezTo>
                <a:cubicBezTo>
                  <a:pt x="4130865" y="1055823"/>
                  <a:pt x="4139091" y="1048316"/>
                  <a:pt x="4144916" y="1053528"/>
                </a:cubicBezTo>
                <a:close/>
                <a:moveTo>
                  <a:pt x="3987419" y="990156"/>
                </a:moveTo>
                <a:cubicBezTo>
                  <a:pt x="3985013" y="988004"/>
                  <a:pt x="3983046" y="989260"/>
                  <a:pt x="3983046" y="992947"/>
                </a:cubicBezTo>
                <a:cubicBezTo>
                  <a:pt x="3983046" y="996635"/>
                  <a:pt x="3985013" y="999652"/>
                  <a:pt x="3987419" y="999652"/>
                </a:cubicBezTo>
                <a:cubicBezTo>
                  <a:pt x="3989824" y="999652"/>
                  <a:pt x="3991792" y="998396"/>
                  <a:pt x="3991792" y="996860"/>
                </a:cubicBezTo>
                <a:cubicBezTo>
                  <a:pt x="3991792" y="995325"/>
                  <a:pt x="3989824" y="992307"/>
                  <a:pt x="3987419" y="990156"/>
                </a:cubicBezTo>
                <a:close/>
                <a:moveTo>
                  <a:pt x="4173388" y="892398"/>
                </a:moveTo>
                <a:cubicBezTo>
                  <a:pt x="4176923" y="893423"/>
                  <a:pt x="4180831" y="898778"/>
                  <a:pt x="4182372" y="907667"/>
                </a:cubicBezTo>
                <a:cubicBezTo>
                  <a:pt x="4184110" y="917692"/>
                  <a:pt x="4182681" y="926784"/>
                  <a:pt x="4178395" y="932991"/>
                </a:cubicBezTo>
                <a:cubicBezTo>
                  <a:pt x="4168370" y="947502"/>
                  <a:pt x="4160861" y="945131"/>
                  <a:pt x="4163952" y="928430"/>
                </a:cubicBezTo>
                <a:cubicBezTo>
                  <a:pt x="4165402" y="920596"/>
                  <a:pt x="4166617" y="909200"/>
                  <a:pt x="4166648" y="903107"/>
                </a:cubicBezTo>
                <a:cubicBezTo>
                  <a:pt x="4166694" y="894677"/>
                  <a:pt x="4169854" y="891373"/>
                  <a:pt x="4173388" y="892398"/>
                </a:cubicBezTo>
                <a:close/>
                <a:moveTo>
                  <a:pt x="4006132" y="869101"/>
                </a:moveTo>
                <a:cubicBezTo>
                  <a:pt x="4005672" y="869767"/>
                  <a:pt x="4005361" y="871985"/>
                  <a:pt x="4005256" y="875673"/>
                </a:cubicBezTo>
                <a:cubicBezTo>
                  <a:pt x="4005065" y="882347"/>
                  <a:pt x="4006100" y="886085"/>
                  <a:pt x="4007552" y="883982"/>
                </a:cubicBezTo>
                <a:cubicBezTo>
                  <a:pt x="4009005" y="881878"/>
                  <a:pt x="4009160" y="876418"/>
                  <a:pt x="4007897" y="871848"/>
                </a:cubicBezTo>
                <a:lnTo>
                  <a:pt x="4007897" y="871848"/>
                </a:lnTo>
                <a:cubicBezTo>
                  <a:pt x="4007199" y="869323"/>
                  <a:pt x="4006592" y="868435"/>
                  <a:pt x="4006132" y="869101"/>
                </a:cubicBezTo>
                <a:close/>
                <a:moveTo>
                  <a:pt x="4268481" y="836466"/>
                </a:moveTo>
                <a:cubicBezTo>
                  <a:pt x="4270763" y="838424"/>
                  <a:pt x="4271747" y="843443"/>
                  <a:pt x="4272461" y="852405"/>
                </a:cubicBezTo>
                <a:cubicBezTo>
                  <a:pt x="4274274" y="875150"/>
                  <a:pt x="4288053" y="879265"/>
                  <a:pt x="4298063" y="860052"/>
                </a:cubicBezTo>
                <a:cubicBezTo>
                  <a:pt x="4311044" y="835139"/>
                  <a:pt x="4319761" y="847756"/>
                  <a:pt x="4319761" y="891455"/>
                </a:cubicBezTo>
                <a:cubicBezTo>
                  <a:pt x="4319761" y="912251"/>
                  <a:pt x="4317633" y="931169"/>
                  <a:pt x="4315033" y="933496"/>
                </a:cubicBezTo>
                <a:cubicBezTo>
                  <a:pt x="4312432" y="935823"/>
                  <a:pt x="4304257" y="929581"/>
                  <a:pt x="4296867" y="919625"/>
                </a:cubicBezTo>
                <a:cubicBezTo>
                  <a:pt x="4287877" y="907516"/>
                  <a:pt x="4284326" y="905176"/>
                  <a:pt x="4286139" y="912555"/>
                </a:cubicBezTo>
                <a:cubicBezTo>
                  <a:pt x="4287631" y="918623"/>
                  <a:pt x="4286316" y="927016"/>
                  <a:pt x="4283218" y="931206"/>
                </a:cubicBezTo>
                <a:cubicBezTo>
                  <a:pt x="4278637" y="937401"/>
                  <a:pt x="4278846" y="940959"/>
                  <a:pt x="4284339" y="950245"/>
                </a:cubicBezTo>
                <a:cubicBezTo>
                  <a:pt x="4292546" y="964120"/>
                  <a:pt x="4305993" y="965152"/>
                  <a:pt x="4309434" y="952171"/>
                </a:cubicBezTo>
                <a:cubicBezTo>
                  <a:pt x="4312086" y="942162"/>
                  <a:pt x="4324134" y="938818"/>
                  <a:pt x="4324134" y="948089"/>
                </a:cubicBezTo>
                <a:cubicBezTo>
                  <a:pt x="4324134" y="951068"/>
                  <a:pt x="4330529" y="956148"/>
                  <a:pt x="4338345" y="959380"/>
                </a:cubicBezTo>
                <a:cubicBezTo>
                  <a:pt x="4347889" y="963325"/>
                  <a:pt x="4353004" y="969714"/>
                  <a:pt x="4353914" y="978828"/>
                </a:cubicBezTo>
                <a:cubicBezTo>
                  <a:pt x="4354660" y="986294"/>
                  <a:pt x="4358103" y="995806"/>
                  <a:pt x="4361566" y="999968"/>
                </a:cubicBezTo>
                <a:cubicBezTo>
                  <a:pt x="4365030" y="1004128"/>
                  <a:pt x="4367863" y="1012679"/>
                  <a:pt x="4367863" y="1018968"/>
                </a:cubicBezTo>
                <a:cubicBezTo>
                  <a:pt x="4367863" y="1025256"/>
                  <a:pt x="4370672" y="1034469"/>
                  <a:pt x="4374106" y="1039440"/>
                </a:cubicBezTo>
                <a:cubicBezTo>
                  <a:pt x="4382062" y="1050959"/>
                  <a:pt x="4388092" y="1094615"/>
                  <a:pt x="4381726" y="1094615"/>
                </a:cubicBezTo>
                <a:cubicBezTo>
                  <a:pt x="4379196" y="1094615"/>
                  <a:pt x="4375865" y="1091664"/>
                  <a:pt x="4374326" y="1088058"/>
                </a:cubicBezTo>
                <a:cubicBezTo>
                  <a:pt x="4372787" y="1084452"/>
                  <a:pt x="4364307" y="1081952"/>
                  <a:pt x="4355483" y="1082503"/>
                </a:cubicBezTo>
                <a:cubicBezTo>
                  <a:pt x="4346659" y="1083055"/>
                  <a:pt x="4323735" y="1081281"/>
                  <a:pt x="4304542" y="1078559"/>
                </a:cubicBezTo>
                <a:cubicBezTo>
                  <a:pt x="4271459" y="1073869"/>
                  <a:pt x="4270039" y="1074181"/>
                  <a:pt x="4277212" y="1084565"/>
                </a:cubicBezTo>
                <a:cubicBezTo>
                  <a:pt x="4281373" y="1090590"/>
                  <a:pt x="4284778" y="1098653"/>
                  <a:pt x="4284778" y="1102482"/>
                </a:cubicBezTo>
                <a:cubicBezTo>
                  <a:pt x="4284778" y="1106311"/>
                  <a:pt x="4288045" y="1114672"/>
                  <a:pt x="4292039" y="1121061"/>
                </a:cubicBezTo>
                <a:cubicBezTo>
                  <a:pt x="4301680" y="1136485"/>
                  <a:pt x="4298237" y="1140004"/>
                  <a:pt x="4280650" y="1132702"/>
                </a:cubicBezTo>
                <a:cubicBezTo>
                  <a:pt x="4271423" y="1128871"/>
                  <a:pt x="4263302" y="1128910"/>
                  <a:pt x="4258269" y="1132810"/>
                </a:cubicBezTo>
                <a:cubicBezTo>
                  <a:pt x="4244828" y="1143225"/>
                  <a:pt x="4242260" y="1139931"/>
                  <a:pt x="4239604" y="1108859"/>
                </a:cubicBezTo>
                <a:cubicBezTo>
                  <a:pt x="4238189" y="1092320"/>
                  <a:pt x="4237659" y="1068817"/>
                  <a:pt x="4238427" y="1056630"/>
                </a:cubicBezTo>
                <a:cubicBezTo>
                  <a:pt x="4239195" y="1044443"/>
                  <a:pt x="4238397" y="1013105"/>
                  <a:pt x="4236655" y="986990"/>
                </a:cubicBezTo>
                <a:cubicBezTo>
                  <a:pt x="4234913" y="960875"/>
                  <a:pt x="4235189" y="936803"/>
                  <a:pt x="4237269" y="933495"/>
                </a:cubicBezTo>
                <a:cubicBezTo>
                  <a:pt x="4239347" y="930187"/>
                  <a:pt x="4241048" y="922352"/>
                  <a:pt x="4241048" y="916085"/>
                </a:cubicBezTo>
                <a:cubicBezTo>
                  <a:pt x="4241048" y="909817"/>
                  <a:pt x="4243016" y="904689"/>
                  <a:pt x="4245421" y="904689"/>
                </a:cubicBezTo>
                <a:cubicBezTo>
                  <a:pt x="4247827" y="904689"/>
                  <a:pt x="4249794" y="890749"/>
                  <a:pt x="4249794" y="873712"/>
                </a:cubicBezTo>
                <a:cubicBezTo>
                  <a:pt x="4249794" y="851305"/>
                  <a:pt x="4251707" y="841672"/>
                  <a:pt x="4256711" y="838893"/>
                </a:cubicBezTo>
                <a:cubicBezTo>
                  <a:pt x="4262618" y="835611"/>
                  <a:pt x="4266199" y="834508"/>
                  <a:pt x="4268481" y="836466"/>
                </a:cubicBezTo>
                <a:close/>
                <a:moveTo>
                  <a:pt x="1503102" y="801258"/>
                </a:moveTo>
                <a:cubicBezTo>
                  <a:pt x="1488778" y="800264"/>
                  <a:pt x="1488325" y="800958"/>
                  <a:pt x="1489315" y="822388"/>
                </a:cubicBezTo>
                <a:cubicBezTo>
                  <a:pt x="1489878" y="834575"/>
                  <a:pt x="1490478" y="849818"/>
                  <a:pt x="1490647" y="856262"/>
                </a:cubicBezTo>
                <a:cubicBezTo>
                  <a:pt x="1491505" y="888858"/>
                  <a:pt x="1511509" y="893844"/>
                  <a:pt x="1530226" y="866125"/>
                </a:cubicBezTo>
                <a:cubicBezTo>
                  <a:pt x="1544790" y="844556"/>
                  <a:pt x="1545333" y="830570"/>
                  <a:pt x="1532021" y="819901"/>
                </a:cubicBezTo>
                <a:cubicBezTo>
                  <a:pt x="1527211" y="816046"/>
                  <a:pt x="1522069" y="810505"/>
                  <a:pt x="1520594" y="807589"/>
                </a:cubicBezTo>
                <a:cubicBezTo>
                  <a:pt x="1519119" y="804671"/>
                  <a:pt x="1511248" y="801823"/>
                  <a:pt x="1503102" y="801258"/>
                </a:cubicBezTo>
                <a:close/>
                <a:moveTo>
                  <a:pt x="3729804" y="798436"/>
                </a:moveTo>
                <a:cubicBezTo>
                  <a:pt x="3720308" y="798826"/>
                  <a:pt x="3717720" y="801396"/>
                  <a:pt x="3719615" y="808547"/>
                </a:cubicBezTo>
                <a:cubicBezTo>
                  <a:pt x="3721273" y="814804"/>
                  <a:pt x="3720379" y="816544"/>
                  <a:pt x="3717041" y="813557"/>
                </a:cubicBezTo>
                <a:cubicBezTo>
                  <a:pt x="3709675" y="806967"/>
                  <a:pt x="3710735" y="819762"/>
                  <a:pt x="3718483" y="830980"/>
                </a:cubicBezTo>
                <a:cubicBezTo>
                  <a:pt x="3725695" y="841420"/>
                  <a:pt x="3727207" y="854042"/>
                  <a:pt x="3721246" y="854042"/>
                </a:cubicBezTo>
                <a:cubicBezTo>
                  <a:pt x="3713880" y="854042"/>
                  <a:pt x="3712066" y="907075"/>
                  <a:pt x="3718912" y="922278"/>
                </a:cubicBezTo>
                <a:cubicBezTo>
                  <a:pt x="3722484" y="930211"/>
                  <a:pt x="3724299" y="939297"/>
                  <a:pt x="3722944" y="942470"/>
                </a:cubicBezTo>
                <a:cubicBezTo>
                  <a:pt x="3720559" y="948057"/>
                  <a:pt x="3741606" y="980659"/>
                  <a:pt x="3747598" y="980659"/>
                </a:cubicBezTo>
                <a:cubicBezTo>
                  <a:pt x="3749230" y="980659"/>
                  <a:pt x="3753678" y="978930"/>
                  <a:pt x="3757482" y="976816"/>
                </a:cubicBezTo>
                <a:cubicBezTo>
                  <a:pt x="3765240" y="972507"/>
                  <a:pt x="3767398" y="927111"/>
                  <a:pt x="3760153" y="920630"/>
                </a:cubicBezTo>
                <a:cubicBezTo>
                  <a:pt x="3757818" y="918540"/>
                  <a:pt x="3754613" y="902703"/>
                  <a:pt x="3753030" y="885437"/>
                </a:cubicBezTo>
                <a:cubicBezTo>
                  <a:pt x="3751448" y="868170"/>
                  <a:pt x="3748439" y="854042"/>
                  <a:pt x="3746345" y="854042"/>
                </a:cubicBezTo>
                <a:cubicBezTo>
                  <a:pt x="3744249" y="854042"/>
                  <a:pt x="3742535" y="841413"/>
                  <a:pt x="3742535" y="825977"/>
                </a:cubicBezTo>
                <a:cubicBezTo>
                  <a:pt x="3742535" y="799084"/>
                  <a:pt x="3742003" y="797933"/>
                  <a:pt x="3729804" y="798436"/>
                </a:cubicBezTo>
                <a:close/>
                <a:moveTo>
                  <a:pt x="4044267" y="755914"/>
                </a:moveTo>
                <a:cubicBezTo>
                  <a:pt x="4047874" y="755914"/>
                  <a:pt x="4051454" y="762324"/>
                  <a:pt x="4052223" y="770158"/>
                </a:cubicBezTo>
                <a:cubicBezTo>
                  <a:pt x="4053299" y="781121"/>
                  <a:pt x="4051466" y="784403"/>
                  <a:pt x="4044267" y="784403"/>
                </a:cubicBezTo>
                <a:cubicBezTo>
                  <a:pt x="4037067" y="784403"/>
                  <a:pt x="4035234" y="781121"/>
                  <a:pt x="4036310" y="770158"/>
                </a:cubicBezTo>
                <a:cubicBezTo>
                  <a:pt x="4037079" y="762324"/>
                  <a:pt x="4040659" y="755914"/>
                  <a:pt x="4044267" y="755914"/>
                </a:cubicBezTo>
                <a:close/>
                <a:moveTo>
                  <a:pt x="4191963" y="753633"/>
                </a:moveTo>
                <a:cubicBezTo>
                  <a:pt x="4198131" y="750512"/>
                  <a:pt x="4210791" y="769985"/>
                  <a:pt x="4213395" y="793226"/>
                </a:cubicBezTo>
                <a:cubicBezTo>
                  <a:pt x="4215517" y="812150"/>
                  <a:pt x="4214647" y="816057"/>
                  <a:pt x="4208313" y="816057"/>
                </a:cubicBezTo>
                <a:cubicBezTo>
                  <a:pt x="4202539" y="816057"/>
                  <a:pt x="4201178" y="812225"/>
                  <a:pt x="4202744" y="800369"/>
                </a:cubicBezTo>
                <a:cubicBezTo>
                  <a:pt x="4204246" y="788989"/>
                  <a:pt x="4202585" y="783657"/>
                  <a:pt x="4196694" y="780951"/>
                </a:cubicBezTo>
                <a:cubicBezTo>
                  <a:pt x="4192228" y="778898"/>
                  <a:pt x="4188573" y="771713"/>
                  <a:pt x="4188573" y="764983"/>
                </a:cubicBezTo>
                <a:cubicBezTo>
                  <a:pt x="4188573" y="758225"/>
                  <a:pt x="4189907" y="754674"/>
                  <a:pt x="4191963" y="753633"/>
                </a:cubicBezTo>
                <a:close/>
                <a:moveTo>
                  <a:pt x="2207638" y="740087"/>
                </a:moveTo>
                <a:cubicBezTo>
                  <a:pt x="2205233" y="740087"/>
                  <a:pt x="2203265" y="744151"/>
                  <a:pt x="2203265" y="749119"/>
                </a:cubicBezTo>
                <a:cubicBezTo>
                  <a:pt x="2203265" y="754087"/>
                  <a:pt x="2199821" y="759454"/>
                  <a:pt x="2195613" y="761046"/>
                </a:cubicBezTo>
                <a:cubicBezTo>
                  <a:pt x="2189736" y="763269"/>
                  <a:pt x="2189533" y="764112"/>
                  <a:pt x="2194738" y="764676"/>
                </a:cubicBezTo>
                <a:cubicBezTo>
                  <a:pt x="2198466" y="765080"/>
                  <a:pt x="2203877" y="761992"/>
                  <a:pt x="2206763" y="757813"/>
                </a:cubicBezTo>
                <a:cubicBezTo>
                  <a:pt x="2213149" y="748569"/>
                  <a:pt x="2213567" y="740087"/>
                  <a:pt x="2207638" y="740087"/>
                </a:cubicBezTo>
                <a:close/>
                <a:moveTo>
                  <a:pt x="2492685" y="661279"/>
                </a:moveTo>
                <a:cubicBezTo>
                  <a:pt x="2490926" y="662292"/>
                  <a:pt x="2489272" y="665607"/>
                  <a:pt x="2487033" y="671621"/>
                </a:cubicBezTo>
                <a:cubicBezTo>
                  <a:pt x="2484033" y="679681"/>
                  <a:pt x="2481367" y="692814"/>
                  <a:pt x="2481109" y="700808"/>
                </a:cubicBezTo>
                <a:cubicBezTo>
                  <a:pt x="2480723" y="712774"/>
                  <a:pt x="2482598" y="715011"/>
                  <a:pt x="2491725" y="713470"/>
                </a:cubicBezTo>
                <a:cubicBezTo>
                  <a:pt x="2500563" y="711977"/>
                  <a:pt x="2503077" y="707639"/>
                  <a:pt x="2504127" y="692066"/>
                </a:cubicBezTo>
                <a:cubicBezTo>
                  <a:pt x="2504906" y="680506"/>
                  <a:pt x="2502800" y="669357"/>
                  <a:pt x="2498966" y="664751"/>
                </a:cubicBezTo>
                <a:cubicBezTo>
                  <a:pt x="2496307" y="661557"/>
                  <a:pt x="2494444" y="660267"/>
                  <a:pt x="2492685" y="661279"/>
                </a:cubicBezTo>
                <a:close/>
                <a:moveTo>
                  <a:pt x="1542281" y="646751"/>
                </a:moveTo>
                <a:cubicBezTo>
                  <a:pt x="1544973" y="646195"/>
                  <a:pt x="1547326" y="648503"/>
                  <a:pt x="1547326" y="654093"/>
                </a:cubicBezTo>
                <a:cubicBezTo>
                  <a:pt x="1547326" y="659605"/>
                  <a:pt x="1544211" y="664117"/>
                  <a:pt x="1540402" y="664117"/>
                </a:cubicBezTo>
                <a:cubicBezTo>
                  <a:pt x="1536594" y="664117"/>
                  <a:pt x="1534257" y="660733"/>
                  <a:pt x="1535210" y="656599"/>
                </a:cubicBezTo>
                <a:cubicBezTo>
                  <a:pt x="1536561" y="650729"/>
                  <a:pt x="1539590" y="647308"/>
                  <a:pt x="1542281" y="646751"/>
                </a:cubicBezTo>
                <a:close/>
                <a:moveTo>
                  <a:pt x="4233596" y="626131"/>
                </a:moveTo>
                <a:cubicBezTo>
                  <a:pt x="4240376" y="626131"/>
                  <a:pt x="4297896" y="709201"/>
                  <a:pt x="4297896" y="718993"/>
                </a:cubicBezTo>
                <a:cubicBezTo>
                  <a:pt x="4297896" y="722885"/>
                  <a:pt x="4294945" y="727710"/>
                  <a:pt x="4291336" y="729715"/>
                </a:cubicBezTo>
                <a:cubicBezTo>
                  <a:pt x="4287249" y="731985"/>
                  <a:pt x="4284778" y="741642"/>
                  <a:pt x="4284778" y="755341"/>
                </a:cubicBezTo>
                <a:cubicBezTo>
                  <a:pt x="4284778" y="782795"/>
                  <a:pt x="4281153" y="786183"/>
                  <a:pt x="4266012" y="772883"/>
                </a:cubicBezTo>
                <a:cubicBezTo>
                  <a:pt x="4259427" y="767098"/>
                  <a:pt x="4254990" y="758777"/>
                  <a:pt x="4256152" y="754391"/>
                </a:cubicBezTo>
                <a:cubicBezTo>
                  <a:pt x="4257314" y="750006"/>
                  <a:pt x="4256359" y="746418"/>
                  <a:pt x="4254030" y="746418"/>
                </a:cubicBezTo>
                <a:cubicBezTo>
                  <a:pt x="4251700" y="746418"/>
                  <a:pt x="4249794" y="739206"/>
                  <a:pt x="4249794" y="730392"/>
                </a:cubicBezTo>
                <a:cubicBezTo>
                  <a:pt x="4249794" y="720839"/>
                  <a:pt x="4246703" y="712787"/>
                  <a:pt x="4242141" y="710456"/>
                </a:cubicBezTo>
                <a:cubicBezTo>
                  <a:pt x="4229647" y="704072"/>
                  <a:pt x="4214811" y="681755"/>
                  <a:pt x="4214811" y="669344"/>
                </a:cubicBezTo>
                <a:cubicBezTo>
                  <a:pt x="4214811" y="662987"/>
                  <a:pt x="4216566" y="657786"/>
                  <a:pt x="4218709" y="657786"/>
                </a:cubicBezTo>
                <a:cubicBezTo>
                  <a:pt x="4220854" y="657786"/>
                  <a:pt x="4223843" y="650663"/>
                  <a:pt x="4225352" y="641959"/>
                </a:cubicBezTo>
                <a:cubicBezTo>
                  <a:pt x="4226861" y="633254"/>
                  <a:pt x="4230571" y="626131"/>
                  <a:pt x="4233596" y="626131"/>
                </a:cubicBezTo>
                <a:close/>
                <a:moveTo>
                  <a:pt x="2100311" y="609600"/>
                </a:moveTo>
                <a:cubicBezTo>
                  <a:pt x="2101797" y="608433"/>
                  <a:pt x="2104256" y="608884"/>
                  <a:pt x="2108154" y="610589"/>
                </a:cubicBezTo>
                <a:cubicBezTo>
                  <a:pt x="2121281" y="616331"/>
                  <a:pt x="2126172" y="623548"/>
                  <a:pt x="2122602" y="631911"/>
                </a:cubicBezTo>
                <a:cubicBezTo>
                  <a:pt x="2119357" y="639510"/>
                  <a:pt x="2105807" y="641198"/>
                  <a:pt x="2101230" y="634573"/>
                </a:cubicBezTo>
                <a:cubicBezTo>
                  <a:pt x="2099627" y="632251"/>
                  <a:pt x="2098315" y="624937"/>
                  <a:pt x="2098315" y="618319"/>
                </a:cubicBezTo>
                <a:cubicBezTo>
                  <a:pt x="2098315" y="613552"/>
                  <a:pt x="2098826" y="610767"/>
                  <a:pt x="2100311" y="609600"/>
                </a:cubicBezTo>
                <a:close/>
                <a:moveTo>
                  <a:pt x="4009611" y="608352"/>
                </a:moveTo>
                <a:cubicBezTo>
                  <a:pt x="4012197" y="609600"/>
                  <a:pt x="4014312" y="613327"/>
                  <a:pt x="4014312" y="616635"/>
                </a:cubicBezTo>
                <a:cubicBezTo>
                  <a:pt x="4014312" y="619943"/>
                  <a:pt x="4012197" y="623670"/>
                  <a:pt x="4009611" y="624918"/>
                </a:cubicBezTo>
                <a:cubicBezTo>
                  <a:pt x="4007026" y="626166"/>
                  <a:pt x="4004911" y="622439"/>
                  <a:pt x="4004911" y="616635"/>
                </a:cubicBezTo>
                <a:cubicBezTo>
                  <a:pt x="4004911" y="610832"/>
                  <a:pt x="4007026" y="607104"/>
                  <a:pt x="4009611" y="608352"/>
                </a:cubicBezTo>
                <a:close/>
                <a:moveTo>
                  <a:pt x="4096448" y="583964"/>
                </a:moveTo>
                <a:cubicBezTo>
                  <a:pt x="4099965" y="584780"/>
                  <a:pt x="4102840" y="587903"/>
                  <a:pt x="4107195" y="593827"/>
                </a:cubicBezTo>
                <a:cubicBezTo>
                  <a:pt x="4112580" y="601148"/>
                  <a:pt x="4122107" y="607139"/>
                  <a:pt x="4128369" y="607139"/>
                </a:cubicBezTo>
                <a:cubicBezTo>
                  <a:pt x="4146484" y="607139"/>
                  <a:pt x="4153590" y="613678"/>
                  <a:pt x="4153590" y="630348"/>
                </a:cubicBezTo>
                <a:cubicBezTo>
                  <a:pt x="4153590" y="639262"/>
                  <a:pt x="4151695" y="644176"/>
                  <a:pt x="4149141" y="641890"/>
                </a:cubicBezTo>
                <a:cubicBezTo>
                  <a:pt x="4146693" y="639701"/>
                  <a:pt x="4133816" y="639877"/>
                  <a:pt x="4120525" y="642281"/>
                </a:cubicBezTo>
                <a:cubicBezTo>
                  <a:pt x="4092856" y="647286"/>
                  <a:pt x="4071898" y="671436"/>
                  <a:pt x="4067481" y="703404"/>
                </a:cubicBezTo>
                <a:cubicBezTo>
                  <a:pt x="4064125" y="727699"/>
                  <a:pt x="4035521" y="746365"/>
                  <a:pt x="4035521" y="724260"/>
                </a:cubicBezTo>
                <a:cubicBezTo>
                  <a:pt x="4035521" y="719037"/>
                  <a:pt x="4037488" y="714763"/>
                  <a:pt x="4039894" y="714763"/>
                </a:cubicBezTo>
                <a:cubicBezTo>
                  <a:pt x="4045855" y="714763"/>
                  <a:pt x="4045426" y="685624"/>
                  <a:pt x="4039254" y="671317"/>
                </a:cubicBezTo>
                <a:cubicBezTo>
                  <a:pt x="4033742" y="658539"/>
                  <a:pt x="4037738" y="623455"/>
                  <a:pt x="4044061" y="629112"/>
                </a:cubicBezTo>
                <a:cubicBezTo>
                  <a:pt x="4046212" y="631037"/>
                  <a:pt x="4052090" y="624236"/>
                  <a:pt x="4057125" y="614000"/>
                </a:cubicBezTo>
                <a:cubicBezTo>
                  <a:pt x="4062159" y="603764"/>
                  <a:pt x="4073282" y="592043"/>
                  <a:pt x="4081844" y="587951"/>
                </a:cubicBezTo>
                <a:cubicBezTo>
                  <a:pt x="4088770" y="584642"/>
                  <a:pt x="4092930" y="583149"/>
                  <a:pt x="4096448" y="583964"/>
                </a:cubicBezTo>
                <a:close/>
                <a:moveTo>
                  <a:pt x="3399607" y="565410"/>
                </a:moveTo>
                <a:cubicBezTo>
                  <a:pt x="3391884" y="563769"/>
                  <a:pt x="3387224" y="579464"/>
                  <a:pt x="3390710" y="595369"/>
                </a:cubicBezTo>
                <a:cubicBezTo>
                  <a:pt x="3394209" y="611327"/>
                  <a:pt x="3408911" y="610296"/>
                  <a:pt x="3412518" y="593840"/>
                </a:cubicBezTo>
                <a:cubicBezTo>
                  <a:pt x="3415603" y="579774"/>
                  <a:pt x="3410090" y="567638"/>
                  <a:pt x="3399607" y="565410"/>
                </a:cubicBezTo>
                <a:close/>
                <a:moveTo>
                  <a:pt x="3753272" y="543830"/>
                </a:moveTo>
                <a:cubicBezTo>
                  <a:pt x="3760971" y="543830"/>
                  <a:pt x="3790344" y="587515"/>
                  <a:pt x="3790519" y="599225"/>
                </a:cubicBezTo>
                <a:cubicBezTo>
                  <a:pt x="3790583" y="603578"/>
                  <a:pt x="3792516" y="607139"/>
                  <a:pt x="3794812" y="607139"/>
                </a:cubicBezTo>
                <a:cubicBezTo>
                  <a:pt x="3798720" y="607139"/>
                  <a:pt x="3806586" y="648938"/>
                  <a:pt x="3804642" y="659368"/>
                </a:cubicBezTo>
                <a:cubicBezTo>
                  <a:pt x="3804155" y="661980"/>
                  <a:pt x="3805723" y="664117"/>
                  <a:pt x="3808129" y="664117"/>
                </a:cubicBezTo>
                <a:cubicBezTo>
                  <a:pt x="3810534" y="664117"/>
                  <a:pt x="3812502" y="671239"/>
                  <a:pt x="3812502" y="679944"/>
                </a:cubicBezTo>
                <a:cubicBezTo>
                  <a:pt x="3812502" y="689792"/>
                  <a:pt x="3810023" y="695771"/>
                  <a:pt x="3805943" y="695771"/>
                </a:cubicBezTo>
                <a:cubicBezTo>
                  <a:pt x="3802334" y="695771"/>
                  <a:pt x="3799383" y="691458"/>
                  <a:pt x="3799383" y="686189"/>
                </a:cubicBezTo>
                <a:cubicBezTo>
                  <a:pt x="3799383" y="680918"/>
                  <a:pt x="3797558" y="671660"/>
                  <a:pt x="3795328" y="665613"/>
                </a:cubicBezTo>
                <a:cubicBezTo>
                  <a:pt x="3793100" y="659567"/>
                  <a:pt x="3790199" y="649592"/>
                  <a:pt x="3788882" y="643446"/>
                </a:cubicBezTo>
                <a:cubicBezTo>
                  <a:pt x="3787566" y="637300"/>
                  <a:pt x="3781819" y="629702"/>
                  <a:pt x="3776114" y="626562"/>
                </a:cubicBezTo>
                <a:cubicBezTo>
                  <a:pt x="3770409" y="623421"/>
                  <a:pt x="3762196" y="609932"/>
                  <a:pt x="3757864" y="596585"/>
                </a:cubicBezTo>
                <a:cubicBezTo>
                  <a:pt x="3753532" y="583239"/>
                  <a:pt x="3748025" y="570470"/>
                  <a:pt x="3745624" y="568210"/>
                </a:cubicBezTo>
                <a:cubicBezTo>
                  <a:pt x="3739464" y="562409"/>
                  <a:pt x="3745291" y="543830"/>
                  <a:pt x="3753272" y="543830"/>
                </a:cubicBezTo>
                <a:close/>
                <a:moveTo>
                  <a:pt x="2508411" y="515434"/>
                </a:moveTo>
                <a:cubicBezTo>
                  <a:pt x="2504104" y="514401"/>
                  <a:pt x="2499878" y="515729"/>
                  <a:pt x="2493352" y="518847"/>
                </a:cubicBezTo>
                <a:cubicBezTo>
                  <a:pt x="2482992" y="523798"/>
                  <a:pt x="2476746" y="523968"/>
                  <a:pt x="2472948" y="519406"/>
                </a:cubicBezTo>
                <a:cubicBezTo>
                  <a:pt x="2468354" y="513886"/>
                  <a:pt x="2443606" y="526013"/>
                  <a:pt x="2426655" y="542091"/>
                </a:cubicBezTo>
                <a:cubicBezTo>
                  <a:pt x="2421983" y="546522"/>
                  <a:pt x="2417762" y="622657"/>
                  <a:pt x="2421860" y="628589"/>
                </a:cubicBezTo>
                <a:cubicBezTo>
                  <a:pt x="2424293" y="632112"/>
                  <a:pt x="2426284" y="641221"/>
                  <a:pt x="2426284" y="648832"/>
                </a:cubicBezTo>
                <a:cubicBezTo>
                  <a:pt x="2426284" y="661372"/>
                  <a:pt x="2431239" y="679043"/>
                  <a:pt x="2440777" y="700519"/>
                </a:cubicBezTo>
                <a:cubicBezTo>
                  <a:pt x="2445394" y="710913"/>
                  <a:pt x="2451698" y="710530"/>
                  <a:pt x="2459393" y="699389"/>
                </a:cubicBezTo>
                <a:cubicBezTo>
                  <a:pt x="2467519" y="687625"/>
                  <a:pt x="2467369" y="667744"/>
                  <a:pt x="2459081" y="657786"/>
                </a:cubicBezTo>
                <a:cubicBezTo>
                  <a:pt x="2450414" y="647372"/>
                  <a:pt x="2450672" y="636411"/>
                  <a:pt x="2459470" y="641298"/>
                </a:cubicBezTo>
                <a:cubicBezTo>
                  <a:pt x="2463325" y="643440"/>
                  <a:pt x="2471373" y="639515"/>
                  <a:pt x="2477551" y="632480"/>
                </a:cubicBezTo>
                <a:cubicBezTo>
                  <a:pt x="2483674" y="625506"/>
                  <a:pt x="2486451" y="619800"/>
                  <a:pt x="2483722" y="619800"/>
                </a:cubicBezTo>
                <a:cubicBezTo>
                  <a:pt x="2480682" y="619800"/>
                  <a:pt x="2478759" y="607536"/>
                  <a:pt x="2478759" y="588146"/>
                </a:cubicBezTo>
                <a:cubicBezTo>
                  <a:pt x="2478759" y="564230"/>
                  <a:pt x="2480363" y="556492"/>
                  <a:pt x="2485319" y="556492"/>
                </a:cubicBezTo>
                <a:cubicBezTo>
                  <a:pt x="2488926" y="556492"/>
                  <a:pt x="2491878" y="560167"/>
                  <a:pt x="2491878" y="564659"/>
                </a:cubicBezTo>
                <a:cubicBezTo>
                  <a:pt x="2491878" y="569151"/>
                  <a:pt x="2499398" y="584856"/>
                  <a:pt x="2508588" y="599558"/>
                </a:cubicBezTo>
                <a:lnTo>
                  <a:pt x="2525299" y="626289"/>
                </a:lnTo>
                <a:lnTo>
                  <a:pt x="2539199" y="616250"/>
                </a:lnTo>
                <a:cubicBezTo>
                  <a:pt x="2553351" y="606030"/>
                  <a:pt x="2558554" y="581112"/>
                  <a:pt x="2548428" y="572052"/>
                </a:cubicBezTo>
                <a:cubicBezTo>
                  <a:pt x="2545859" y="569754"/>
                  <a:pt x="2544897" y="563571"/>
                  <a:pt x="2546291" y="558312"/>
                </a:cubicBezTo>
                <a:cubicBezTo>
                  <a:pt x="2548026" y="551769"/>
                  <a:pt x="2546810" y="549871"/>
                  <a:pt x="2542439" y="552299"/>
                </a:cubicBezTo>
                <a:cubicBezTo>
                  <a:pt x="2538651" y="554404"/>
                  <a:pt x="2536783" y="552759"/>
                  <a:pt x="2537847" y="548256"/>
                </a:cubicBezTo>
                <a:cubicBezTo>
                  <a:pt x="2538834" y="544081"/>
                  <a:pt x="2532586" y="534151"/>
                  <a:pt x="2523962" y="526189"/>
                </a:cubicBezTo>
                <a:cubicBezTo>
                  <a:pt x="2517108" y="519862"/>
                  <a:pt x="2512719" y="516468"/>
                  <a:pt x="2508411" y="515434"/>
                </a:cubicBezTo>
                <a:close/>
                <a:moveTo>
                  <a:pt x="3394917" y="499514"/>
                </a:moveTo>
                <a:cubicBezTo>
                  <a:pt x="3385202" y="499514"/>
                  <a:pt x="3378100" y="529260"/>
                  <a:pt x="3385075" y="540733"/>
                </a:cubicBezTo>
                <a:cubicBezTo>
                  <a:pt x="3393394" y="554416"/>
                  <a:pt x="3400986" y="551857"/>
                  <a:pt x="3404022" y="534348"/>
                </a:cubicBezTo>
                <a:cubicBezTo>
                  <a:pt x="3407506" y="514244"/>
                  <a:pt x="3403656" y="499514"/>
                  <a:pt x="3394917" y="499514"/>
                </a:cubicBezTo>
                <a:close/>
                <a:moveTo>
                  <a:pt x="2473972" y="490389"/>
                </a:moveTo>
                <a:cubicBezTo>
                  <a:pt x="2471843" y="492294"/>
                  <a:pt x="2472541" y="497688"/>
                  <a:pt x="2475523" y="502376"/>
                </a:cubicBezTo>
                <a:cubicBezTo>
                  <a:pt x="2482232" y="512920"/>
                  <a:pt x="2484208" y="510938"/>
                  <a:pt x="2480591" y="497291"/>
                </a:cubicBezTo>
                <a:cubicBezTo>
                  <a:pt x="2479079" y="491590"/>
                  <a:pt x="2476101" y="488484"/>
                  <a:pt x="2473972" y="490389"/>
                </a:cubicBezTo>
                <a:close/>
                <a:moveTo>
                  <a:pt x="2576610" y="482359"/>
                </a:moveTo>
                <a:cubicBezTo>
                  <a:pt x="2571620" y="489583"/>
                  <a:pt x="2578946" y="505856"/>
                  <a:pt x="2586852" y="505111"/>
                </a:cubicBezTo>
                <a:cubicBezTo>
                  <a:pt x="2594153" y="504423"/>
                  <a:pt x="2594161" y="504195"/>
                  <a:pt x="2586989" y="501481"/>
                </a:cubicBezTo>
                <a:cubicBezTo>
                  <a:pt x="2582780" y="499888"/>
                  <a:pt x="2579336" y="494047"/>
                  <a:pt x="2579336" y="488499"/>
                </a:cubicBezTo>
                <a:cubicBezTo>
                  <a:pt x="2579336" y="482950"/>
                  <a:pt x="2578110" y="480188"/>
                  <a:pt x="2576610" y="482359"/>
                </a:cubicBezTo>
                <a:close/>
                <a:moveTo>
                  <a:pt x="2585636" y="469292"/>
                </a:moveTo>
                <a:cubicBezTo>
                  <a:pt x="2584175" y="471406"/>
                  <a:pt x="2586588" y="478477"/>
                  <a:pt x="2590998" y="485006"/>
                </a:cubicBezTo>
                <a:cubicBezTo>
                  <a:pt x="2595407" y="491535"/>
                  <a:pt x="2599735" y="494341"/>
                  <a:pt x="2600616" y="491243"/>
                </a:cubicBezTo>
                <a:cubicBezTo>
                  <a:pt x="2601496" y="488144"/>
                  <a:pt x="2599083" y="481073"/>
                  <a:pt x="2595253" y="475529"/>
                </a:cubicBezTo>
                <a:cubicBezTo>
                  <a:pt x="2591424" y="469984"/>
                  <a:pt x="2587096" y="467178"/>
                  <a:pt x="2585636" y="469292"/>
                </a:cubicBezTo>
                <a:close/>
                <a:moveTo>
                  <a:pt x="3422903" y="465059"/>
                </a:moveTo>
                <a:cubicBezTo>
                  <a:pt x="3420722" y="467011"/>
                  <a:pt x="3418939" y="472713"/>
                  <a:pt x="3418939" y="477730"/>
                </a:cubicBezTo>
                <a:cubicBezTo>
                  <a:pt x="3418939" y="490833"/>
                  <a:pt x="3421910" y="488965"/>
                  <a:pt x="3424580" y="474182"/>
                </a:cubicBezTo>
                <a:cubicBezTo>
                  <a:pt x="3425839" y="467213"/>
                  <a:pt x="3425085" y="463108"/>
                  <a:pt x="3422903" y="465059"/>
                </a:cubicBezTo>
                <a:close/>
                <a:moveTo>
                  <a:pt x="3788764" y="436206"/>
                </a:moveTo>
                <a:cubicBezTo>
                  <a:pt x="3792030" y="436206"/>
                  <a:pt x="3797049" y="442616"/>
                  <a:pt x="3799916" y="450450"/>
                </a:cubicBezTo>
                <a:cubicBezTo>
                  <a:pt x="3802782" y="458284"/>
                  <a:pt x="3808936" y="469529"/>
                  <a:pt x="3813589" y="475438"/>
                </a:cubicBezTo>
                <a:cubicBezTo>
                  <a:pt x="3818243" y="481347"/>
                  <a:pt x="3820770" y="489181"/>
                  <a:pt x="3819205" y="492847"/>
                </a:cubicBezTo>
                <a:cubicBezTo>
                  <a:pt x="3815196" y="502237"/>
                  <a:pt x="3802588" y="500707"/>
                  <a:pt x="3796103" y="490044"/>
                </a:cubicBezTo>
                <a:cubicBezTo>
                  <a:pt x="3793097" y="485101"/>
                  <a:pt x="3790637" y="478436"/>
                  <a:pt x="3790637" y="475233"/>
                </a:cubicBezTo>
                <a:cubicBezTo>
                  <a:pt x="3790637" y="472031"/>
                  <a:pt x="3787802" y="466004"/>
                  <a:pt x="3784337" y="461842"/>
                </a:cubicBezTo>
                <a:cubicBezTo>
                  <a:pt x="3777074" y="453114"/>
                  <a:pt x="3779994" y="436206"/>
                  <a:pt x="3788764" y="436206"/>
                </a:cubicBezTo>
                <a:close/>
                <a:moveTo>
                  <a:pt x="2416536" y="393600"/>
                </a:moveTo>
                <a:cubicBezTo>
                  <a:pt x="2419357" y="392997"/>
                  <a:pt x="2421911" y="396309"/>
                  <a:pt x="2421911" y="404024"/>
                </a:cubicBezTo>
                <a:cubicBezTo>
                  <a:pt x="2421911" y="411800"/>
                  <a:pt x="2419088" y="417213"/>
                  <a:pt x="2415031" y="417213"/>
                </a:cubicBezTo>
                <a:cubicBezTo>
                  <a:pt x="2410959" y="417213"/>
                  <a:pt x="2408728" y="412906"/>
                  <a:pt x="2409565" y="406659"/>
                </a:cubicBezTo>
                <a:cubicBezTo>
                  <a:pt x="2410629" y="398718"/>
                  <a:pt x="2413716" y="394202"/>
                  <a:pt x="2416536" y="393600"/>
                </a:cubicBezTo>
                <a:close/>
                <a:moveTo>
                  <a:pt x="3384911" y="341340"/>
                </a:moveTo>
                <a:cubicBezTo>
                  <a:pt x="3374162" y="341236"/>
                  <a:pt x="3368359" y="354420"/>
                  <a:pt x="3372417" y="369731"/>
                </a:cubicBezTo>
                <a:cubicBezTo>
                  <a:pt x="3373802" y="374955"/>
                  <a:pt x="3377455" y="379003"/>
                  <a:pt x="3380538" y="378728"/>
                </a:cubicBezTo>
                <a:cubicBezTo>
                  <a:pt x="3384927" y="378337"/>
                  <a:pt x="3384957" y="377536"/>
                  <a:pt x="3380675" y="375035"/>
                </a:cubicBezTo>
                <a:lnTo>
                  <a:pt x="3380675" y="375035"/>
                </a:lnTo>
                <a:cubicBezTo>
                  <a:pt x="3377669" y="373279"/>
                  <a:pt x="3375209" y="366213"/>
                  <a:pt x="3375209" y="359334"/>
                </a:cubicBezTo>
                <a:cubicBezTo>
                  <a:pt x="3375209" y="352455"/>
                  <a:pt x="3376779" y="348231"/>
                  <a:pt x="3378698" y="349948"/>
                </a:cubicBezTo>
                <a:cubicBezTo>
                  <a:pt x="3380617" y="351665"/>
                  <a:pt x="3385044" y="350452"/>
                  <a:pt x="3388537" y="347252"/>
                </a:cubicBezTo>
                <a:cubicBezTo>
                  <a:pt x="3393480" y="342726"/>
                  <a:pt x="3392677" y="341415"/>
                  <a:pt x="3384911" y="341340"/>
                </a:cubicBezTo>
                <a:close/>
                <a:moveTo>
                  <a:pt x="3481752" y="328581"/>
                </a:moveTo>
                <a:cubicBezTo>
                  <a:pt x="3478562" y="328581"/>
                  <a:pt x="3474719" y="335704"/>
                  <a:pt x="3473209" y="344408"/>
                </a:cubicBezTo>
                <a:cubicBezTo>
                  <a:pt x="3470799" y="358313"/>
                  <a:pt x="3468111" y="360235"/>
                  <a:pt x="3451077" y="360235"/>
                </a:cubicBezTo>
                <a:cubicBezTo>
                  <a:pt x="3440413" y="360235"/>
                  <a:pt x="3429123" y="363704"/>
                  <a:pt x="3425989" y="367943"/>
                </a:cubicBezTo>
                <a:cubicBezTo>
                  <a:pt x="3418508" y="378060"/>
                  <a:pt x="3424306" y="416876"/>
                  <a:pt x="3435239" y="429875"/>
                </a:cubicBezTo>
                <a:cubicBezTo>
                  <a:pt x="3441469" y="437282"/>
                  <a:pt x="3442631" y="444595"/>
                  <a:pt x="3440516" y="463112"/>
                </a:cubicBezTo>
                <a:cubicBezTo>
                  <a:pt x="3438509" y="480705"/>
                  <a:pt x="3439327" y="486853"/>
                  <a:pt x="3443678" y="486853"/>
                </a:cubicBezTo>
                <a:cubicBezTo>
                  <a:pt x="3446913" y="486853"/>
                  <a:pt x="3449549" y="493485"/>
                  <a:pt x="3449549" y="501624"/>
                </a:cubicBezTo>
                <a:cubicBezTo>
                  <a:pt x="3449549" y="520284"/>
                  <a:pt x="3453399" y="525859"/>
                  <a:pt x="3464675" y="523522"/>
                </a:cubicBezTo>
                <a:cubicBezTo>
                  <a:pt x="3472450" y="521910"/>
                  <a:pt x="3473771" y="516371"/>
                  <a:pt x="3474924" y="480522"/>
                </a:cubicBezTo>
                <a:cubicBezTo>
                  <a:pt x="3475653" y="457889"/>
                  <a:pt x="3478112" y="436665"/>
                  <a:pt x="3480390" y="433357"/>
                </a:cubicBezTo>
                <a:cubicBezTo>
                  <a:pt x="3482669" y="430049"/>
                  <a:pt x="3484532" y="420790"/>
                  <a:pt x="3484532" y="412781"/>
                </a:cubicBezTo>
                <a:cubicBezTo>
                  <a:pt x="3484532" y="404214"/>
                  <a:pt x="3487169" y="398220"/>
                  <a:pt x="3490938" y="398220"/>
                </a:cubicBezTo>
                <a:cubicBezTo>
                  <a:pt x="3498511" y="398220"/>
                  <a:pt x="3506292" y="379500"/>
                  <a:pt x="3504808" y="364853"/>
                </a:cubicBezTo>
                <a:cubicBezTo>
                  <a:pt x="3503420" y="351174"/>
                  <a:pt x="3489060" y="328581"/>
                  <a:pt x="3481752" y="328581"/>
                </a:cubicBezTo>
                <a:close/>
                <a:moveTo>
                  <a:pt x="3250209" y="322250"/>
                </a:moveTo>
                <a:cubicBezTo>
                  <a:pt x="3243214" y="322250"/>
                  <a:pt x="3227889" y="333810"/>
                  <a:pt x="3218734" y="345991"/>
                </a:cubicBezTo>
                <a:cubicBezTo>
                  <a:pt x="3215463" y="350343"/>
                  <a:pt x="3210413" y="353905"/>
                  <a:pt x="3207511" y="353905"/>
                </a:cubicBezTo>
                <a:cubicBezTo>
                  <a:pt x="3200783" y="353905"/>
                  <a:pt x="3188954" y="373794"/>
                  <a:pt x="3185026" y="391710"/>
                </a:cubicBezTo>
                <a:cubicBezTo>
                  <a:pt x="3182959" y="401144"/>
                  <a:pt x="3184556" y="409295"/>
                  <a:pt x="3190049" y="417333"/>
                </a:cubicBezTo>
                <a:cubicBezTo>
                  <a:pt x="3198704" y="429998"/>
                  <a:pt x="3209038" y="433607"/>
                  <a:pt x="3209038" y="423965"/>
                </a:cubicBezTo>
                <a:cubicBezTo>
                  <a:pt x="3209038" y="420714"/>
                  <a:pt x="3214450" y="417153"/>
                  <a:pt x="3221064" y="416051"/>
                </a:cubicBezTo>
                <a:cubicBezTo>
                  <a:pt x="3230509" y="414477"/>
                  <a:pt x="3233387" y="410312"/>
                  <a:pt x="3234472" y="396638"/>
                </a:cubicBezTo>
                <a:cubicBezTo>
                  <a:pt x="3236215" y="374710"/>
                  <a:pt x="3252767" y="371301"/>
                  <a:pt x="3252767" y="392871"/>
                </a:cubicBezTo>
                <a:cubicBezTo>
                  <a:pt x="3252767" y="406113"/>
                  <a:pt x="3253025" y="406177"/>
                  <a:pt x="3261513" y="395055"/>
                </a:cubicBezTo>
                <a:cubicBezTo>
                  <a:pt x="3277567" y="374022"/>
                  <a:pt x="3269528" y="322250"/>
                  <a:pt x="3250209" y="322250"/>
                </a:cubicBezTo>
                <a:close/>
                <a:moveTo>
                  <a:pt x="3735611" y="303258"/>
                </a:moveTo>
                <a:cubicBezTo>
                  <a:pt x="3739420" y="303258"/>
                  <a:pt x="3742535" y="307294"/>
                  <a:pt x="3742535" y="312227"/>
                </a:cubicBezTo>
                <a:cubicBezTo>
                  <a:pt x="3742535" y="317159"/>
                  <a:pt x="3744851" y="322313"/>
                  <a:pt x="3747682" y="323679"/>
                </a:cubicBezTo>
                <a:cubicBezTo>
                  <a:pt x="3750513" y="325045"/>
                  <a:pt x="3751381" y="329556"/>
                  <a:pt x="3749611" y="333703"/>
                </a:cubicBezTo>
                <a:cubicBezTo>
                  <a:pt x="3745013" y="344472"/>
                  <a:pt x="3739615" y="343017"/>
                  <a:pt x="3736483" y="330164"/>
                </a:cubicBezTo>
                <a:cubicBezTo>
                  <a:pt x="3734998" y="324070"/>
                  <a:pt x="3732636" y="315524"/>
                  <a:pt x="3731235" y="311171"/>
                </a:cubicBezTo>
                <a:cubicBezTo>
                  <a:pt x="3729770" y="306619"/>
                  <a:pt x="3731629" y="303258"/>
                  <a:pt x="3735611" y="303258"/>
                </a:cubicBezTo>
                <a:close/>
                <a:moveTo>
                  <a:pt x="2667524" y="278974"/>
                </a:moveTo>
                <a:cubicBezTo>
                  <a:pt x="2661560" y="280156"/>
                  <a:pt x="2658185" y="293159"/>
                  <a:pt x="2658117" y="316447"/>
                </a:cubicBezTo>
                <a:cubicBezTo>
                  <a:pt x="2658039" y="342968"/>
                  <a:pt x="2660977" y="348786"/>
                  <a:pt x="2673175" y="346258"/>
                </a:cubicBezTo>
                <a:cubicBezTo>
                  <a:pt x="2680611" y="344717"/>
                  <a:pt x="2682100" y="339770"/>
                  <a:pt x="2682100" y="316609"/>
                </a:cubicBezTo>
                <a:cubicBezTo>
                  <a:pt x="2682100" y="296817"/>
                  <a:pt x="2679861" y="286788"/>
                  <a:pt x="2674323" y="281790"/>
                </a:cubicBezTo>
                <a:cubicBezTo>
                  <a:pt x="2671787" y="279500"/>
                  <a:pt x="2669512" y="278580"/>
                  <a:pt x="2667524" y="278974"/>
                </a:cubicBezTo>
                <a:close/>
                <a:moveTo>
                  <a:pt x="2403748" y="222584"/>
                </a:moveTo>
                <a:cubicBezTo>
                  <a:pt x="2406439" y="222027"/>
                  <a:pt x="2408792" y="224335"/>
                  <a:pt x="2408792" y="229925"/>
                </a:cubicBezTo>
                <a:cubicBezTo>
                  <a:pt x="2408792" y="235438"/>
                  <a:pt x="2405677" y="239949"/>
                  <a:pt x="2401869" y="239949"/>
                </a:cubicBezTo>
                <a:cubicBezTo>
                  <a:pt x="2398060" y="239949"/>
                  <a:pt x="2395724" y="236566"/>
                  <a:pt x="2396676" y="232431"/>
                </a:cubicBezTo>
                <a:cubicBezTo>
                  <a:pt x="2398027" y="226562"/>
                  <a:pt x="2401056" y="223140"/>
                  <a:pt x="2403748" y="222584"/>
                </a:cubicBezTo>
                <a:close/>
                <a:moveTo>
                  <a:pt x="3661635" y="214625"/>
                </a:moveTo>
                <a:cubicBezTo>
                  <a:pt x="3665279" y="214625"/>
                  <a:pt x="3668195" y="220253"/>
                  <a:pt x="3668195" y="227287"/>
                </a:cubicBezTo>
                <a:cubicBezTo>
                  <a:pt x="3668195" y="234321"/>
                  <a:pt x="3665279" y="239949"/>
                  <a:pt x="3661635" y="239949"/>
                </a:cubicBezTo>
                <a:cubicBezTo>
                  <a:pt x="3657991" y="239949"/>
                  <a:pt x="3655077" y="234321"/>
                  <a:pt x="3655077" y="227287"/>
                </a:cubicBezTo>
                <a:cubicBezTo>
                  <a:pt x="3655077" y="220253"/>
                  <a:pt x="3657991" y="214625"/>
                  <a:pt x="3661635" y="214625"/>
                </a:cubicBezTo>
                <a:close/>
                <a:moveTo>
                  <a:pt x="2458546" y="189624"/>
                </a:moveTo>
                <a:cubicBezTo>
                  <a:pt x="2461856" y="188735"/>
                  <a:pt x="2465760" y="190792"/>
                  <a:pt x="2468139" y="196363"/>
                </a:cubicBezTo>
                <a:cubicBezTo>
                  <a:pt x="2469953" y="200613"/>
                  <a:pt x="2478604" y="202209"/>
                  <a:pt x="2489869" y="200371"/>
                </a:cubicBezTo>
                <a:cubicBezTo>
                  <a:pt x="2506662" y="197630"/>
                  <a:pt x="2509560" y="199226"/>
                  <a:pt x="2518076" y="215902"/>
                </a:cubicBezTo>
                <a:cubicBezTo>
                  <a:pt x="2523296" y="226123"/>
                  <a:pt x="2526486" y="238565"/>
                  <a:pt x="2525165" y="243549"/>
                </a:cubicBezTo>
                <a:cubicBezTo>
                  <a:pt x="2521689" y="256664"/>
                  <a:pt x="2516449" y="254691"/>
                  <a:pt x="2511500" y="238403"/>
                </a:cubicBezTo>
                <a:cubicBezTo>
                  <a:pt x="2504650" y="215859"/>
                  <a:pt x="2492282" y="216449"/>
                  <a:pt x="2489102" y="239473"/>
                </a:cubicBezTo>
                <a:cubicBezTo>
                  <a:pt x="2485958" y="262227"/>
                  <a:pt x="2470013" y="267861"/>
                  <a:pt x="2470013" y="246218"/>
                </a:cubicBezTo>
                <a:cubicBezTo>
                  <a:pt x="2470013" y="239220"/>
                  <a:pt x="2466078" y="228616"/>
                  <a:pt x="2461268" y="222653"/>
                </a:cubicBezTo>
                <a:cubicBezTo>
                  <a:pt x="2456458" y="216690"/>
                  <a:pt x="2452522" y="206747"/>
                  <a:pt x="2452522" y="200557"/>
                </a:cubicBezTo>
                <a:cubicBezTo>
                  <a:pt x="2452522" y="194347"/>
                  <a:pt x="2455237" y="190513"/>
                  <a:pt x="2458546" y="189624"/>
                </a:cubicBezTo>
                <a:close/>
                <a:moveTo>
                  <a:pt x="2511298" y="176640"/>
                </a:moveTo>
                <a:cubicBezTo>
                  <a:pt x="2515048" y="176640"/>
                  <a:pt x="2518116" y="179489"/>
                  <a:pt x="2518116" y="182971"/>
                </a:cubicBezTo>
                <a:cubicBezTo>
                  <a:pt x="2518116" y="186454"/>
                  <a:pt x="2516264" y="189302"/>
                  <a:pt x="2514001" y="189302"/>
                </a:cubicBezTo>
                <a:cubicBezTo>
                  <a:pt x="2511738" y="189302"/>
                  <a:pt x="2508670" y="186454"/>
                  <a:pt x="2507183" y="182971"/>
                </a:cubicBezTo>
                <a:cubicBezTo>
                  <a:pt x="2505697" y="179489"/>
                  <a:pt x="2507548" y="176640"/>
                  <a:pt x="2511298" y="176640"/>
                </a:cubicBezTo>
                <a:close/>
                <a:moveTo>
                  <a:pt x="2555929" y="171777"/>
                </a:moveTo>
                <a:cubicBezTo>
                  <a:pt x="2566610" y="171004"/>
                  <a:pt x="2578329" y="172802"/>
                  <a:pt x="2582482" y="177792"/>
                </a:cubicBezTo>
                <a:cubicBezTo>
                  <a:pt x="2587445" y="183755"/>
                  <a:pt x="2586019" y="186637"/>
                  <a:pt x="2574699" y="193528"/>
                </a:cubicBezTo>
                <a:cubicBezTo>
                  <a:pt x="2558114" y="203624"/>
                  <a:pt x="2558671" y="203563"/>
                  <a:pt x="2555286" y="195633"/>
                </a:cubicBezTo>
                <a:cubicBezTo>
                  <a:pt x="2553799" y="192151"/>
                  <a:pt x="2548763" y="189302"/>
                  <a:pt x="2544095" y="189302"/>
                </a:cubicBezTo>
                <a:cubicBezTo>
                  <a:pt x="2539427" y="189302"/>
                  <a:pt x="2535607" y="185648"/>
                  <a:pt x="2535607" y="181183"/>
                </a:cubicBezTo>
                <a:cubicBezTo>
                  <a:pt x="2535607" y="175892"/>
                  <a:pt x="2545249" y="172549"/>
                  <a:pt x="2555929" y="171777"/>
                </a:cubicBezTo>
                <a:close/>
                <a:moveTo>
                  <a:pt x="2651238" y="166688"/>
                </a:moveTo>
                <a:cubicBezTo>
                  <a:pt x="2657528" y="168492"/>
                  <a:pt x="2662423" y="175539"/>
                  <a:pt x="2662423" y="186823"/>
                </a:cubicBezTo>
                <a:cubicBezTo>
                  <a:pt x="2662423" y="195151"/>
                  <a:pt x="2660493" y="201964"/>
                  <a:pt x="2658132" y="201964"/>
                </a:cubicBezTo>
                <a:cubicBezTo>
                  <a:pt x="2655774" y="201964"/>
                  <a:pt x="2652609" y="209086"/>
                  <a:pt x="2651099" y="217791"/>
                </a:cubicBezTo>
                <a:cubicBezTo>
                  <a:pt x="2648579" y="232326"/>
                  <a:pt x="2632643" y="241240"/>
                  <a:pt x="2631294" y="228870"/>
                </a:cubicBezTo>
                <a:cubicBezTo>
                  <a:pt x="2631009" y="226259"/>
                  <a:pt x="2631009" y="221985"/>
                  <a:pt x="2631294" y="219374"/>
                </a:cubicBezTo>
                <a:cubicBezTo>
                  <a:pt x="2631578" y="216762"/>
                  <a:pt x="2629844" y="214625"/>
                  <a:pt x="2627439" y="214625"/>
                </a:cubicBezTo>
                <a:cubicBezTo>
                  <a:pt x="2620291" y="214625"/>
                  <a:pt x="2622736" y="193545"/>
                  <a:pt x="2631687" y="178004"/>
                </a:cubicBezTo>
                <a:cubicBezTo>
                  <a:pt x="2637265" y="168321"/>
                  <a:pt x="2644949" y="164883"/>
                  <a:pt x="2651238" y="166688"/>
                </a:cubicBezTo>
                <a:close/>
                <a:moveTo>
                  <a:pt x="3294675" y="163979"/>
                </a:moveTo>
                <a:cubicBezTo>
                  <a:pt x="3302396" y="163979"/>
                  <a:pt x="3301052" y="177608"/>
                  <a:pt x="3292944" y="181520"/>
                </a:cubicBezTo>
                <a:cubicBezTo>
                  <a:pt x="3290088" y="182899"/>
                  <a:pt x="3287751" y="179516"/>
                  <a:pt x="3287751" y="174003"/>
                </a:cubicBezTo>
                <a:cubicBezTo>
                  <a:pt x="3287751" y="168490"/>
                  <a:pt x="3290866" y="163979"/>
                  <a:pt x="3294675" y="163979"/>
                </a:cubicBezTo>
                <a:close/>
                <a:moveTo>
                  <a:pt x="3593184" y="152944"/>
                </a:moveTo>
                <a:cubicBezTo>
                  <a:pt x="3595875" y="152388"/>
                  <a:pt x="3598229" y="154696"/>
                  <a:pt x="3598229" y="160286"/>
                </a:cubicBezTo>
                <a:cubicBezTo>
                  <a:pt x="3598229" y="165799"/>
                  <a:pt x="3595112" y="170310"/>
                  <a:pt x="3591305" y="170310"/>
                </a:cubicBezTo>
                <a:cubicBezTo>
                  <a:pt x="3587497" y="170310"/>
                  <a:pt x="3585159" y="166926"/>
                  <a:pt x="3586112" y="162792"/>
                </a:cubicBezTo>
                <a:cubicBezTo>
                  <a:pt x="3587463" y="156923"/>
                  <a:pt x="3590492" y="153501"/>
                  <a:pt x="3593184" y="152944"/>
                </a:cubicBezTo>
                <a:close/>
                <a:moveTo>
                  <a:pt x="2447768" y="122488"/>
                </a:moveTo>
                <a:cubicBezTo>
                  <a:pt x="2454976" y="128937"/>
                  <a:pt x="2453468" y="151317"/>
                  <a:pt x="2445825" y="151317"/>
                </a:cubicBezTo>
                <a:cubicBezTo>
                  <a:pt x="2442142" y="151317"/>
                  <a:pt x="2437945" y="146852"/>
                  <a:pt x="2436499" y="141395"/>
                </a:cubicBezTo>
                <a:cubicBezTo>
                  <a:pt x="2433343" y="129488"/>
                  <a:pt x="2441081" y="116504"/>
                  <a:pt x="2447768" y="122488"/>
                </a:cubicBezTo>
                <a:close/>
                <a:moveTo>
                  <a:pt x="2758453" y="113837"/>
                </a:moveTo>
                <a:cubicBezTo>
                  <a:pt x="2758489" y="112848"/>
                  <a:pt x="2756442" y="113310"/>
                  <a:pt x="2752343" y="114355"/>
                </a:cubicBezTo>
                <a:cubicBezTo>
                  <a:pt x="2743193" y="116691"/>
                  <a:pt x="2733150" y="156532"/>
                  <a:pt x="2739995" y="163342"/>
                </a:cubicBezTo>
                <a:cubicBezTo>
                  <a:pt x="2746060" y="169373"/>
                  <a:pt x="2753611" y="202383"/>
                  <a:pt x="2756797" y="236783"/>
                </a:cubicBezTo>
                <a:cubicBezTo>
                  <a:pt x="2760450" y="276217"/>
                  <a:pt x="2765335" y="286290"/>
                  <a:pt x="2776577" y="277579"/>
                </a:cubicBezTo>
                <a:cubicBezTo>
                  <a:pt x="2782786" y="272768"/>
                  <a:pt x="2784864" y="264163"/>
                  <a:pt x="2784864" y="243265"/>
                </a:cubicBezTo>
                <a:cubicBezTo>
                  <a:pt x="2784864" y="227925"/>
                  <a:pt x="2786832" y="213612"/>
                  <a:pt x="2789237" y="211460"/>
                </a:cubicBezTo>
                <a:cubicBezTo>
                  <a:pt x="2796011" y="205400"/>
                  <a:pt x="2794395" y="176679"/>
                  <a:pt x="2787050" y="172599"/>
                </a:cubicBezTo>
                <a:cubicBezTo>
                  <a:pt x="2783443" y="170595"/>
                  <a:pt x="2780492" y="164868"/>
                  <a:pt x="2780492" y="159871"/>
                </a:cubicBezTo>
                <a:cubicBezTo>
                  <a:pt x="2780492" y="143577"/>
                  <a:pt x="2765437" y="126054"/>
                  <a:pt x="2754010" y="129045"/>
                </a:cubicBezTo>
                <a:cubicBezTo>
                  <a:pt x="2743566" y="131779"/>
                  <a:pt x="2743521" y="131619"/>
                  <a:pt x="2752067" y="122018"/>
                </a:cubicBezTo>
                <a:cubicBezTo>
                  <a:pt x="2756299" y="117264"/>
                  <a:pt x="2758418" y="114826"/>
                  <a:pt x="2758453" y="113837"/>
                </a:cubicBezTo>
                <a:close/>
                <a:moveTo>
                  <a:pt x="3208103" y="91897"/>
                </a:moveTo>
                <a:cubicBezTo>
                  <a:pt x="3213281" y="90045"/>
                  <a:pt x="3217784" y="97707"/>
                  <a:pt x="3217784" y="116250"/>
                </a:cubicBezTo>
                <a:cubicBezTo>
                  <a:pt x="3217784" y="127720"/>
                  <a:pt x="3220735" y="140651"/>
                  <a:pt x="3224343" y="144986"/>
                </a:cubicBezTo>
                <a:cubicBezTo>
                  <a:pt x="3227951" y="149321"/>
                  <a:pt x="3230903" y="159844"/>
                  <a:pt x="3230903" y="168372"/>
                </a:cubicBezTo>
                <a:cubicBezTo>
                  <a:pt x="3230903" y="176899"/>
                  <a:pt x="3233854" y="188149"/>
                  <a:pt x="3237462" y="193372"/>
                </a:cubicBezTo>
                <a:cubicBezTo>
                  <a:pt x="3244242" y="203188"/>
                  <a:pt x="3246531" y="221731"/>
                  <a:pt x="3240742" y="219944"/>
                </a:cubicBezTo>
                <a:cubicBezTo>
                  <a:pt x="3238938" y="219386"/>
                  <a:pt x="3231221" y="217798"/>
                  <a:pt x="3223595" y="216414"/>
                </a:cubicBezTo>
                <a:cubicBezTo>
                  <a:pt x="3203557" y="212779"/>
                  <a:pt x="3185757" y="185085"/>
                  <a:pt x="3189004" y="162600"/>
                </a:cubicBezTo>
                <a:cubicBezTo>
                  <a:pt x="3190402" y="152912"/>
                  <a:pt x="3192816" y="135822"/>
                  <a:pt x="3194368" y="124622"/>
                </a:cubicBezTo>
                <a:cubicBezTo>
                  <a:pt x="3197072" y="105112"/>
                  <a:pt x="3202925" y="93748"/>
                  <a:pt x="3208103" y="91897"/>
                </a:cubicBezTo>
                <a:close/>
                <a:moveTo>
                  <a:pt x="3421125" y="62685"/>
                </a:moveTo>
                <a:cubicBezTo>
                  <a:pt x="3424732" y="62685"/>
                  <a:pt x="3427684" y="66958"/>
                  <a:pt x="3427684" y="72181"/>
                </a:cubicBezTo>
                <a:cubicBezTo>
                  <a:pt x="3427684" y="77405"/>
                  <a:pt x="3429221" y="81678"/>
                  <a:pt x="3431098" y="81678"/>
                </a:cubicBezTo>
                <a:cubicBezTo>
                  <a:pt x="3435608" y="81678"/>
                  <a:pt x="3445240" y="118931"/>
                  <a:pt x="3441509" y="121946"/>
                </a:cubicBezTo>
                <a:cubicBezTo>
                  <a:pt x="3439919" y="123233"/>
                  <a:pt x="3436145" y="123001"/>
                  <a:pt x="3433123" y="121434"/>
                </a:cubicBezTo>
                <a:cubicBezTo>
                  <a:pt x="3430102" y="119865"/>
                  <a:pt x="3428743" y="115976"/>
                  <a:pt x="3430102" y="112791"/>
                </a:cubicBezTo>
                <a:cubicBezTo>
                  <a:pt x="3431461" y="109606"/>
                  <a:pt x="3430490" y="107001"/>
                  <a:pt x="3427942" y="107001"/>
                </a:cubicBezTo>
                <a:cubicBezTo>
                  <a:pt x="3425395" y="107001"/>
                  <a:pt x="3423312" y="101303"/>
                  <a:pt x="3423312" y="94339"/>
                </a:cubicBezTo>
                <a:cubicBezTo>
                  <a:pt x="3423312" y="87375"/>
                  <a:pt x="3421344" y="81678"/>
                  <a:pt x="3418939" y="81678"/>
                </a:cubicBezTo>
                <a:cubicBezTo>
                  <a:pt x="3416533" y="81678"/>
                  <a:pt x="3414566" y="77405"/>
                  <a:pt x="3414566" y="72181"/>
                </a:cubicBezTo>
                <a:cubicBezTo>
                  <a:pt x="3414566" y="66958"/>
                  <a:pt x="3417517" y="62685"/>
                  <a:pt x="3421125" y="62685"/>
                </a:cubicBezTo>
                <a:close/>
                <a:moveTo>
                  <a:pt x="3123228" y="39762"/>
                </a:moveTo>
                <a:cubicBezTo>
                  <a:pt x="3124340" y="38590"/>
                  <a:pt x="3126716" y="40562"/>
                  <a:pt x="3129915" y="46141"/>
                </a:cubicBezTo>
                <a:cubicBezTo>
                  <a:pt x="3133020" y="51558"/>
                  <a:pt x="3133456" y="56718"/>
                  <a:pt x="3130996" y="58920"/>
                </a:cubicBezTo>
                <a:cubicBezTo>
                  <a:pt x="3128726" y="60950"/>
                  <a:pt x="3125632" y="57947"/>
                  <a:pt x="3124122" y="52246"/>
                </a:cubicBezTo>
                <a:cubicBezTo>
                  <a:pt x="3122267" y="45250"/>
                  <a:pt x="3122116" y="40934"/>
                  <a:pt x="3123228" y="39762"/>
                </a:cubicBezTo>
                <a:close/>
                <a:moveTo>
                  <a:pt x="3491456" y="6650"/>
                </a:moveTo>
                <a:cubicBezTo>
                  <a:pt x="3493713" y="7680"/>
                  <a:pt x="3496272" y="11147"/>
                  <a:pt x="3502024" y="18369"/>
                </a:cubicBezTo>
                <a:cubicBezTo>
                  <a:pt x="3507571" y="25333"/>
                  <a:pt x="3514759" y="31031"/>
                  <a:pt x="3517999" y="31031"/>
                </a:cubicBezTo>
                <a:cubicBezTo>
                  <a:pt x="3521238" y="31031"/>
                  <a:pt x="3523889" y="33879"/>
                  <a:pt x="3523889" y="37362"/>
                </a:cubicBezTo>
                <a:cubicBezTo>
                  <a:pt x="3523889" y="40844"/>
                  <a:pt x="3526840" y="43693"/>
                  <a:pt x="3530448" y="43693"/>
                </a:cubicBezTo>
                <a:cubicBezTo>
                  <a:pt x="3534146" y="43693"/>
                  <a:pt x="3537008" y="49356"/>
                  <a:pt x="3537008" y="56677"/>
                </a:cubicBezTo>
                <a:cubicBezTo>
                  <a:pt x="3537008" y="68583"/>
                  <a:pt x="3565454" y="113232"/>
                  <a:pt x="3573084" y="113301"/>
                </a:cubicBezTo>
                <a:cubicBezTo>
                  <a:pt x="3574888" y="113318"/>
                  <a:pt x="3576364" y="117914"/>
                  <a:pt x="3576364" y="123514"/>
                </a:cubicBezTo>
                <a:cubicBezTo>
                  <a:pt x="3576364" y="131092"/>
                  <a:pt x="3573688" y="132724"/>
                  <a:pt x="3565906" y="129897"/>
                </a:cubicBezTo>
                <a:cubicBezTo>
                  <a:pt x="3556533" y="126491"/>
                  <a:pt x="3555257" y="128464"/>
                  <a:pt x="3553610" y="148893"/>
                </a:cubicBezTo>
                <a:cubicBezTo>
                  <a:pt x="3552230" y="165993"/>
                  <a:pt x="3553751" y="173479"/>
                  <a:pt x="3559695" y="178853"/>
                </a:cubicBezTo>
                <a:cubicBezTo>
                  <a:pt x="3568675" y="186973"/>
                  <a:pt x="3570011" y="202298"/>
                  <a:pt x="3562664" y="212934"/>
                </a:cubicBezTo>
                <a:cubicBezTo>
                  <a:pt x="3556064" y="222489"/>
                  <a:pt x="3561075" y="239949"/>
                  <a:pt x="3570416" y="239949"/>
                </a:cubicBezTo>
                <a:cubicBezTo>
                  <a:pt x="3574511" y="239949"/>
                  <a:pt x="3581581" y="235077"/>
                  <a:pt x="3586126" y="229122"/>
                </a:cubicBezTo>
                <a:cubicBezTo>
                  <a:pt x="3593093" y="219993"/>
                  <a:pt x="3594988" y="219697"/>
                  <a:pt x="3598207" y="227237"/>
                </a:cubicBezTo>
                <a:cubicBezTo>
                  <a:pt x="3600306" y="232155"/>
                  <a:pt x="3600918" y="238770"/>
                  <a:pt x="3599566" y="241937"/>
                </a:cubicBezTo>
                <a:cubicBezTo>
                  <a:pt x="3596331" y="249514"/>
                  <a:pt x="3606716" y="258723"/>
                  <a:pt x="3618632" y="258845"/>
                </a:cubicBezTo>
                <a:cubicBezTo>
                  <a:pt x="3629513" y="258956"/>
                  <a:pt x="3661535" y="300242"/>
                  <a:pt x="3665357" y="319085"/>
                </a:cubicBezTo>
                <a:cubicBezTo>
                  <a:pt x="3666770" y="326049"/>
                  <a:pt x="3666225" y="342430"/>
                  <a:pt x="3664147" y="355487"/>
                </a:cubicBezTo>
                <a:cubicBezTo>
                  <a:pt x="3661949" y="369306"/>
                  <a:pt x="3662006" y="379228"/>
                  <a:pt x="3664283" y="379228"/>
                </a:cubicBezTo>
                <a:cubicBezTo>
                  <a:pt x="3666434" y="379228"/>
                  <a:pt x="3668196" y="383501"/>
                  <a:pt x="3668196" y="388724"/>
                </a:cubicBezTo>
                <a:cubicBezTo>
                  <a:pt x="3668196" y="393948"/>
                  <a:pt x="3670163" y="398220"/>
                  <a:pt x="3672568" y="398220"/>
                </a:cubicBezTo>
                <a:cubicBezTo>
                  <a:pt x="3674973" y="398220"/>
                  <a:pt x="3676941" y="408680"/>
                  <a:pt x="3676941" y="421463"/>
                </a:cubicBezTo>
                <a:cubicBezTo>
                  <a:pt x="3676941" y="434246"/>
                  <a:pt x="3679674" y="449202"/>
                  <a:pt x="3683014" y="454700"/>
                </a:cubicBezTo>
                <a:cubicBezTo>
                  <a:pt x="3686353" y="460197"/>
                  <a:pt x="3690445" y="473953"/>
                  <a:pt x="3692108" y="485270"/>
                </a:cubicBezTo>
                <a:cubicBezTo>
                  <a:pt x="3694511" y="501645"/>
                  <a:pt x="3693718" y="505845"/>
                  <a:pt x="3688220" y="505845"/>
                </a:cubicBezTo>
                <a:cubicBezTo>
                  <a:pt x="3684422" y="505845"/>
                  <a:pt x="3681806" y="502731"/>
                  <a:pt x="3682407" y="498925"/>
                </a:cubicBezTo>
                <a:cubicBezTo>
                  <a:pt x="3684346" y="486656"/>
                  <a:pt x="3669145" y="476556"/>
                  <a:pt x="3660542" y="484398"/>
                </a:cubicBezTo>
                <a:cubicBezTo>
                  <a:pt x="3649957" y="494048"/>
                  <a:pt x="3648855" y="508671"/>
                  <a:pt x="3656943" y="532140"/>
                </a:cubicBezTo>
                <a:cubicBezTo>
                  <a:pt x="3660727" y="543122"/>
                  <a:pt x="3663823" y="559054"/>
                  <a:pt x="3663823" y="567545"/>
                </a:cubicBezTo>
                <a:cubicBezTo>
                  <a:pt x="3663823" y="576036"/>
                  <a:pt x="3667758" y="590227"/>
                  <a:pt x="3672568" y="599081"/>
                </a:cubicBezTo>
                <a:cubicBezTo>
                  <a:pt x="3677379" y="607934"/>
                  <a:pt x="3681314" y="620323"/>
                  <a:pt x="3681314" y="626611"/>
                </a:cubicBezTo>
                <a:cubicBezTo>
                  <a:pt x="3681314" y="632900"/>
                  <a:pt x="3683281" y="639807"/>
                  <a:pt x="3685687" y="641959"/>
                </a:cubicBezTo>
                <a:cubicBezTo>
                  <a:pt x="3688092" y="644110"/>
                  <a:pt x="3690060" y="652384"/>
                  <a:pt x="3690060" y="660343"/>
                </a:cubicBezTo>
                <a:cubicBezTo>
                  <a:pt x="3690060" y="678177"/>
                  <a:pt x="3704117" y="697639"/>
                  <a:pt x="3714879" y="694706"/>
                </a:cubicBezTo>
                <a:cubicBezTo>
                  <a:pt x="3719266" y="693510"/>
                  <a:pt x="3724799" y="686138"/>
                  <a:pt x="3727174" y="678324"/>
                </a:cubicBezTo>
                <a:cubicBezTo>
                  <a:pt x="3729816" y="669628"/>
                  <a:pt x="3735329" y="664117"/>
                  <a:pt x="3741385" y="664117"/>
                </a:cubicBezTo>
                <a:cubicBezTo>
                  <a:pt x="3756867" y="664117"/>
                  <a:pt x="3753920" y="686819"/>
                  <a:pt x="3736264" y="703575"/>
                </a:cubicBezTo>
                <a:cubicBezTo>
                  <a:pt x="3719509" y="719476"/>
                  <a:pt x="3710769" y="756437"/>
                  <a:pt x="3721445" y="766238"/>
                </a:cubicBezTo>
                <a:cubicBezTo>
                  <a:pt x="3730163" y="774239"/>
                  <a:pt x="3743706" y="772450"/>
                  <a:pt x="3753209" y="762044"/>
                </a:cubicBezTo>
                <a:cubicBezTo>
                  <a:pt x="3769495" y="744212"/>
                  <a:pt x="3785979" y="753179"/>
                  <a:pt x="3792622" y="783484"/>
                </a:cubicBezTo>
                <a:cubicBezTo>
                  <a:pt x="3796816" y="802612"/>
                  <a:pt x="3814112" y="799777"/>
                  <a:pt x="3816087" y="779639"/>
                </a:cubicBezTo>
                <a:cubicBezTo>
                  <a:pt x="3816856" y="771797"/>
                  <a:pt x="3824235" y="757926"/>
                  <a:pt x="3832485" y="748816"/>
                </a:cubicBezTo>
                <a:cubicBezTo>
                  <a:pt x="3844749" y="735275"/>
                  <a:pt x="3847474" y="728059"/>
                  <a:pt x="3847425" y="709264"/>
                </a:cubicBezTo>
                <a:cubicBezTo>
                  <a:pt x="3847352" y="681364"/>
                  <a:pt x="3843200" y="656960"/>
                  <a:pt x="3839142" y="660590"/>
                </a:cubicBezTo>
                <a:cubicBezTo>
                  <a:pt x="3834328" y="664898"/>
                  <a:pt x="3838060" y="573936"/>
                  <a:pt x="3842989" y="566799"/>
                </a:cubicBezTo>
                <a:cubicBezTo>
                  <a:pt x="3845462" y="563219"/>
                  <a:pt x="3847485" y="555512"/>
                  <a:pt x="3847485" y="549670"/>
                </a:cubicBezTo>
                <a:cubicBezTo>
                  <a:pt x="3847485" y="543829"/>
                  <a:pt x="3850200" y="535788"/>
                  <a:pt x="3853517" y="531802"/>
                </a:cubicBezTo>
                <a:cubicBezTo>
                  <a:pt x="3861375" y="522361"/>
                  <a:pt x="3865336" y="492780"/>
                  <a:pt x="3861473" y="472401"/>
                </a:cubicBezTo>
                <a:cubicBezTo>
                  <a:pt x="3859792" y="463537"/>
                  <a:pt x="3851164" y="444615"/>
                  <a:pt x="3842299" y="430355"/>
                </a:cubicBezTo>
                <a:cubicBezTo>
                  <a:pt x="3833435" y="416093"/>
                  <a:pt x="3824791" y="398044"/>
                  <a:pt x="3823090" y="390244"/>
                </a:cubicBezTo>
                <a:cubicBezTo>
                  <a:pt x="3821387" y="382444"/>
                  <a:pt x="3816342" y="371455"/>
                  <a:pt x="3811876" y="365824"/>
                </a:cubicBezTo>
                <a:cubicBezTo>
                  <a:pt x="3807409" y="360192"/>
                  <a:pt x="3803756" y="351137"/>
                  <a:pt x="3803756" y="345701"/>
                </a:cubicBezTo>
                <a:cubicBezTo>
                  <a:pt x="3803756" y="340264"/>
                  <a:pt x="3801296" y="331942"/>
                  <a:pt x="3798290" y="327206"/>
                </a:cubicBezTo>
                <a:cubicBezTo>
                  <a:pt x="3787028" y="309466"/>
                  <a:pt x="3782277" y="290931"/>
                  <a:pt x="3783985" y="271395"/>
                </a:cubicBezTo>
                <a:cubicBezTo>
                  <a:pt x="3786140" y="246750"/>
                  <a:pt x="3789194" y="241660"/>
                  <a:pt x="3795958" y="251450"/>
                </a:cubicBezTo>
                <a:cubicBezTo>
                  <a:pt x="3798804" y="255570"/>
                  <a:pt x="3805835" y="258942"/>
                  <a:pt x="3811582" y="258942"/>
                </a:cubicBezTo>
                <a:cubicBezTo>
                  <a:pt x="3823136" y="258942"/>
                  <a:pt x="3838367" y="281252"/>
                  <a:pt x="3838594" y="298509"/>
                </a:cubicBezTo>
                <a:cubicBezTo>
                  <a:pt x="3838673" y="304603"/>
                  <a:pt x="3840707" y="309588"/>
                  <a:pt x="3843112" y="309588"/>
                </a:cubicBezTo>
                <a:cubicBezTo>
                  <a:pt x="3845518" y="309588"/>
                  <a:pt x="3847485" y="313965"/>
                  <a:pt x="3847485" y="319315"/>
                </a:cubicBezTo>
                <a:cubicBezTo>
                  <a:pt x="3847485" y="324665"/>
                  <a:pt x="3862335" y="350059"/>
                  <a:pt x="3880487" y="375747"/>
                </a:cubicBezTo>
                <a:lnTo>
                  <a:pt x="3913488" y="422452"/>
                </a:lnTo>
                <a:lnTo>
                  <a:pt x="3912190" y="462566"/>
                </a:lnTo>
                <a:lnTo>
                  <a:pt x="3910892" y="502680"/>
                </a:lnTo>
                <a:lnTo>
                  <a:pt x="3924010" y="504823"/>
                </a:lnTo>
                <a:cubicBezTo>
                  <a:pt x="3942999" y="507924"/>
                  <a:pt x="3948063" y="516714"/>
                  <a:pt x="3948063" y="546577"/>
                </a:cubicBezTo>
                <a:cubicBezTo>
                  <a:pt x="3948063" y="564774"/>
                  <a:pt x="3950947" y="577580"/>
                  <a:pt x="3957252" y="587378"/>
                </a:cubicBezTo>
                <a:cubicBezTo>
                  <a:pt x="3963929" y="597753"/>
                  <a:pt x="3965963" y="607602"/>
                  <a:pt x="3964689" y="623392"/>
                </a:cubicBezTo>
                <a:cubicBezTo>
                  <a:pt x="3963726" y="635344"/>
                  <a:pt x="3964510" y="645124"/>
                  <a:pt x="3966432" y="645124"/>
                </a:cubicBezTo>
                <a:cubicBezTo>
                  <a:pt x="3968354" y="645124"/>
                  <a:pt x="3969927" y="653671"/>
                  <a:pt x="3969927" y="664117"/>
                </a:cubicBezTo>
                <a:cubicBezTo>
                  <a:pt x="3969927" y="678989"/>
                  <a:pt x="3967999" y="683109"/>
                  <a:pt x="3961040" y="683109"/>
                </a:cubicBezTo>
                <a:cubicBezTo>
                  <a:pt x="3948054" y="683109"/>
                  <a:pt x="3943151" y="707199"/>
                  <a:pt x="3951373" y="730591"/>
                </a:cubicBezTo>
                <a:cubicBezTo>
                  <a:pt x="3955046" y="741036"/>
                  <a:pt x="3959445" y="753857"/>
                  <a:pt x="3961150" y="759079"/>
                </a:cubicBezTo>
                <a:cubicBezTo>
                  <a:pt x="3962855" y="764302"/>
                  <a:pt x="3969441" y="769474"/>
                  <a:pt x="3975786" y="770572"/>
                </a:cubicBezTo>
                <a:cubicBezTo>
                  <a:pt x="3982132" y="771671"/>
                  <a:pt x="3990139" y="778389"/>
                  <a:pt x="3993580" y="785503"/>
                </a:cubicBezTo>
                <a:cubicBezTo>
                  <a:pt x="3997023" y="792617"/>
                  <a:pt x="4001963" y="796536"/>
                  <a:pt x="4004560" y="794212"/>
                </a:cubicBezTo>
                <a:cubicBezTo>
                  <a:pt x="4014268" y="785527"/>
                  <a:pt x="4018223" y="797801"/>
                  <a:pt x="4011235" y="814926"/>
                </a:cubicBezTo>
                <a:cubicBezTo>
                  <a:pt x="4005848" y="828130"/>
                  <a:pt x="4005321" y="835790"/>
                  <a:pt x="4008872" y="849310"/>
                </a:cubicBezTo>
                <a:cubicBezTo>
                  <a:pt x="4014915" y="872322"/>
                  <a:pt x="4024350" y="871260"/>
                  <a:pt x="4041280" y="845658"/>
                </a:cubicBezTo>
                <a:cubicBezTo>
                  <a:pt x="4048936" y="834083"/>
                  <a:pt x="4058642" y="822777"/>
                  <a:pt x="4062851" y="820534"/>
                </a:cubicBezTo>
                <a:cubicBezTo>
                  <a:pt x="4067060" y="818290"/>
                  <a:pt x="4070504" y="810836"/>
                  <a:pt x="4070504" y="803968"/>
                </a:cubicBezTo>
                <a:cubicBezTo>
                  <a:pt x="4070504" y="797100"/>
                  <a:pt x="4072558" y="789643"/>
                  <a:pt x="4075068" y="787397"/>
                </a:cubicBezTo>
                <a:cubicBezTo>
                  <a:pt x="4082578" y="780678"/>
                  <a:pt x="4092369" y="797337"/>
                  <a:pt x="4092369" y="816832"/>
                </a:cubicBezTo>
                <a:cubicBezTo>
                  <a:pt x="4092369" y="826852"/>
                  <a:pt x="4094336" y="835050"/>
                  <a:pt x="4096742" y="835050"/>
                </a:cubicBezTo>
                <a:cubicBezTo>
                  <a:pt x="4099147" y="835050"/>
                  <a:pt x="4101115" y="838974"/>
                  <a:pt x="4101115" y="843771"/>
                </a:cubicBezTo>
                <a:cubicBezTo>
                  <a:pt x="4101115" y="848568"/>
                  <a:pt x="4103939" y="855887"/>
                  <a:pt x="4107393" y="860036"/>
                </a:cubicBezTo>
                <a:cubicBezTo>
                  <a:pt x="4110846" y="864184"/>
                  <a:pt x="4114938" y="875929"/>
                  <a:pt x="4116486" y="886134"/>
                </a:cubicBezTo>
                <a:cubicBezTo>
                  <a:pt x="4118035" y="896339"/>
                  <a:pt x="4120903" y="904689"/>
                  <a:pt x="4122859" y="904689"/>
                </a:cubicBezTo>
                <a:cubicBezTo>
                  <a:pt x="4129480" y="904689"/>
                  <a:pt x="4132273" y="926431"/>
                  <a:pt x="4126496" y="933011"/>
                </a:cubicBezTo>
                <a:cubicBezTo>
                  <a:pt x="4123360" y="936585"/>
                  <a:pt x="4120164" y="950905"/>
                  <a:pt x="4119395" y="964833"/>
                </a:cubicBezTo>
                <a:cubicBezTo>
                  <a:pt x="4118627" y="978760"/>
                  <a:pt x="4114199" y="996037"/>
                  <a:pt x="4109556" y="1003225"/>
                </a:cubicBezTo>
                <a:cubicBezTo>
                  <a:pt x="4102882" y="1013559"/>
                  <a:pt x="4101223" y="1024826"/>
                  <a:pt x="4101632" y="1057038"/>
                </a:cubicBezTo>
                <a:cubicBezTo>
                  <a:pt x="4102419" y="1118983"/>
                  <a:pt x="4105729" y="1134108"/>
                  <a:pt x="4119684" y="1139507"/>
                </a:cubicBezTo>
                <a:cubicBezTo>
                  <a:pt x="4129383" y="1143260"/>
                  <a:pt x="4133289" y="1141217"/>
                  <a:pt x="4139990" y="1128881"/>
                </a:cubicBezTo>
                <a:cubicBezTo>
                  <a:pt x="4149734" y="1110949"/>
                  <a:pt x="4161440" y="1109019"/>
                  <a:pt x="4165434" y="1124687"/>
                </a:cubicBezTo>
                <a:cubicBezTo>
                  <a:pt x="4166987" y="1130780"/>
                  <a:pt x="4169593" y="1137190"/>
                  <a:pt x="4171225" y="1138931"/>
                </a:cubicBezTo>
                <a:cubicBezTo>
                  <a:pt x="4172858" y="1140671"/>
                  <a:pt x="4175524" y="1152580"/>
                  <a:pt x="4177151" y="1165392"/>
                </a:cubicBezTo>
                <a:cubicBezTo>
                  <a:pt x="4179716" y="1185600"/>
                  <a:pt x="4178500" y="1190847"/>
                  <a:pt x="4167975" y="1204976"/>
                </a:cubicBezTo>
                <a:cubicBezTo>
                  <a:pt x="4149740" y="1229454"/>
                  <a:pt x="4143811" y="1222224"/>
                  <a:pt x="4151601" y="1185009"/>
                </a:cubicBezTo>
                <a:cubicBezTo>
                  <a:pt x="4157255" y="1157992"/>
                  <a:pt x="4122446" y="1148532"/>
                  <a:pt x="4115472" y="1175190"/>
                </a:cubicBezTo>
                <a:cubicBezTo>
                  <a:pt x="4111829" y="1189114"/>
                  <a:pt x="4103120" y="1202239"/>
                  <a:pt x="4097522" y="1202239"/>
                </a:cubicBezTo>
                <a:cubicBezTo>
                  <a:pt x="4090898" y="1202239"/>
                  <a:pt x="4088241" y="1185964"/>
                  <a:pt x="4090938" y="1161908"/>
                </a:cubicBezTo>
                <a:cubicBezTo>
                  <a:pt x="4092778" y="1145484"/>
                  <a:pt x="4091040" y="1135021"/>
                  <a:pt x="4084144" y="1120998"/>
                </a:cubicBezTo>
                <a:cubicBezTo>
                  <a:pt x="4079047" y="1110635"/>
                  <a:pt x="4074877" y="1098965"/>
                  <a:pt x="4074877" y="1095063"/>
                </a:cubicBezTo>
                <a:cubicBezTo>
                  <a:pt x="4074877" y="1091163"/>
                  <a:pt x="4069744" y="1085145"/>
                  <a:pt x="4063469" y="1081691"/>
                </a:cubicBezTo>
                <a:cubicBezTo>
                  <a:pt x="4054637" y="1076829"/>
                  <a:pt x="4053151" y="1073513"/>
                  <a:pt x="4056887" y="1066994"/>
                </a:cubicBezTo>
                <a:cubicBezTo>
                  <a:pt x="4060299" y="1061044"/>
                  <a:pt x="4060487" y="1044568"/>
                  <a:pt x="4057531" y="1010814"/>
                </a:cubicBezTo>
                <a:cubicBezTo>
                  <a:pt x="4055058" y="982581"/>
                  <a:pt x="4054928" y="955081"/>
                  <a:pt x="4057210" y="943558"/>
                </a:cubicBezTo>
                <a:cubicBezTo>
                  <a:pt x="4059334" y="932835"/>
                  <a:pt x="4059619" y="916195"/>
                  <a:pt x="4057842" y="906579"/>
                </a:cubicBezTo>
                <a:cubicBezTo>
                  <a:pt x="4055189" y="892214"/>
                  <a:pt x="4051242" y="888129"/>
                  <a:pt x="4035718" y="883685"/>
                </a:cubicBezTo>
                <a:cubicBezTo>
                  <a:pt x="4015653" y="877940"/>
                  <a:pt x="4009486" y="883293"/>
                  <a:pt x="4009350" y="906575"/>
                </a:cubicBezTo>
                <a:cubicBezTo>
                  <a:pt x="4009314" y="912836"/>
                  <a:pt x="4004078" y="924439"/>
                  <a:pt x="3997719" y="932360"/>
                </a:cubicBezTo>
                <a:cubicBezTo>
                  <a:pt x="3987364" y="945255"/>
                  <a:pt x="3986526" y="949361"/>
                  <a:pt x="3989704" y="971623"/>
                </a:cubicBezTo>
                <a:cubicBezTo>
                  <a:pt x="3991655" y="985298"/>
                  <a:pt x="3992795" y="1000315"/>
                  <a:pt x="3992236" y="1004994"/>
                </a:cubicBezTo>
                <a:cubicBezTo>
                  <a:pt x="3991480" y="1011323"/>
                  <a:pt x="3994652" y="1012410"/>
                  <a:pt x="4004625" y="1009239"/>
                </a:cubicBezTo>
                <a:cubicBezTo>
                  <a:pt x="4014796" y="1006005"/>
                  <a:pt x="4018029" y="1007202"/>
                  <a:pt x="4018029" y="1014201"/>
                </a:cubicBezTo>
                <a:cubicBezTo>
                  <a:pt x="4018029" y="1019274"/>
                  <a:pt x="4020980" y="1026971"/>
                  <a:pt x="4024588" y="1031306"/>
                </a:cubicBezTo>
                <a:cubicBezTo>
                  <a:pt x="4028195" y="1035641"/>
                  <a:pt x="4031148" y="1045961"/>
                  <a:pt x="4031148" y="1054239"/>
                </a:cubicBezTo>
                <a:cubicBezTo>
                  <a:pt x="4031148" y="1062518"/>
                  <a:pt x="4033115" y="1069291"/>
                  <a:pt x="4035521" y="1069291"/>
                </a:cubicBezTo>
                <a:cubicBezTo>
                  <a:pt x="4037926" y="1069291"/>
                  <a:pt x="4039924" y="1074277"/>
                  <a:pt x="4039960" y="1080371"/>
                </a:cubicBezTo>
                <a:cubicBezTo>
                  <a:pt x="4040018" y="1089839"/>
                  <a:pt x="4040644" y="1090069"/>
                  <a:pt x="4044266" y="1081953"/>
                </a:cubicBezTo>
                <a:cubicBezTo>
                  <a:pt x="4046597" y="1076730"/>
                  <a:pt x="4048506" y="1075306"/>
                  <a:pt x="4048506" y="1078788"/>
                </a:cubicBezTo>
                <a:cubicBezTo>
                  <a:pt x="4048506" y="1082270"/>
                  <a:pt x="4046736" y="1089167"/>
                  <a:pt x="4044572" y="1094114"/>
                </a:cubicBezTo>
                <a:cubicBezTo>
                  <a:pt x="4041220" y="1101781"/>
                  <a:pt x="4038992" y="1101547"/>
                  <a:pt x="4029488" y="1092532"/>
                </a:cubicBezTo>
                <a:cubicBezTo>
                  <a:pt x="4015693" y="1079445"/>
                  <a:pt x="4007592" y="1079142"/>
                  <a:pt x="4000537" y="1091450"/>
                </a:cubicBezTo>
                <a:cubicBezTo>
                  <a:pt x="3996171" y="1099065"/>
                  <a:pt x="3996280" y="1103016"/>
                  <a:pt x="4001086" y="1111401"/>
                </a:cubicBezTo>
                <a:cubicBezTo>
                  <a:pt x="4005450" y="1119012"/>
                  <a:pt x="4006701" y="1137522"/>
                  <a:pt x="4005684" y="1179458"/>
                </a:cubicBezTo>
                <a:cubicBezTo>
                  <a:pt x="4004605" y="1223959"/>
                  <a:pt x="4005818" y="1239939"/>
                  <a:pt x="4011018" y="1249721"/>
                </a:cubicBezTo>
                <a:cubicBezTo>
                  <a:pt x="4014722" y="1256685"/>
                  <a:pt x="4017814" y="1270025"/>
                  <a:pt x="4017890" y="1279365"/>
                </a:cubicBezTo>
                <a:cubicBezTo>
                  <a:pt x="4018066" y="1300837"/>
                  <a:pt x="4033415" y="1310120"/>
                  <a:pt x="4041682" y="1293755"/>
                </a:cubicBezTo>
                <a:cubicBezTo>
                  <a:pt x="4047438" y="1282358"/>
                  <a:pt x="4046028" y="1255210"/>
                  <a:pt x="4039371" y="1249254"/>
                </a:cubicBezTo>
                <a:cubicBezTo>
                  <a:pt x="4037254" y="1247358"/>
                  <a:pt x="4035521" y="1236005"/>
                  <a:pt x="4035521" y="1224024"/>
                </a:cubicBezTo>
                <a:cubicBezTo>
                  <a:pt x="4035521" y="1205626"/>
                  <a:pt x="4037056" y="1202239"/>
                  <a:pt x="4045401" y="1202239"/>
                </a:cubicBezTo>
                <a:cubicBezTo>
                  <a:pt x="4057146" y="1202239"/>
                  <a:pt x="4064388" y="1217175"/>
                  <a:pt x="4068670" y="1250220"/>
                </a:cubicBezTo>
                <a:cubicBezTo>
                  <a:pt x="4070396" y="1263538"/>
                  <a:pt x="4073870" y="1277631"/>
                  <a:pt x="4076391" y="1281537"/>
                </a:cubicBezTo>
                <a:cubicBezTo>
                  <a:pt x="4081652" y="1289690"/>
                  <a:pt x="4102235" y="1285958"/>
                  <a:pt x="4098627" y="1277505"/>
                </a:cubicBezTo>
                <a:cubicBezTo>
                  <a:pt x="4097315" y="1274432"/>
                  <a:pt x="4101765" y="1274842"/>
                  <a:pt x="4108517" y="1278416"/>
                </a:cubicBezTo>
                <a:cubicBezTo>
                  <a:pt x="4115269" y="1281992"/>
                  <a:pt x="4123474" y="1286290"/>
                  <a:pt x="4126752" y="1287969"/>
                </a:cubicBezTo>
                <a:cubicBezTo>
                  <a:pt x="4131236" y="1290267"/>
                  <a:pt x="4131496" y="1293137"/>
                  <a:pt x="4127806" y="1299575"/>
                </a:cubicBezTo>
                <a:cubicBezTo>
                  <a:pt x="4123857" y="1306464"/>
                  <a:pt x="4125038" y="1307538"/>
                  <a:pt x="4133874" y="1305093"/>
                </a:cubicBezTo>
                <a:cubicBezTo>
                  <a:pt x="4142564" y="1302688"/>
                  <a:pt x="4144844" y="1298264"/>
                  <a:pt x="4144844" y="1283803"/>
                </a:cubicBezTo>
                <a:cubicBezTo>
                  <a:pt x="4144844" y="1269988"/>
                  <a:pt x="4146897" y="1265548"/>
                  <a:pt x="4153286" y="1265548"/>
                </a:cubicBezTo>
                <a:cubicBezTo>
                  <a:pt x="4158698" y="1265548"/>
                  <a:pt x="4162229" y="1270637"/>
                  <a:pt x="4163125" y="1279728"/>
                </a:cubicBezTo>
                <a:cubicBezTo>
                  <a:pt x="4163894" y="1287527"/>
                  <a:pt x="4168126" y="1294902"/>
                  <a:pt x="4172531" y="1296118"/>
                </a:cubicBezTo>
                <a:cubicBezTo>
                  <a:pt x="4184376" y="1299388"/>
                  <a:pt x="4195852" y="1278682"/>
                  <a:pt x="4193740" y="1257851"/>
                </a:cubicBezTo>
                <a:cubicBezTo>
                  <a:pt x="4192698" y="1247574"/>
                  <a:pt x="4193984" y="1240225"/>
                  <a:pt x="4196823" y="1240225"/>
                </a:cubicBezTo>
                <a:cubicBezTo>
                  <a:pt x="4199501" y="1240225"/>
                  <a:pt x="4201692" y="1235951"/>
                  <a:pt x="4201692" y="1230729"/>
                </a:cubicBezTo>
                <a:cubicBezTo>
                  <a:pt x="4201692" y="1224953"/>
                  <a:pt x="4205761" y="1221232"/>
                  <a:pt x="4212078" y="1221232"/>
                </a:cubicBezTo>
                <a:cubicBezTo>
                  <a:pt x="4220211" y="1221232"/>
                  <a:pt x="4223056" y="1225522"/>
                  <a:pt x="4225197" y="1241016"/>
                </a:cubicBezTo>
                <a:cubicBezTo>
                  <a:pt x="4226700" y="1251897"/>
                  <a:pt x="4227930" y="1266397"/>
                  <a:pt x="4227930" y="1273238"/>
                </a:cubicBezTo>
                <a:cubicBezTo>
                  <a:pt x="4227930" y="1280079"/>
                  <a:pt x="4231767" y="1290406"/>
                  <a:pt x="4236457" y="1296187"/>
                </a:cubicBezTo>
                <a:cubicBezTo>
                  <a:pt x="4245384" y="1307189"/>
                  <a:pt x="4252446" y="1346846"/>
                  <a:pt x="4258151" y="1418012"/>
                </a:cubicBezTo>
                <a:cubicBezTo>
                  <a:pt x="4259989" y="1440933"/>
                  <a:pt x="4262713" y="1462544"/>
                  <a:pt x="4264204" y="1466038"/>
                </a:cubicBezTo>
                <a:cubicBezTo>
                  <a:pt x="4268527" y="1476166"/>
                  <a:pt x="4284247" y="1471595"/>
                  <a:pt x="4291061" y="1458229"/>
                </a:cubicBezTo>
                <a:cubicBezTo>
                  <a:pt x="4295881" y="1448777"/>
                  <a:pt x="4298507" y="1447689"/>
                  <a:pt x="4302556" y="1453466"/>
                </a:cubicBezTo>
                <a:cubicBezTo>
                  <a:pt x="4310667" y="1465041"/>
                  <a:pt x="4304179" y="1479710"/>
                  <a:pt x="4288263" y="1485776"/>
                </a:cubicBezTo>
                <a:lnTo>
                  <a:pt x="4273845" y="1491271"/>
                </a:lnTo>
                <a:lnTo>
                  <a:pt x="4274670" y="1576119"/>
                </a:lnTo>
                <a:cubicBezTo>
                  <a:pt x="4275187" y="1629302"/>
                  <a:pt x="4277226" y="1661803"/>
                  <a:pt x="4280135" y="1663208"/>
                </a:cubicBezTo>
                <a:cubicBezTo>
                  <a:pt x="4282689" y="1664439"/>
                  <a:pt x="4284786" y="1677318"/>
                  <a:pt x="4284796" y="1691826"/>
                </a:cubicBezTo>
                <a:cubicBezTo>
                  <a:pt x="4284805" y="1707440"/>
                  <a:pt x="4289315" y="1731050"/>
                  <a:pt x="4295844" y="1749682"/>
                </a:cubicBezTo>
                <a:cubicBezTo>
                  <a:pt x="4304028" y="1773035"/>
                  <a:pt x="4307579" y="1795505"/>
                  <a:pt x="4309600" y="1836731"/>
                </a:cubicBezTo>
                <a:cubicBezTo>
                  <a:pt x="4311099" y="1867296"/>
                  <a:pt x="4314087" y="1892303"/>
                  <a:pt x="4316241" y="1892303"/>
                </a:cubicBezTo>
                <a:cubicBezTo>
                  <a:pt x="4320687" y="1892303"/>
                  <a:pt x="4317040" y="1930980"/>
                  <a:pt x="4310107" y="1957356"/>
                </a:cubicBezTo>
                <a:cubicBezTo>
                  <a:pt x="4306458" y="1971241"/>
                  <a:pt x="4306914" y="1977217"/>
                  <a:pt x="4312284" y="1985845"/>
                </a:cubicBezTo>
                <a:cubicBezTo>
                  <a:pt x="4316021" y="1991849"/>
                  <a:pt x="4320430" y="2004597"/>
                  <a:pt x="4322081" y="2014172"/>
                </a:cubicBezTo>
                <a:cubicBezTo>
                  <a:pt x="4323731" y="2023747"/>
                  <a:pt x="4326836" y="2031582"/>
                  <a:pt x="4328981" y="2031582"/>
                </a:cubicBezTo>
                <a:cubicBezTo>
                  <a:pt x="4331125" y="2031582"/>
                  <a:pt x="4332880" y="2036931"/>
                  <a:pt x="4332880" y="2043469"/>
                </a:cubicBezTo>
                <a:cubicBezTo>
                  <a:pt x="4332880" y="2063669"/>
                  <a:pt x="4342559" y="2069939"/>
                  <a:pt x="4353651" y="2056924"/>
                </a:cubicBezTo>
                <a:cubicBezTo>
                  <a:pt x="4359063" y="2050574"/>
                  <a:pt x="4363490" y="2040761"/>
                  <a:pt x="4363490" y="2035116"/>
                </a:cubicBezTo>
                <a:cubicBezTo>
                  <a:pt x="4363490" y="2025830"/>
                  <a:pt x="4374965" y="2013985"/>
                  <a:pt x="4378404" y="2019721"/>
                </a:cubicBezTo>
                <a:cubicBezTo>
                  <a:pt x="4382680" y="2026854"/>
                  <a:pt x="4384603" y="2067785"/>
                  <a:pt x="4381043" y="2075898"/>
                </a:cubicBezTo>
                <a:cubicBezTo>
                  <a:pt x="4377629" y="2083677"/>
                  <a:pt x="4375302" y="2083981"/>
                  <a:pt x="4368169" y="2077583"/>
                </a:cubicBezTo>
                <a:cubicBezTo>
                  <a:pt x="4363381" y="2073287"/>
                  <a:pt x="4356207" y="2071582"/>
                  <a:pt x="4352226" y="2073792"/>
                </a:cubicBezTo>
                <a:cubicBezTo>
                  <a:pt x="4346268" y="2077103"/>
                  <a:pt x="4345547" y="2082948"/>
                  <a:pt x="4348141" y="2106926"/>
                </a:cubicBezTo>
                <a:cubicBezTo>
                  <a:pt x="4349873" y="2122939"/>
                  <a:pt x="4351206" y="2141026"/>
                  <a:pt x="4351103" y="2147120"/>
                </a:cubicBezTo>
                <a:cubicBezTo>
                  <a:pt x="4351000" y="2153213"/>
                  <a:pt x="4352761" y="2158199"/>
                  <a:pt x="4355016" y="2158199"/>
                </a:cubicBezTo>
                <a:cubicBezTo>
                  <a:pt x="4357271" y="2158199"/>
                  <a:pt x="4359117" y="2162472"/>
                  <a:pt x="4359117" y="2167695"/>
                </a:cubicBezTo>
                <a:cubicBezTo>
                  <a:pt x="4359117" y="2172918"/>
                  <a:pt x="4361085" y="2177191"/>
                  <a:pt x="4363490" y="2177191"/>
                </a:cubicBezTo>
                <a:cubicBezTo>
                  <a:pt x="4369461" y="2177191"/>
                  <a:pt x="4369033" y="2204620"/>
                  <a:pt x="4362923" y="2213465"/>
                </a:cubicBezTo>
                <a:cubicBezTo>
                  <a:pt x="4360191" y="2217421"/>
                  <a:pt x="4356771" y="2253115"/>
                  <a:pt x="4355271" y="2293337"/>
                </a:cubicBezTo>
                <a:cubicBezTo>
                  <a:pt x="4352827" y="2358834"/>
                  <a:pt x="4353334" y="2366758"/>
                  <a:pt x="4360370" y="2373116"/>
                </a:cubicBezTo>
                <a:cubicBezTo>
                  <a:pt x="4372985" y="2384514"/>
                  <a:pt x="4377570" y="2409853"/>
                  <a:pt x="4371450" y="2434355"/>
                </a:cubicBezTo>
                <a:cubicBezTo>
                  <a:pt x="4368511" y="2446121"/>
                  <a:pt x="4364534" y="2455749"/>
                  <a:pt x="4362612" y="2455749"/>
                </a:cubicBezTo>
                <a:cubicBezTo>
                  <a:pt x="4357631" y="2455749"/>
                  <a:pt x="4358275" y="2489982"/>
                  <a:pt x="4363396" y="2497396"/>
                </a:cubicBezTo>
                <a:cubicBezTo>
                  <a:pt x="4365748" y="2500803"/>
                  <a:pt x="4368713" y="2547510"/>
                  <a:pt x="4369984" y="2601191"/>
                </a:cubicBezTo>
                <a:cubicBezTo>
                  <a:pt x="4371255" y="2654871"/>
                  <a:pt x="4374095" y="2700403"/>
                  <a:pt x="4376297" y="2702374"/>
                </a:cubicBezTo>
                <a:cubicBezTo>
                  <a:pt x="4378499" y="2704344"/>
                  <a:pt x="4381707" y="2733701"/>
                  <a:pt x="4383427" y="2767613"/>
                </a:cubicBezTo>
                <a:cubicBezTo>
                  <a:pt x="4385146" y="2801524"/>
                  <a:pt x="4388251" y="2829270"/>
                  <a:pt x="4390327" y="2829270"/>
                </a:cubicBezTo>
                <a:cubicBezTo>
                  <a:pt x="4392403" y="2829270"/>
                  <a:pt x="4394101" y="2840524"/>
                  <a:pt x="4394101" y="2854279"/>
                </a:cubicBezTo>
                <a:cubicBezTo>
                  <a:pt x="4394101" y="2870956"/>
                  <a:pt x="4396509" y="2881239"/>
                  <a:pt x="4401330" y="2885145"/>
                </a:cubicBezTo>
                <a:cubicBezTo>
                  <a:pt x="4407551" y="2890184"/>
                  <a:pt x="4407887" y="2894843"/>
                  <a:pt x="4403735" y="2918518"/>
                </a:cubicBezTo>
                <a:cubicBezTo>
                  <a:pt x="4401082" y="2933652"/>
                  <a:pt x="4400307" y="2947539"/>
                  <a:pt x="4402014" y="2949378"/>
                </a:cubicBezTo>
                <a:cubicBezTo>
                  <a:pt x="4403720" y="2951217"/>
                  <a:pt x="4408989" y="2963405"/>
                  <a:pt x="4413722" y="2976462"/>
                </a:cubicBezTo>
                <a:cubicBezTo>
                  <a:pt x="4422755" y="3001383"/>
                  <a:pt x="4428254" y="3005204"/>
                  <a:pt x="4436955" y="2992606"/>
                </a:cubicBezTo>
                <a:cubicBezTo>
                  <a:pt x="4443008" y="2983844"/>
                  <a:pt x="4444037" y="2962218"/>
                  <a:pt x="4438402" y="2962218"/>
                </a:cubicBezTo>
                <a:cubicBezTo>
                  <a:pt x="4436311" y="2962218"/>
                  <a:pt x="4433493" y="2952336"/>
                  <a:pt x="4432140" y="2940257"/>
                </a:cubicBezTo>
                <a:cubicBezTo>
                  <a:pt x="4430785" y="2928178"/>
                  <a:pt x="4425583" y="2911933"/>
                  <a:pt x="4420579" y="2904157"/>
                </a:cubicBezTo>
                <a:lnTo>
                  <a:pt x="4411480" y="2890017"/>
                </a:lnTo>
                <a:lnTo>
                  <a:pt x="4423561" y="2875699"/>
                </a:lnTo>
                <a:cubicBezTo>
                  <a:pt x="4437451" y="2859237"/>
                  <a:pt x="4451949" y="2856909"/>
                  <a:pt x="4459419" y="2869941"/>
                </a:cubicBezTo>
                <a:cubicBezTo>
                  <a:pt x="4465644" y="2880798"/>
                  <a:pt x="4461173" y="2922996"/>
                  <a:pt x="4452464" y="2935605"/>
                </a:cubicBezTo>
                <a:cubicBezTo>
                  <a:pt x="4446070" y="2944861"/>
                  <a:pt x="4444467" y="2962218"/>
                  <a:pt x="4450005" y="2962218"/>
                </a:cubicBezTo>
                <a:cubicBezTo>
                  <a:pt x="4451892" y="2962218"/>
                  <a:pt x="4457000" y="2970952"/>
                  <a:pt x="4461356" y="2981627"/>
                </a:cubicBezTo>
                <a:cubicBezTo>
                  <a:pt x="4468620" y="2999432"/>
                  <a:pt x="4468698" y="3001959"/>
                  <a:pt x="4462298" y="3012197"/>
                </a:cubicBezTo>
                <a:cubicBezTo>
                  <a:pt x="4454880" y="3024065"/>
                  <a:pt x="4453231" y="3039382"/>
                  <a:pt x="4458544" y="3047075"/>
                </a:cubicBezTo>
                <a:cubicBezTo>
                  <a:pt x="4460317" y="3049641"/>
                  <a:pt x="4464114" y="3071903"/>
                  <a:pt x="4466982" y="3096545"/>
                </a:cubicBezTo>
                <a:cubicBezTo>
                  <a:pt x="4469850" y="3121186"/>
                  <a:pt x="4474231" y="3143169"/>
                  <a:pt x="4476717" y="3145393"/>
                </a:cubicBezTo>
                <a:cubicBezTo>
                  <a:pt x="4479207" y="3147621"/>
                  <a:pt x="4481629" y="3176354"/>
                  <a:pt x="4482109" y="3209351"/>
                </a:cubicBezTo>
                <a:cubicBezTo>
                  <a:pt x="4482824" y="3258484"/>
                  <a:pt x="4484503" y="3271734"/>
                  <a:pt x="4491442" y="3282990"/>
                </a:cubicBezTo>
                <a:cubicBezTo>
                  <a:pt x="4497783" y="3293278"/>
                  <a:pt x="4499162" y="3301605"/>
                  <a:pt x="4496943" y="3316228"/>
                </a:cubicBezTo>
                <a:cubicBezTo>
                  <a:pt x="4493270" y="3340439"/>
                  <a:pt x="4483514" y="3341615"/>
                  <a:pt x="4479522" y="3318328"/>
                </a:cubicBezTo>
                <a:cubicBezTo>
                  <a:pt x="4476154" y="3298680"/>
                  <a:pt x="4460893" y="3272430"/>
                  <a:pt x="4452840" y="3272430"/>
                </a:cubicBezTo>
                <a:cubicBezTo>
                  <a:pt x="4446154" y="3272430"/>
                  <a:pt x="4442203" y="3286899"/>
                  <a:pt x="4442203" y="3311385"/>
                </a:cubicBezTo>
                <a:cubicBezTo>
                  <a:pt x="4442203" y="3321795"/>
                  <a:pt x="4439184" y="3334682"/>
                  <a:pt x="4435495" y="3340023"/>
                </a:cubicBezTo>
                <a:cubicBezTo>
                  <a:pt x="4431661" y="3345574"/>
                  <a:pt x="4429909" y="3354850"/>
                  <a:pt x="4431405" y="3361676"/>
                </a:cubicBezTo>
                <a:cubicBezTo>
                  <a:pt x="4433651" y="3371920"/>
                  <a:pt x="4432582" y="3372853"/>
                  <a:pt x="4423901" y="3368237"/>
                </a:cubicBezTo>
                <a:cubicBezTo>
                  <a:pt x="4415737" y="3363896"/>
                  <a:pt x="4413356" y="3356944"/>
                  <a:pt x="4411592" y="3332307"/>
                </a:cubicBezTo>
                <a:cubicBezTo>
                  <a:pt x="4409698" y="3305849"/>
                  <a:pt x="4407865" y="3301168"/>
                  <a:pt x="4397896" y="3297338"/>
                </a:cubicBezTo>
                <a:cubicBezTo>
                  <a:pt x="4391566" y="3294906"/>
                  <a:pt x="4384072" y="3294987"/>
                  <a:pt x="4381244" y="3297518"/>
                </a:cubicBezTo>
                <a:cubicBezTo>
                  <a:pt x="4374953" y="3303147"/>
                  <a:pt x="4379280" y="3332143"/>
                  <a:pt x="4387970" y="3342585"/>
                </a:cubicBezTo>
                <a:cubicBezTo>
                  <a:pt x="4395032" y="3351070"/>
                  <a:pt x="4396573" y="3411709"/>
                  <a:pt x="4389728" y="3411709"/>
                </a:cubicBezTo>
                <a:cubicBezTo>
                  <a:pt x="4387322" y="3411709"/>
                  <a:pt x="4385355" y="3423104"/>
                  <a:pt x="4385355" y="3437032"/>
                </a:cubicBezTo>
                <a:cubicBezTo>
                  <a:pt x="4385355" y="3450960"/>
                  <a:pt x="4387322" y="3462355"/>
                  <a:pt x="4389728" y="3462355"/>
                </a:cubicBezTo>
                <a:cubicBezTo>
                  <a:pt x="4392133" y="3462355"/>
                  <a:pt x="4394101" y="3469316"/>
                  <a:pt x="4394101" y="3477824"/>
                </a:cubicBezTo>
                <a:cubicBezTo>
                  <a:pt x="4394101" y="3486331"/>
                  <a:pt x="4398166" y="3497414"/>
                  <a:pt x="4403134" y="3502453"/>
                </a:cubicBezTo>
                <a:cubicBezTo>
                  <a:pt x="4410497" y="3509918"/>
                  <a:pt x="4411638" y="3515708"/>
                  <a:pt x="4409301" y="3533741"/>
                </a:cubicBezTo>
                <a:cubicBezTo>
                  <a:pt x="4407513" y="3547540"/>
                  <a:pt x="4408278" y="3557518"/>
                  <a:pt x="4411334" y="3560252"/>
                </a:cubicBezTo>
                <a:cubicBezTo>
                  <a:pt x="4414360" y="3562961"/>
                  <a:pt x="4415160" y="3572918"/>
                  <a:pt x="4413426" y="3586301"/>
                </a:cubicBezTo>
                <a:cubicBezTo>
                  <a:pt x="4411232" y="3603235"/>
                  <a:pt x="4412068" y="3607965"/>
                  <a:pt x="4417255" y="3607965"/>
                </a:cubicBezTo>
                <a:cubicBezTo>
                  <a:pt x="4421739" y="3607965"/>
                  <a:pt x="4423150" y="3612073"/>
                  <a:pt x="4421605" y="3620627"/>
                </a:cubicBezTo>
                <a:cubicBezTo>
                  <a:pt x="4420347" y="3627590"/>
                  <a:pt x="4416534" y="3633289"/>
                  <a:pt x="4413131" y="3633289"/>
                </a:cubicBezTo>
                <a:cubicBezTo>
                  <a:pt x="4409728" y="3633289"/>
                  <a:pt x="4405812" y="3637562"/>
                  <a:pt x="4404428" y="3642785"/>
                </a:cubicBezTo>
                <a:cubicBezTo>
                  <a:pt x="4403043" y="3648008"/>
                  <a:pt x="4398186" y="3652281"/>
                  <a:pt x="4393632" y="3652281"/>
                </a:cubicBezTo>
                <a:cubicBezTo>
                  <a:pt x="4387073" y="3652281"/>
                  <a:pt x="4385355" y="3647639"/>
                  <a:pt x="4385355" y="3629925"/>
                </a:cubicBezTo>
                <a:cubicBezTo>
                  <a:pt x="4385355" y="3615892"/>
                  <a:pt x="4387797" y="3606211"/>
                  <a:pt x="4391914" y="3603924"/>
                </a:cubicBezTo>
                <a:cubicBezTo>
                  <a:pt x="4395522" y="3601919"/>
                  <a:pt x="4398473" y="3593562"/>
                  <a:pt x="4398473" y="3585352"/>
                </a:cubicBezTo>
                <a:cubicBezTo>
                  <a:pt x="4398473" y="3569607"/>
                  <a:pt x="4387338" y="3557318"/>
                  <a:pt x="4373070" y="3557318"/>
                </a:cubicBezTo>
                <a:cubicBezTo>
                  <a:pt x="4363359" y="3557318"/>
                  <a:pt x="4356613" y="3524686"/>
                  <a:pt x="4362940" y="3508318"/>
                </a:cubicBezTo>
                <a:cubicBezTo>
                  <a:pt x="4365415" y="3501914"/>
                  <a:pt x="4364319" y="3494494"/>
                  <a:pt x="4359759" y="3486782"/>
                </a:cubicBezTo>
                <a:cubicBezTo>
                  <a:pt x="4351128" y="3472190"/>
                  <a:pt x="4342550" y="3471843"/>
                  <a:pt x="4332004" y="3485660"/>
                </a:cubicBezTo>
                <a:cubicBezTo>
                  <a:pt x="4324352" y="3495687"/>
                  <a:pt x="4323493" y="3495504"/>
                  <a:pt x="4317200" y="3482495"/>
                </a:cubicBezTo>
                <a:cubicBezTo>
                  <a:pt x="4308990" y="3465526"/>
                  <a:pt x="4299650" y="3464775"/>
                  <a:pt x="4293795" y="3480613"/>
                </a:cubicBezTo>
                <a:cubicBezTo>
                  <a:pt x="4290442" y="3489683"/>
                  <a:pt x="4291971" y="3499914"/>
                  <a:pt x="4300183" y="3523346"/>
                </a:cubicBezTo>
                <a:cubicBezTo>
                  <a:pt x="4306120" y="3540290"/>
                  <a:pt x="4310987" y="3560395"/>
                  <a:pt x="4310997" y="3568024"/>
                </a:cubicBezTo>
                <a:cubicBezTo>
                  <a:pt x="4311006" y="3575652"/>
                  <a:pt x="4313015" y="3583684"/>
                  <a:pt x="4315459" y="3585871"/>
                </a:cubicBezTo>
                <a:cubicBezTo>
                  <a:pt x="4322971" y="3592592"/>
                  <a:pt x="4315546" y="3601634"/>
                  <a:pt x="4302514" y="3601634"/>
                </a:cubicBezTo>
                <a:cubicBezTo>
                  <a:pt x="4288527" y="3601634"/>
                  <a:pt x="4275275" y="3578803"/>
                  <a:pt x="4271659" y="3548478"/>
                </a:cubicBezTo>
                <a:cubicBezTo>
                  <a:pt x="4269223" y="3528055"/>
                  <a:pt x="4254451" y="3510564"/>
                  <a:pt x="4251054" y="3524081"/>
                </a:cubicBezTo>
                <a:cubicBezTo>
                  <a:pt x="4247155" y="3539593"/>
                  <a:pt x="4236675" y="3532372"/>
                  <a:pt x="4236675" y="3514175"/>
                </a:cubicBezTo>
                <a:cubicBezTo>
                  <a:pt x="4236675" y="3500042"/>
                  <a:pt x="4233508" y="3494168"/>
                  <a:pt x="4221370" y="3485789"/>
                </a:cubicBezTo>
                <a:cubicBezTo>
                  <a:pt x="4212952" y="3479977"/>
                  <a:pt x="4206065" y="3471169"/>
                  <a:pt x="4206065" y="3466216"/>
                </a:cubicBezTo>
                <a:cubicBezTo>
                  <a:pt x="4206065" y="3460319"/>
                  <a:pt x="4203038" y="3458355"/>
                  <a:pt x="4197295" y="3460530"/>
                </a:cubicBezTo>
                <a:cubicBezTo>
                  <a:pt x="4192472" y="3462356"/>
                  <a:pt x="4185586" y="3460316"/>
                  <a:pt x="4181991" y="3455997"/>
                </a:cubicBezTo>
                <a:cubicBezTo>
                  <a:pt x="4176441" y="3449329"/>
                  <a:pt x="4175454" y="3450970"/>
                  <a:pt x="4175454" y="3466856"/>
                </a:cubicBezTo>
                <a:cubicBezTo>
                  <a:pt x="4175454" y="3491796"/>
                  <a:pt x="4172119" y="3495286"/>
                  <a:pt x="4159615" y="3483426"/>
                </a:cubicBezTo>
                <a:cubicBezTo>
                  <a:pt x="4151211" y="3475452"/>
                  <a:pt x="4145688" y="3474774"/>
                  <a:pt x="4131533" y="3479975"/>
                </a:cubicBezTo>
                <a:cubicBezTo>
                  <a:pt x="4114648" y="3486180"/>
                  <a:pt x="4114037" y="3485884"/>
                  <a:pt x="4116891" y="3472870"/>
                </a:cubicBezTo>
                <a:cubicBezTo>
                  <a:pt x="4119527" y="3460840"/>
                  <a:pt x="4119047" y="3460276"/>
                  <a:pt x="4112678" y="3467929"/>
                </a:cubicBezTo>
                <a:cubicBezTo>
                  <a:pt x="4104758" y="3477444"/>
                  <a:pt x="4102969" y="3494010"/>
                  <a:pt x="4109861" y="3494010"/>
                </a:cubicBezTo>
                <a:cubicBezTo>
                  <a:pt x="4116533" y="3494010"/>
                  <a:pt x="4115068" y="3523551"/>
                  <a:pt x="4107881" y="3533957"/>
                </a:cubicBezTo>
                <a:cubicBezTo>
                  <a:pt x="4100407" y="3544778"/>
                  <a:pt x="4102028" y="3595604"/>
                  <a:pt x="4111751" y="3655281"/>
                </a:cubicBezTo>
                <a:cubicBezTo>
                  <a:pt x="4115140" y="3676081"/>
                  <a:pt x="4116973" y="3695300"/>
                  <a:pt x="4115825" y="3697990"/>
                </a:cubicBezTo>
                <a:cubicBezTo>
                  <a:pt x="4114676" y="3700681"/>
                  <a:pt x="4107924" y="3698531"/>
                  <a:pt x="4100821" y="3693212"/>
                </a:cubicBezTo>
                <a:cubicBezTo>
                  <a:pt x="4091076" y="3685916"/>
                  <a:pt x="4088184" y="3685533"/>
                  <a:pt x="4089044" y="3691653"/>
                </a:cubicBezTo>
                <a:cubicBezTo>
                  <a:pt x="4089670" y="3696113"/>
                  <a:pt x="4086739" y="3699367"/>
                  <a:pt x="4082530" y="3698884"/>
                </a:cubicBezTo>
                <a:cubicBezTo>
                  <a:pt x="4073802" y="3697881"/>
                  <a:pt x="4072115" y="3706871"/>
                  <a:pt x="4080291" y="3710817"/>
                </a:cubicBezTo>
                <a:cubicBezTo>
                  <a:pt x="4084569" y="3712881"/>
                  <a:pt x="4084588" y="3716981"/>
                  <a:pt x="4080385" y="3730337"/>
                </a:cubicBezTo>
                <a:cubicBezTo>
                  <a:pt x="4073328" y="3752763"/>
                  <a:pt x="4066131" y="3751823"/>
                  <a:pt x="4066131" y="3728475"/>
                </a:cubicBezTo>
                <a:cubicBezTo>
                  <a:pt x="4066131" y="3716097"/>
                  <a:pt x="4063111" y="3707364"/>
                  <a:pt x="4057262" y="3702834"/>
                </a:cubicBezTo>
                <a:cubicBezTo>
                  <a:pt x="4052386" y="3699054"/>
                  <a:pt x="4049550" y="3693256"/>
                  <a:pt x="4050961" y="3689949"/>
                </a:cubicBezTo>
                <a:cubicBezTo>
                  <a:pt x="4052374" y="3686641"/>
                  <a:pt x="4051925" y="3683935"/>
                  <a:pt x="4049965" y="3683935"/>
                </a:cubicBezTo>
                <a:cubicBezTo>
                  <a:pt x="4048005" y="3683935"/>
                  <a:pt x="4043619" y="3674838"/>
                  <a:pt x="4040220" y="3663718"/>
                </a:cubicBezTo>
                <a:cubicBezTo>
                  <a:pt x="4035659" y="3648798"/>
                  <a:pt x="4035379" y="3642854"/>
                  <a:pt x="4039152" y="3641032"/>
                </a:cubicBezTo>
                <a:cubicBezTo>
                  <a:pt x="4047499" y="3637004"/>
                  <a:pt x="4045039" y="3623665"/>
                  <a:pt x="4032349" y="3604142"/>
                </a:cubicBezTo>
                <a:cubicBezTo>
                  <a:pt x="4025795" y="3594058"/>
                  <a:pt x="4020937" y="3583403"/>
                  <a:pt x="4021554" y="3580466"/>
                </a:cubicBezTo>
                <a:cubicBezTo>
                  <a:pt x="4022171" y="3577528"/>
                  <a:pt x="4020172" y="3576331"/>
                  <a:pt x="4017114" y="3577808"/>
                </a:cubicBezTo>
                <a:cubicBezTo>
                  <a:pt x="4014056" y="3579284"/>
                  <a:pt x="4009389" y="3591658"/>
                  <a:pt x="4006744" y="3605307"/>
                </a:cubicBezTo>
                <a:cubicBezTo>
                  <a:pt x="4004099" y="3618956"/>
                  <a:pt x="3999454" y="3630123"/>
                  <a:pt x="3996422" y="3630123"/>
                </a:cubicBezTo>
                <a:cubicBezTo>
                  <a:pt x="3990802" y="3630123"/>
                  <a:pt x="3981850" y="3596880"/>
                  <a:pt x="3976929" y="3557734"/>
                </a:cubicBezTo>
                <a:cubicBezTo>
                  <a:pt x="3975426" y="3545775"/>
                  <a:pt x="3970962" y="3530818"/>
                  <a:pt x="3967010" y="3524497"/>
                </a:cubicBezTo>
                <a:cubicBezTo>
                  <a:pt x="3958306" y="3510570"/>
                  <a:pt x="3940001" y="3509385"/>
                  <a:pt x="3936518" y="3522521"/>
                </a:cubicBezTo>
                <a:cubicBezTo>
                  <a:pt x="3933561" y="3533681"/>
                  <a:pt x="3950462" y="3588973"/>
                  <a:pt x="3956830" y="3588973"/>
                </a:cubicBezTo>
                <a:cubicBezTo>
                  <a:pt x="3959223" y="3588973"/>
                  <a:pt x="3961181" y="3595657"/>
                  <a:pt x="3961181" y="3603827"/>
                </a:cubicBezTo>
                <a:cubicBezTo>
                  <a:pt x="3961181" y="3619866"/>
                  <a:pt x="3973035" y="3658612"/>
                  <a:pt x="3977941" y="3658612"/>
                </a:cubicBezTo>
                <a:cubicBezTo>
                  <a:pt x="3985899" y="3658612"/>
                  <a:pt x="3992240" y="3686672"/>
                  <a:pt x="3989531" y="3709893"/>
                </a:cubicBezTo>
                <a:cubicBezTo>
                  <a:pt x="3986582" y="3735163"/>
                  <a:pt x="3978673" y="3744302"/>
                  <a:pt x="3978673" y="3722438"/>
                </a:cubicBezTo>
                <a:cubicBezTo>
                  <a:pt x="3978673" y="3700687"/>
                  <a:pt x="3973564" y="3690266"/>
                  <a:pt x="3962900" y="3690266"/>
                </a:cubicBezTo>
                <a:cubicBezTo>
                  <a:pt x="3957144" y="3690266"/>
                  <a:pt x="3952435" y="3687472"/>
                  <a:pt x="3952435" y="3684056"/>
                </a:cubicBezTo>
                <a:cubicBezTo>
                  <a:pt x="3952435" y="3680641"/>
                  <a:pt x="3947777" y="3676154"/>
                  <a:pt x="3942083" y="3674084"/>
                </a:cubicBezTo>
                <a:cubicBezTo>
                  <a:pt x="3934704" y="3671403"/>
                  <a:pt x="3928399" y="3674792"/>
                  <a:pt x="3920131" y="3685884"/>
                </a:cubicBezTo>
                <a:cubicBezTo>
                  <a:pt x="3909683" y="3699904"/>
                  <a:pt x="3909042" y="3703246"/>
                  <a:pt x="3913664" y="3719597"/>
                </a:cubicBezTo>
                <a:cubicBezTo>
                  <a:pt x="3916487" y="3729580"/>
                  <a:pt x="3919379" y="3740597"/>
                  <a:pt x="3920091" y="3744079"/>
                </a:cubicBezTo>
                <a:cubicBezTo>
                  <a:pt x="3920802" y="3747560"/>
                  <a:pt x="3922697" y="3756820"/>
                  <a:pt x="3924301" y="3764654"/>
                </a:cubicBezTo>
                <a:cubicBezTo>
                  <a:pt x="3926643" y="3776090"/>
                  <a:pt x="3925490" y="3778898"/>
                  <a:pt x="3918458" y="3778898"/>
                </a:cubicBezTo>
                <a:cubicBezTo>
                  <a:pt x="3911412" y="3778898"/>
                  <a:pt x="3909114" y="3773252"/>
                  <a:pt x="3906709" y="3750028"/>
                </a:cubicBezTo>
                <a:cubicBezTo>
                  <a:pt x="3904118" y="3725019"/>
                  <a:pt x="3902442" y="3721419"/>
                  <a:pt x="3894186" y="3723122"/>
                </a:cubicBezTo>
                <a:cubicBezTo>
                  <a:pt x="3888079" y="3724380"/>
                  <a:pt x="3884139" y="3730344"/>
                  <a:pt x="3883222" y="3739717"/>
                </a:cubicBezTo>
                <a:cubicBezTo>
                  <a:pt x="3882435" y="3747765"/>
                  <a:pt x="3879004" y="3755896"/>
                  <a:pt x="3875601" y="3757787"/>
                </a:cubicBezTo>
                <a:cubicBezTo>
                  <a:pt x="3871514" y="3760058"/>
                  <a:pt x="3870305" y="3766378"/>
                  <a:pt x="3872041" y="3776393"/>
                </a:cubicBezTo>
                <a:cubicBezTo>
                  <a:pt x="3874722" y="3791853"/>
                  <a:pt x="3867240" y="3798390"/>
                  <a:pt x="3863739" y="3783647"/>
                </a:cubicBezTo>
                <a:cubicBezTo>
                  <a:pt x="3862704" y="3779294"/>
                  <a:pt x="3862320" y="3780006"/>
                  <a:pt x="3862885" y="3785229"/>
                </a:cubicBezTo>
                <a:cubicBezTo>
                  <a:pt x="3865164" y="3806327"/>
                  <a:pt x="3867477" y="3814146"/>
                  <a:pt x="3874122" y="3823214"/>
                </a:cubicBezTo>
                <a:cubicBezTo>
                  <a:pt x="3881165" y="3832827"/>
                  <a:pt x="3889126" y="3899185"/>
                  <a:pt x="3883234" y="3899185"/>
                </a:cubicBezTo>
                <a:cubicBezTo>
                  <a:pt x="3875651" y="3899185"/>
                  <a:pt x="3865380" y="3872580"/>
                  <a:pt x="3862599" y="3845738"/>
                </a:cubicBezTo>
                <a:cubicBezTo>
                  <a:pt x="3860945" y="3829762"/>
                  <a:pt x="3857211" y="3814599"/>
                  <a:pt x="3854301" y="3812039"/>
                </a:cubicBezTo>
                <a:cubicBezTo>
                  <a:pt x="3851392" y="3809480"/>
                  <a:pt x="3847730" y="3802337"/>
                  <a:pt x="3846160" y="3796165"/>
                </a:cubicBezTo>
                <a:cubicBezTo>
                  <a:pt x="3839709" y="3770764"/>
                  <a:pt x="3813703" y="3779786"/>
                  <a:pt x="3819335" y="3805472"/>
                </a:cubicBezTo>
                <a:cubicBezTo>
                  <a:pt x="3821147" y="3813738"/>
                  <a:pt x="3818322" y="3822521"/>
                  <a:pt x="3810462" y="3833067"/>
                </a:cubicBezTo>
                <a:cubicBezTo>
                  <a:pt x="3795842" y="3852685"/>
                  <a:pt x="3792272" y="3852500"/>
                  <a:pt x="3788709" y="3831946"/>
                </a:cubicBezTo>
                <a:cubicBezTo>
                  <a:pt x="3785389" y="3812796"/>
                  <a:pt x="3776330" y="3797899"/>
                  <a:pt x="3767992" y="3797873"/>
                </a:cubicBezTo>
                <a:cubicBezTo>
                  <a:pt x="3761233" y="3797854"/>
                  <a:pt x="3744123" y="3762433"/>
                  <a:pt x="3746015" y="3752380"/>
                </a:cubicBezTo>
                <a:cubicBezTo>
                  <a:pt x="3747342" y="3745323"/>
                  <a:pt x="3717953" y="3702928"/>
                  <a:pt x="3711733" y="3702928"/>
                </a:cubicBezTo>
                <a:cubicBezTo>
                  <a:pt x="3709826" y="3702928"/>
                  <a:pt x="3705154" y="3704657"/>
                  <a:pt x="3701350" y="3706771"/>
                </a:cubicBezTo>
                <a:cubicBezTo>
                  <a:pt x="3693795" y="3710968"/>
                  <a:pt x="3691748" y="3728251"/>
                  <a:pt x="3698806" y="3728251"/>
                </a:cubicBezTo>
                <a:cubicBezTo>
                  <a:pt x="3701211" y="3728251"/>
                  <a:pt x="3703179" y="3736798"/>
                  <a:pt x="3703179" y="3747244"/>
                </a:cubicBezTo>
                <a:cubicBezTo>
                  <a:pt x="3703179" y="3757690"/>
                  <a:pt x="3705146" y="3766237"/>
                  <a:pt x="3707552" y="3766237"/>
                </a:cubicBezTo>
                <a:cubicBezTo>
                  <a:pt x="3709957" y="3766237"/>
                  <a:pt x="3711925" y="3770678"/>
                  <a:pt x="3711925" y="3776107"/>
                </a:cubicBezTo>
                <a:cubicBezTo>
                  <a:pt x="3711925" y="3781535"/>
                  <a:pt x="3713898" y="3784211"/>
                  <a:pt x="3716310" y="3782052"/>
                </a:cubicBezTo>
                <a:cubicBezTo>
                  <a:pt x="3718931" y="3779707"/>
                  <a:pt x="3719941" y="3784017"/>
                  <a:pt x="3718822" y="3792758"/>
                </a:cubicBezTo>
                <a:cubicBezTo>
                  <a:pt x="3717790" y="3800803"/>
                  <a:pt x="3716800" y="3810948"/>
                  <a:pt x="3716622" y="3815301"/>
                </a:cubicBezTo>
                <a:cubicBezTo>
                  <a:pt x="3716443" y="3819653"/>
                  <a:pt x="3713017" y="3823214"/>
                  <a:pt x="3709009" y="3823214"/>
                </a:cubicBezTo>
                <a:cubicBezTo>
                  <a:pt x="3705001" y="3823214"/>
                  <a:pt x="3703040" y="3825124"/>
                  <a:pt x="3704652" y="3827457"/>
                </a:cubicBezTo>
                <a:cubicBezTo>
                  <a:pt x="3706263" y="3829790"/>
                  <a:pt x="3704599" y="3838290"/>
                  <a:pt x="3700954" y="3846344"/>
                </a:cubicBezTo>
                <a:cubicBezTo>
                  <a:pt x="3697308" y="3854399"/>
                  <a:pt x="3692816" y="3871511"/>
                  <a:pt x="3690971" y="3884370"/>
                </a:cubicBezTo>
                <a:cubicBezTo>
                  <a:pt x="3686870" y="3912945"/>
                  <a:pt x="3678481" y="3918531"/>
                  <a:pt x="3672702" y="3896534"/>
                </a:cubicBezTo>
                <a:cubicBezTo>
                  <a:pt x="3670343" y="3887546"/>
                  <a:pt x="3666625" y="3880192"/>
                  <a:pt x="3664440" y="3880192"/>
                </a:cubicBezTo>
                <a:cubicBezTo>
                  <a:pt x="3662255" y="3880192"/>
                  <a:pt x="3659099" y="3861675"/>
                  <a:pt x="3657424" y="3839042"/>
                </a:cubicBezTo>
                <a:cubicBezTo>
                  <a:pt x="3655749" y="3816409"/>
                  <a:pt x="3652569" y="3797891"/>
                  <a:pt x="3650356" y="3797891"/>
                </a:cubicBezTo>
                <a:cubicBezTo>
                  <a:pt x="3648141" y="3797891"/>
                  <a:pt x="3646331" y="3789841"/>
                  <a:pt x="3646331" y="3780002"/>
                </a:cubicBezTo>
                <a:cubicBezTo>
                  <a:pt x="3646331" y="3769489"/>
                  <a:pt x="3642158" y="3756438"/>
                  <a:pt x="3636210" y="3748347"/>
                </a:cubicBezTo>
                <a:cubicBezTo>
                  <a:pt x="3625768" y="3734148"/>
                  <a:pt x="3617509" y="3729740"/>
                  <a:pt x="3622279" y="3740913"/>
                </a:cubicBezTo>
                <a:cubicBezTo>
                  <a:pt x="3623765" y="3744395"/>
                  <a:pt x="3622898" y="3747244"/>
                  <a:pt x="3620351" y="3747244"/>
                </a:cubicBezTo>
                <a:cubicBezTo>
                  <a:pt x="3617803" y="3747244"/>
                  <a:pt x="3615720" y="3743784"/>
                  <a:pt x="3615720" y="3739557"/>
                </a:cubicBezTo>
                <a:cubicBezTo>
                  <a:pt x="3615720" y="3734292"/>
                  <a:pt x="3613677" y="3734828"/>
                  <a:pt x="3609235" y="3741257"/>
                </a:cubicBezTo>
                <a:cubicBezTo>
                  <a:pt x="3600172" y="3754379"/>
                  <a:pt x="3598396" y="3868396"/>
                  <a:pt x="3607022" y="3883441"/>
                </a:cubicBezTo>
                <a:cubicBezTo>
                  <a:pt x="3610343" y="3889233"/>
                  <a:pt x="3616619" y="3908678"/>
                  <a:pt x="3620970" y="3926650"/>
                </a:cubicBezTo>
                <a:cubicBezTo>
                  <a:pt x="3625320" y="3944623"/>
                  <a:pt x="3631822" y="3962491"/>
                  <a:pt x="3635418" y="3966357"/>
                </a:cubicBezTo>
                <a:cubicBezTo>
                  <a:pt x="3639015" y="3970222"/>
                  <a:pt x="3641958" y="3977641"/>
                  <a:pt x="3641958" y="3982842"/>
                </a:cubicBezTo>
                <a:cubicBezTo>
                  <a:pt x="3641958" y="3988043"/>
                  <a:pt x="3647035" y="4000231"/>
                  <a:pt x="3653242" y="4009926"/>
                </a:cubicBezTo>
                <a:cubicBezTo>
                  <a:pt x="3661280" y="4022483"/>
                  <a:pt x="3663686" y="4031399"/>
                  <a:pt x="3661604" y="4040922"/>
                </a:cubicBezTo>
                <a:cubicBezTo>
                  <a:pt x="3655493" y="4068883"/>
                  <a:pt x="3657180" y="4079123"/>
                  <a:pt x="3669309" y="4087671"/>
                </a:cubicBezTo>
                <a:cubicBezTo>
                  <a:pt x="3679320" y="4094727"/>
                  <a:pt x="3680875" y="4098933"/>
                  <a:pt x="3678511" y="4112573"/>
                </a:cubicBezTo>
                <a:cubicBezTo>
                  <a:pt x="3676264" y="4125528"/>
                  <a:pt x="3676951" y="4127890"/>
                  <a:pt x="3681769" y="4123786"/>
                </a:cubicBezTo>
                <a:cubicBezTo>
                  <a:pt x="3685629" y="4120499"/>
                  <a:pt x="3685184" y="4123062"/>
                  <a:pt x="3680561" y="4130756"/>
                </a:cubicBezTo>
                <a:cubicBezTo>
                  <a:pt x="3674333" y="4141118"/>
                  <a:pt x="3673955" y="4147383"/>
                  <a:pt x="3678018" y="4172994"/>
                </a:cubicBezTo>
                <a:cubicBezTo>
                  <a:pt x="3680640" y="4189533"/>
                  <a:pt x="3684423" y="4203066"/>
                  <a:pt x="3686423" y="4203066"/>
                </a:cubicBezTo>
                <a:cubicBezTo>
                  <a:pt x="3690559" y="4203066"/>
                  <a:pt x="3691434" y="4236952"/>
                  <a:pt x="3687445" y="4242725"/>
                </a:cubicBezTo>
                <a:cubicBezTo>
                  <a:pt x="3683663" y="4248200"/>
                  <a:pt x="3672199" y="4240707"/>
                  <a:pt x="3674851" y="4234494"/>
                </a:cubicBezTo>
                <a:cubicBezTo>
                  <a:pt x="3676079" y="4231618"/>
                  <a:pt x="3675083" y="4227475"/>
                  <a:pt x="3672639" y="4225288"/>
                </a:cubicBezTo>
                <a:cubicBezTo>
                  <a:pt x="3670195" y="4223101"/>
                  <a:pt x="3668195" y="4216130"/>
                  <a:pt x="3668195" y="4209798"/>
                </a:cubicBezTo>
                <a:cubicBezTo>
                  <a:pt x="3668195" y="4203466"/>
                  <a:pt x="3665244" y="4194739"/>
                  <a:pt x="3661635" y="4190404"/>
                </a:cubicBezTo>
                <a:cubicBezTo>
                  <a:pt x="3658027" y="4186069"/>
                  <a:pt x="3655077" y="4174325"/>
                  <a:pt x="3655077" y="4164306"/>
                </a:cubicBezTo>
                <a:cubicBezTo>
                  <a:pt x="3655077" y="4154286"/>
                  <a:pt x="3653109" y="4146088"/>
                  <a:pt x="3650704" y="4146088"/>
                </a:cubicBezTo>
                <a:cubicBezTo>
                  <a:pt x="3648298" y="4146088"/>
                  <a:pt x="3646331" y="4137891"/>
                  <a:pt x="3646331" y="4127870"/>
                </a:cubicBezTo>
                <a:cubicBezTo>
                  <a:pt x="3646331" y="4117851"/>
                  <a:pt x="3643578" y="4106346"/>
                  <a:pt x="3640215" y="4102305"/>
                </a:cubicBezTo>
                <a:cubicBezTo>
                  <a:pt x="3634809" y="4095810"/>
                  <a:pt x="3629407" y="4062547"/>
                  <a:pt x="3628573" y="4030629"/>
                </a:cubicBezTo>
                <a:cubicBezTo>
                  <a:pt x="3628416" y="4024579"/>
                  <a:pt x="3624261" y="4015548"/>
                  <a:pt x="3619343" y="4010560"/>
                </a:cubicBezTo>
                <a:cubicBezTo>
                  <a:pt x="3614423" y="4005572"/>
                  <a:pt x="3611608" y="3998657"/>
                  <a:pt x="3613087" y="3995194"/>
                </a:cubicBezTo>
                <a:cubicBezTo>
                  <a:pt x="3614564" y="3991731"/>
                  <a:pt x="3613916" y="3987943"/>
                  <a:pt x="3611643" y="3986775"/>
                </a:cubicBezTo>
                <a:cubicBezTo>
                  <a:pt x="3609371" y="3985607"/>
                  <a:pt x="3606848" y="3977529"/>
                  <a:pt x="3606039" y="3968824"/>
                </a:cubicBezTo>
                <a:cubicBezTo>
                  <a:pt x="3603957" y="3946450"/>
                  <a:pt x="3599028" y="3937170"/>
                  <a:pt x="3589225" y="3937170"/>
                </a:cubicBezTo>
                <a:cubicBezTo>
                  <a:pt x="3583738" y="3937170"/>
                  <a:pt x="3580737" y="3932825"/>
                  <a:pt x="3580737" y="3924882"/>
                </a:cubicBezTo>
                <a:cubicBezTo>
                  <a:pt x="3580737" y="3918123"/>
                  <a:pt x="3579023" y="3911061"/>
                  <a:pt x="3576929" y="3909186"/>
                </a:cubicBezTo>
                <a:cubicBezTo>
                  <a:pt x="3574833" y="3907312"/>
                  <a:pt x="3571988" y="3897885"/>
                  <a:pt x="3570603" y="3888238"/>
                </a:cubicBezTo>
                <a:cubicBezTo>
                  <a:pt x="3569192" y="3878392"/>
                  <a:pt x="3562322" y="3865208"/>
                  <a:pt x="3554944" y="3858187"/>
                </a:cubicBezTo>
                <a:cubicBezTo>
                  <a:pt x="3535458" y="3839642"/>
                  <a:pt x="3529333" y="3819997"/>
                  <a:pt x="3538478" y="3805368"/>
                </a:cubicBezTo>
                <a:cubicBezTo>
                  <a:pt x="3548320" y="3789621"/>
                  <a:pt x="3547733" y="3784929"/>
                  <a:pt x="3533727" y="3767505"/>
                </a:cubicBezTo>
                <a:cubicBezTo>
                  <a:pt x="3523284" y="3754512"/>
                  <a:pt x="3521825" y="3748412"/>
                  <a:pt x="3522632" y="3721158"/>
                </a:cubicBezTo>
                <a:cubicBezTo>
                  <a:pt x="3523455" y="3693358"/>
                  <a:pt x="3522378" y="3689122"/>
                  <a:pt x="3513197" y="3684068"/>
                </a:cubicBezTo>
                <a:cubicBezTo>
                  <a:pt x="3506658" y="3680469"/>
                  <a:pt x="3501749" y="3671213"/>
                  <a:pt x="3499894" y="3658986"/>
                </a:cubicBezTo>
                <a:cubicBezTo>
                  <a:pt x="3496854" y="3638944"/>
                  <a:pt x="3482669" y="3628111"/>
                  <a:pt x="3469237" y="3635573"/>
                </a:cubicBezTo>
                <a:cubicBezTo>
                  <a:pt x="3461766" y="3639723"/>
                  <a:pt x="3460014" y="3680814"/>
                  <a:pt x="3467041" y="3687101"/>
                </a:cubicBezTo>
                <a:cubicBezTo>
                  <a:pt x="3469446" y="3689253"/>
                  <a:pt x="3471414" y="3697826"/>
                  <a:pt x="3471414" y="3706153"/>
                </a:cubicBezTo>
                <a:cubicBezTo>
                  <a:pt x="3471414" y="3714479"/>
                  <a:pt x="3473914" y="3723570"/>
                  <a:pt x="3476971" y="3726354"/>
                </a:cubicBezTo>
                <a:cubicBezTo>
                  <a:pt x="3484344" y="3733069"/>
                  <a:pt x="3494051" y="3765634"/>
                  <a:pt x="3490888" y="3773042"/>
                </a:cubicBezTo>
                <a:cubicBezTo>
                  <a:pt x="3489514" y="3776263"/>
                  <a:pt x="3490473" y="3778898"/>
                  <a:pt x="3493020" y="3778898"/>
                </a:cubicBezTo>
                <a:cubicBezTo>
                  <a:pt x="3495567" y="3778898"/>
                  <a:pt x="3497651" y="3785672"/>
                  <a:pt x="3497651" y="3793950"/>
                </a:cubicBezTo>
                <a:cubicBezTo>
                  <a:pt x="3497651" y="3802229"/>
                  <a:pt x="3500753" y="3812729"/>
                  <a:pt x="3504545" y="3817285"/>
                </a:cubicBezTo>
                <a:cubicBezTo>
                  <a:pt x="3509560" y="3823311"/>
                  <a:pt x="3510707" y="3831717"/>
                  <a:pt x="3508755" y="3848132"/>
                </a:cubicBezTo>
                <a:cubicBezTo>
                  <a:pt x="3506803" y="3864551"/>
                  <a:pt x="3507290" y="3868110"/>
                  <a:pt x="3510540" y="3861199"/>
                </a:cubicBezTo>
                <a:cubicBezTo>
                  <a:pt x="3514556" y="3852664"/>
                  <a:pt x="3517037" y="3856496"/>
                  <a:pt x="3515661" y="3869113"/>
                </a:cubicBezTo>
                <a:cubicBezTo>
                  <a:pt x="3515376" y="3871725"/>
                  <a:pt x="3517110" y="3873861"/>
                  <a:pt x="3519516" y="3873861"/>
                </a:cubicBezTo>
                <a:cubicBezTo>
                  <a:pt x="3521921" y="3873861"/>
                  <a:pt x="3523889" y="3878254"/>
                  <a:pt x="3523889" y="3883622"/>
                </a:cubicBezTo>
                <a:cubicBezTo>
                  <a:pt x="3523889" y="3888991"/>
                  <a:pt x="3527726" y="3899347"/>
                  <a:pt x="3532417" y="3906635"/>
                </a:cubicBezTo>
                <a:cubicBezTo>
                  <a:pt x="3537108" y="3913925"/>
                  <a:pt x="3542129" y="3928762"/>
                  <a:pt x="3543578" y="3939608"/>
                </a:cubicBezTo>
                <a:cubicBezTo>
                  <a:pt x="3550438" y="3991000"/>
                  <a:pt x="3561569" y="4033585"/>
                  <a:pt x="3572787" y="4051368"/>
                </a:cubicBezTo>
                <a:cubicBezTo>
                  <a:pt x="3579565" y="4062111"/>
                  <a:pt x="3585110" y="4076421"/>
                  <a:pt x="3585110" y="4083170"/>
                </a:cubicBezTo>
                <a:cubicBezTo>
                  <a:pt x="3585110" y="4089919"/>
                  <a:pt x="3586586" y="4095464"/>
                  <a:pt x="3588390" y="4095491"/>
                </a:cubicBezTo>
                <a:cubicBezTo>
                  <a:pt x="3593117" y="4095562"/>
                  <a:pt x="3602793" y="4127855"/>
                  <a:pt x="3600027" y="4134333"/>
                </a:cubicBezTo>
                <a:cubicBezTo>
                  <a:pt x="3595593" y="4144721"/>
                  <a:pt x="3580737" y="4126788"/>
                  <a:pt x="3580737" y="4111046"/>
                </a:cubicBezTo>
                <a:cubicBezTo>
                  <a:pt x="3580737" y="4102463"/>
                  <a:pt x="3578988" y="4095441"/>
                  <a:pt x="3576851" y="4095441"/>
                </a:cubicBezTo>
                <a:cubicBezTo>
                  <a:pt x="3574712" y="4095441"/>
                  <a:pt x="3571710" y="4085756"/>
                  <a:pt x="3570176" y="4073920"/>
                </a:cubicBezTo>
                <a:cubicBezTo>
                  <a:pt x="3566607" y="4046379"/>
                  <a:pt x="3557870" y="4035867"/>
                  <a:pt x="3543030" y="4041258"/>
                </a:cubicBezTo>
                <a:cubicBezTo>
                  <a:pt x="3532038" y="4045253"/>
                  <a:pt x="3531584" y="4044483"/>
                  <a:pt x="3534118" y="4026138"/>
                </a:cubicBezTo>
                <a:cubicBezTo>
                  <a:pt x="3536130" y="4011576"/>
                  <a:pt x="3535198" y="4006809"/>
                  <a:pt x="3530338" y="4006809"/>
                </a:cubicBezTo>
                <a:cubicBezTo>
                  <a:pt x="3522512" y="4006809"/>
                  <a:pt x="3522231" y="4000008"/>
                  <a:pt x="3529155" y="3978011"/>
                </a:cubicBezTo>
                <a:cubicBezTo>
                  <a:pt x="3533632" y="3963785"/>
                  <a:pt x="3533304" y="3960374"/>
                  <a:pt x="3526968" y="3955240"/>
                </a:cubicBezTo>
                <a:cubicBezTo>
                  <a:pt x="3522869" y="3951920"/>
                  <a:pt x="3519516" y="3943344"/>
                  <a:pt x="3519516" y="3936183"/>
                </a:cubicBezTo>
                <a:cubicBezTo>
                  <a:pt x="3519516" y="3929024"/>
                  <a:pt x="3514596" y="3917563"/>
                  <a:pt x="3508583" y="3910715"/>
                </a:cubicBezTo>
                <a:cubicBezTo>
                  <a:pt x="3502570" y="3903868"/>
                  <a:pt x="3497651" y="3894641"/>
                  <a:pt x="3497651" y="3890210"/>
                </a:cubicBezTo>
                <a:cubicBezTo>
                  <a:pt x="3497651" y="3878020"/>
                  <a:pt x="3482873" y="3861199"/>
                  <a:pt x="3472162" y="3861199"/>
                </a:cubicBezTo>
                <a:cubicBezTo>
                  <a:pt x="3465679" y="3861199"/>
                  <a:pt x="3462668" y="3857303"/>
                  <a:pt x="3462668" y="3848911"/>
                </a:cubicBezTo>
                <a:cubicBezTo>
                  <a:pt x="3462668" y="3842153"/>
                  <a:pt x="3460700" y="3834862"/>
                  <a:pt x="3458295" y="3832711"/>
                </a:cubicBezTo>
                <a:cubicBezTo>
                  <a:pt x="3455889" y="3830559"/>
                  <a:pt x="3453922" y="3822414"/>
                  <a:pt x="3453922" y="3814611"/>
                </a:cubicBezTo>
                <a:cubicBezTo>
                  <a:pt x="3453922" y="3806808"/>
                  <a:pt x="3452191" y="3797717"/>
                  <a:pt x="3450078" y="3794409"/>
                </a:cubicBezTo>
                <a:cubicBezTo>
                  <a:pt x="3447963" y="3791101"/>
                  <a:pt x="3443875" y="3777711"/>
                  <a:pt x="3440992" y="3764654"/>
                </a:cubicBezTo>
                <a:cubicBezTo>
                  <a:pt x="3438110" y="3751597"/>
                  <a:pt x="3433937" y="3740913"/>
                  <a:pt x="3431719" y="3740913"/>
                </a:cubicBezTo>
                <a:cubicBezTo>
                  <a:pt x="3429500" y="3740913"/>
                  <a:pt x="3427684" y="3734140"/>
                  <a:pt x="3427684" y="3725861"/>
                </a:cubicBezTo>
                <a:cubicBezTo>
                  <a:pt x="3427684" y="3717583"/>
                  <a:pt x="3424364" y="3706899"/>
                  <a:pt x="3420306" y="3702120"/>
                </a:cubicBezTo>
                <a:cubicBezTo>
                  <a:pt x="3413761" y="3694412"/>
                  <a:pt x="3413294" y="3694839"/>
                  <a:pt x="3416164" y="3705901"/>
                </a:cubicBezTo>
                <a:cubicBezTo>
                  <a:pt x="3417944" y="3712758"/>
                  <a:pt x="3418110" y="3716502"/>
                  <a:pt x="3416533" y="3714219"/>
                </a:cubicBezTo>
                <a:cubicBezTo>
                  <a:pt x="3414956" y="3711935"/>
                  <a:pt x="3408725" y="3712788"/>
                  <a:pt x="3402685" y="3716112"/>
                </a:cubicBezTo>
                <a:cubicBezTo>
                  <a:pt x="3394139" y="3720816"/>
                  <a:pt x="3392198" y="3720288"/>
                  <a:pt x="3393935" y="3713735"/>
                </a:cubicBezTo>
                <a:cubicBezTo>
                  <a:pt x="3395162" y="3709103"/>
                  <a:pt x="3392479" y="3698366"/>
                  <a:pt x="3387971" y="3689876"/>
                </a:cubicBezTo>
                <a:cubicBezTo>
                  <a:pt x="3382841" y="3680212"/>
                  <a:pt x="3379715" y="3663786"/>
                  <a:pt x="3379613" y="3645950"/>
                </a:cubicBezTo>
                <a:cubicBezTo>
                  <a:pt x="3379417" y="3612135"/>
                  <a:pt x="3374880" y="3599578"/>
                  <a:pt x="3363957" y="3602624"/>
                </a:cubicBezTo>
                <a:cubicBezTo>
                  <a:pt x="3358653" y="3604103"/>
                  <a:pt x="3354165" y="3614495"/>
                  <a:pt x="3350698" y="3633318"/>
                </a:cubicBezTo>
                <a:cubicBezTo>
                  <a:pt x="3347816" y="3648971"/>
                  <a:pt x="3345264" y="3656792"/>
                  <a:pt x="3345028" y="3650699"/>
                </a:cubicBezTo>
                <a:cubicBezTo>
                  <a:pt x="3344440" y="3635538"/>
                  <a:pt x="3332715" y="3636676"/>
                  <a:pt x="3329305" y="3652225"/>
                </a:cubicBezTo>
                <a:cubicBezTo>
                  <a:pt x="3325712" y="3668622"/>
                  <a:pt x="3329813" y="3677605"/>
                  <a:pt x="3340893" y="3677605"/>
                </a:cubicBezTo>
                <a:cubicBezTo>
                  <a:pt x="3346112" y="3677605"/>
                  <a:pt x="3350736" y="3682839"/>
                  <a:pt x="3352077" y="3690266"/>
                </a:cubicBezTo>
                <a:cubicBezTo>
                  <a:pt x="3353336" y="3697231"/>
                  <a:pt x="3355857" y="3702928"/>
                  <a:pt x="3357681" y="3702928"/>
                </a:cubicBezTo>
                <a:cubicBezTo>
                  <a:pt x="3359504" y="3702928"/>
                  <a:pt x="3362178" y="3711475"/>
                  <a:pt x="3363620" y="3721921"/>
                </a:cubicBezTo>
                <a:cubicBezTo>
                  <a:pt x="3365160" y="3733060"/>
                  <a:pt x="3369002" y="3740913"/>
                  <a:pt x="3372913" y="3740913"/>
                </a:cubicBezTo>
                <a:cubicBezTo>
                  <a:pt x="3380073" y="3740913"/>
                  <a:pt x="3380926" y="3749508"/>
                  <a:pt x="3375688" y="3768853"/>
                </a:cubicBezTo>
                <a:cubicBezTo>
                  <a:pt x="3370945" y="3786368"/>
                  <a:pt x="3327107" y="3789068"/>
                  <a:pt x="3327107" y="3771846"/>
                </a:cubicBezTo>
                <a:cubicBezTo>
                  <a:pt x="3327107" y="3765561"/>
                  <a:pt x="3321806" y="3753303"/>
                  <a:pt x="3315329" y="3744607"/>
                </a:cubicBezTo>
                <a:cubicBezTo>
                  <a:pt x="3304846" y="3730535"/>
                  <a:pt x="3304392" y="3728327"/>
                  <a:pt x="3311207" y="3724541"/>
                </a:cubicBezTo>
                <a:cubicBezTo>
                  <a:pt x="3315417" y="3722201"/>
                  <a:pt x="3317867" y="3716526"/>
                  <a:pt x="3316649" y="3711929"/>
                </a:cubicBezTo>
                <a:cubicBezTo>
                  <a:pt x="3315240" y="3706616"/>
                  <a:pt x="3316740" y="3704855"/>
                  <a:pt x="3320770" y="3707093"/>
                </a:cubicBezTo>
                <a:cubicBezTo>
                  <a:pt x="3324708" y="3709281"/>
                  <a:pt x="3327107" y="3706703"/>
                  <a:pt x="3327107" y="3700282"/>
                </a:cubicBezTo>
                <a:cubicBezTo>
                  <a:pt x="3327107" y="3693867"/>
                  <a:pt x="3322133" y="3688510"/>
                  <a:pt x="3313988" y="3686151"/>
                </a:cubicBezTo>
                <a:cubicBezTo>
                  <a:pt x="3306772" y="3684062"/>
                  <a:pt x="3300870" y="3678824"/>
                  <a:pt x="3300870" y="3674511"/>
                </a:cubicBezTo>
                <a:cubicBezTo>
                  <a:pt x="3300870" y="3670198"/>
                  <a:pt x="3295555" y="3658976"/>
                  <a:pt x="3289059" y="3649571"/>
                </a:cubicBezTo>
                <a:cubicBezTo>
                  <a:pt x="3277057" y="3632197"/>
                  <a:pt x="3272152" y="3614296"/>
                  <a:pt x="3279392" y="3614296"/>
                </a:cubicBezTo>
                <a:cubicBezTo>
                  <a:pt x="3281584" y="3614296"/>
                  <a:pt x="3283312" y="3610735"/>
                  <a:pt x="3283232" y="3606383"/>
                </a:cubicBezTo>
                <a:cubicBezTo>
                  <a:pt x="3283152" y="3602030"/>
                  <a:pt x="3279168" y="3605283"/>
                  <a:pt x="3274377" y="3613610"/>
                </a:cubicBezTo>
                <a:cubicBezTo>
                  <a:pt x="3264430" y="3630902"/>
                  <a:pt x="3262685" y="3630064"/>
                  <a:pt x="3260548" y="3606968"/>
                </a:cubicBezTo>
                <a:cubicBezTo>
                  <a:pt x="3259704" y="3597841"/>
                  <a:pt x="3256227" y="3585072"/>
                  <a:pt x="3252822" y="3578594"/>
                </a:cubicBezTo>
                <a:cubicBezTo>
                  <a:pt x="3248580" y="3570523"/>
                  <a:pt x="3248452" y="3569150"/>
                  <a:pt x="3252417" y="3574234"/>
                </a:cubicBezTo>
                <a:cubicBezTo>
                  <a:pt x="3255601" y="3578314"/>
                  <a:pt x="3260918" y="3580146"/>
                  <a:pt x="3264232" y="3578304"/>
                </a:cubicBezTo>
                <a:cubicBezTo>
                  <a:pt x="3267951" y="3576238"/>
                  <a:pt x="3270426" y="3579458"/>
                  <a:pt x="3270698" y="3586713"/>
                </a:cubicBezTo>
                <a:cubicBezTo>
                  <a:pt x="3270940" y="3593178"/>
                  <a:pt x="3272955" y="3587243"/>
                  <a:pt x="3275175" y="3573523"/>
                </a:cubicBezTo>
                <a:cubicBezTo>
                  <a:pt x="3278336" y="3554003"/>
                  <a:pt x="3277792" y="3546520"/>
                  <a:pt x="3272678" y="3539117"/>
                </a:cubicBezTo>
                <a:cubicBezTo>
                  <a:pt x="3267122" y="3531072"/>
                  <a:pt x="3264510" y="3530922"/>
                  <a:pt x="3255231" y="3538110"/>
                </a:cubicBezTo>
                <a:cubicBezTo>
                  <a:pt x="3246422" y="3544936"/>
                  <a:pt x="3243037" y="3545025"/>
                  <a:pt x="3237667" y="3538572"/>
                </a:cubicBezTo>
                <a:cubicBezTo>
                  <a:pt x="3225463" y="3523909"/>
                  <a:pt x="3218426" y="3535666"/>
                  <a:pt x="3215276" y="3575977"/>
                </a:cubicBezTo>
                <a:cubicBezTo>
                  <a:pt x="3212800" y="3607649"/>
                  <a:pt x="3210861" y="3614296"/>
                  <a:pt x="3204100" y="3614296"/>
                </a:cubicBezTo>
                <a:cubicBezTo>
                  <a:pt x="3198994" y="3614296"/>
                  <a:pt x="3195919" y="3609800"/>
                  <a:pt x="3195919" y="3602335"/>
                </a:cubicBezTo>
                <a:cubicBezTo>
                  <a:pt x="3195919" y="3595757"/>
                  <a:pt x="3192107" y="3583650"/>
                  <a:pt x="3187447" y="3575429"/>
                </a:cubicBezTo>
                <a:cubicBezTo>
                  <a:pt x="3180562" y="3563282"/>
                  <a:pt x="3177492" y="3561790"/>
                  <a:pt x="3171048" y="3567461"/>
                </a:cubicBezTo>
                <a:cubicBezTo>
                  <a:pt x="3161705" y="3575686"/>
                  <a:pt x="3158183" y="3600182"/>
                  <a:pt x="3164938" y="3609962"/>
                </a:cubicBezTo>
                <a:cubicBezTo>
                  <a:pt x="3171801" y="3619898"/>
                  <a:pt x="3170760" y="3633289"/>
                  <a:pt x="3163122" y="3633289"/>
                </a:cubicBezTo>
                <a:cubicBezTo>
                  <a:pt x="3159514" y="3633289"/>
                  <a:pt x="3156563" y="3630442"/>
                  <a:pt x="3156563" y="3626962"/>
                </a:cubicBezTo>
                <a:cubicBezTo>
                  <a:pt x="3156563" y="3618894"/>
                  <a:pt x="3124818" y="3621686"/>
                  <a:pt x="3120606" y="3630123"/>
                </a:cubicBezTo>
                <a:cubicBezTo>
                  <a:pt x="3116868" y="3637611"/>
                  <a:pt x="3121487" y="3704672"/>
                  <a:pt x="3126056" y="3709259"/>
                </a:cubicBezTo>
                <a:cubicBezTo>
                  <a:pt x="3130096" y="3713313"/>
                  <a:pt x="3144041" y="3803333"/>
                  <a:pt x="3143221" y="3820049"/>
                </a:cubicBezTo>
                <a:cubicBezTo>
                  <a:pt x="3142879" y="3827013"/>
                  <a:pt x="3142831" y="3854789"/>
                  <a:pt x="3143117" y="3881775"/>
                </a:cubicBezTo>
                <a:cubicBezTo>
                  <a:pt x="3143628" y="3930201"/>
                  <a:pt x="3143491" y="3930839"/>
                  <a:pt x="3132608" y="3930839"/>
                </a:cubicBezTo>
                <a:cubicBezTo>
                  <a:pt x="3122920" y="3930839"/>
                  <a:pt x="3121580" y="3928147"/>
                  <a:pt x="3121580" y="3908681"/>
                </a:cubicBezTo>
                <a:cubicBezTo>
                  <a:pt x="3121580" y="3896494"/>
                  <a:pt x="3119831" y="3886523"/>
                  <a:pt x="3117693" y="3886523"/>
                </a:cubicBezTo>
                <a:cubicBezTo>
                  <a:pt x="3115555" y="3886523"/>
                  <a:pt x="3112514" y="3876552"/>
                  <a:pt x="3110936" y="3864365"/>
                </a:cubicBezTo>
                <a:cubicBezTo>
                  <a:pt x="3109357" y="3852178"/>
                  <a:pt x="3106436" y="3842207"/>
                  <a:pt x="3104446" y="3842207"/>
                </a:cubicBezTo>
                <a:cubicBezTo>
                  <a:pt x="3102456" y="3842207"/>
                  <a:pt x="3099843" y="3827371"/>
                  <a:pt x="3098639" y="3809238"/>
                </a:cubicBezTo>
                <a:cubicBezTo>
                  <a:pt x="3097436" y="3791105"/>
                  <a:pt x="3094234" y="3775198"/>
                  <a:pt x="3091524" y="3773890"/>
                </a:cubicBezTo>
                <a:cubicBezTo>
                  <a:pt x="3088687" y="3772521"/>
                  <a:pt x="3086596" y="3757124"/>
                  <a:pt x="3086596" y="3737594"/>
                </a:cubicBezTo>
                <a:cubicBezTo>
                  <a:pt x="3086596" y="3718939"/>
                  <a:pt x="3084596" y="3701886"/>
                  <a:pt x="3082151" y="3699699"/>
                </a:cubicBezTo>
                <a:cubicBezTo>
                  <a:pt x="3079708" y="3697512"/>
                  <a:pt x="3078840" y="3693070"/>
                  <a:pt x="3080224" y="3689829"/>
                </a:cubicBezTo>
                <a:cubicBezTo>
                  <a:pt x="3081607" y="3686588"/>
                  <a:pt x="3080656" y="3683935"/>
                  <a:pt x="3078108" y="3683935"/>
                </a:cubicBezTo>
                <a:cubicBezTo>
                  <a:pt x="3075477" y="3683935"/>
                  <a:pt x="3073478" y="3670496"/>
                  <a:pt x="3073478" y="3652809"/>
                </a:cubicBezTo>
                <a:cubicBezTo>
                  <a:pt x="3073478" y="3634097"/>
                  <a:pt x="3071369" y="3620664"/>
                  <a:pt x="3068189" y="3619131"/>
                </a:cubicBezTo>
                <a:cubicBezTo>
                  <a:pt x="3065282" y="3617728"/>
                  <a:pt x="3062584" y="3609655"/>
                  <a:pt x="3062193" y="3601193"/>
                </a:cubicBezTo>
                <a:cubicBezTo>
                  <a:pt x="3061803" y="3592731"/>
                  <a:pt x="3060036" y="3580822"/>
                  <a:pt x="3058266" y="3574728"/>
                </a:cubicBezTo>
                <a:cubicBezTo>
                  <a:pt x="3056498" y="3568635"/>
                  <a:pt x="3056158" y="3559467"/>
                  <a:pt x="3057514" y="3554356"/>
                </a:cubicBezTo>
                <a:cubicBezTo>
                  <a:pt x="3058868" y="3549245"/>
                  <a:pt x="3058250" y="3543517"/>
                  <a:pt x="3056138" y="3541627"/>
                </a:cubicBezTo>
                <a:cubicBezTo>
                  <a:pt x="3054026" y="3539738"/>
                  <a:pt x="3050926" y="3519628"/>
                  <a:pt x="3049247" y="3496938"/>
                </a:cubicBezTo>
                <a:cubicBezTo>
                  <a:pt x="3045966" y="3452577"/>
                  <a:pt x="3037781" y="3437032"/>
                  <a:pt x="3017705" y="3437032"/>
                </a:cubicBezTo>
                <a:cubicBezTo>
                  <a:pt x="3004148" y="3437032"/>
                  <a:pt x="3001872" y="3448804"/>
                  <a:pt x="3009991" y="3476935"/>
                </a:cubicBezTo>
                <a:cubicBezTo>
                  <a:pt x="3016478" y="3499410"/>
                  <a:pt x="3016397" y="3500341"/>
                  <a:pt x="3007942" y="3500341"/>
                </a:cubicBezTo>
                <a:cubicBezTo>
                  <a:pt x="3002380" y="3500341"/>
                  <a:pt x="2999138" y="3504536"/>
                  <a:pt x="2999138" y="3511736"/>
                </a:cubicBezTo>
                <a:cubicBezTo>
                  <a:pt x="2999138" y="3518004"/>
                  <a:pt x="2996925" y="3526335"/>
                  <a:pt x="2994221" y="3530249"/>
                </a:cubicBezTo>
                <a:cubicBezTo>
                  <a:pt x="2990581" y="3535519"/>
                  <a:pt x="2990581" y="3542668"/>
                  <a:pt x="2994221" y="3557784"/>
                </a:cubicBezTo>
                <a:cubicBezTo>
                  <a:pt x="3005745" y="3605645"/>
                  <a:pt x="2994002" y="3637728"/>
                  <a:pt x="2981646" y="3592138"/>
                </a:cubicBezTo>
                <a:cubicBezTo>
                  <a:pt x="2978343" y="3579951"/>
                  <a:pt x="2974233" y="3569980"/>
                  <a:pt x="2972514" y="3569980"/>
                </a:cubicBezTo>
                <a:cubicBezTo>
                  <a:pt x="2970793" y="3569980"/>
                  <a:pt x="2968015" y="3552882"/>
                  <a:pt x="2966340" y="3531984"/>
                </a:cubicBezTo>
                <a:cubicBezTo>
                  <a:pt x="2964664" y="3511085"/>
                  <a:pt x="2961519" y="3492400"/>
                  <a:pt x="2959351" y="3490460"/>
                </a:cubicBezTo>
                <a:cubicBezTo>
                  <a:pt x="2957183" y="3488520"/>
                  <a:pt x="2955409" y="3469018"/>
                  <a:pt x="2955409" y="3447123"/>
                </a:cubicBezTo>
                <a:cubicBezTo>
                  <a:pt x="2955409" y="3416502"/>
                  <a:pt x="2953405" y="3403971"/>
                  <a:pt x="2946728" y="3392826"/>
                </a:cubicBezTo>
                <a:cubicBezTo>
                  <a:pt x="2941102" y="3383435"/>
                  <a:pt x="2938925" y="3373276"/>
                  <a:pt x="2940541" y="3363958"/>
                </a:cubicBezTo>
                <a:cubicBezTo>
                  <a:pt x="2943882" y="3344684"/>
                  <a:pt x="2934299" y="3317725"/>
                  <a:pt x="2928518" y="3330135"/>
                </a:cubicBezTo>
                <a:cubicBezTo>
                  <a:pt x="2925129" y="3337412"/>
                  <a:pt x="2924581" y="3337288"/>
                  <a:pt x="2925305" y="3329407"/>
                </a:cubicBezTo>
                <a:cubicBezTo>
                  <a:pt x="2925785" y="3324185"/>
                  <a:pt x="2924596" y="3314638"/>
                  <a:pt x="2922663" y="3308194"/>
                </a:cubicBezTo>
                <a:cubicBezTo>
                  <a:pt x="2920387" y="3300601"/>
                  <a:pt x="2921177" y="3294662"/>
                  <a:pt x="2924908" y="3291324"/>
                </a:cubicBezTo>
                <a:cubicBezTo>
                  <a:pt x="2932964" y="3284116"/>
                  <a:pt x="2918867" y="3253437"/>
                  <a:pt x="2907500" y="3253437"/>
                </a:cubicBezTo>
                <a:cubicBezTo>
                  <a:pt x="2894479" y="3253437"/>
                  <a:pt x="2891108" y="3278834"/>
                  <a:pt x="2902377" y="3292044"/>
                </a:cubicBezTo>
                <a:cubicBezTo>
                  <a:pt x="2918941" y="3311461"/>
                  <a:pt x="2910064" y="3321581"/>
                  <a:pt x="2888666" y="3307676"/>
                </a:cubicBezTo>
                <a:cubicBezTo>
                  <a:pt x="2873988" y="3298139"/>
                  <a:pt x="2866652" y="3315701"/>
                  <a:pt x="2869372" y="3353858"/>
                </a:cubicBezTo>
                <a:cubicBezTo>
                  <a:pt x="2871207" y="3379599"/>
                  <a:pt x="2870569" y="3386379"/>
                  <a:pt x="2866824" y="3380956"/>
                </a:cubicBezTo>
                <a:cubicBezTo>
                  <a:pt x="2853092" y="3361076"/>
                  <a:pt x="2836282" y="3385189"/>
                  <a:pt x="2845843" y="3411053"/>
                </a:cubicBezTo>
                <a:cubicBezTo>
                  <a:pt x="2853035" y="3430512"/>
                  <a:pt x="2851394" y="3443363"/>
                  <a:pt x="2841712" y="3443363"/>
                </a:cubicBezTo>
                <a:cubicBezTo>
                  <a:pt x="2836902" y="3443363"/>
                  <a:pt x="2832967" y="3439439"/>
                  <a:pt x="2832967" y="3434642"/>
                </a:cubicBezTo>
                <a:cubicBezTo>
                  <a:pt x="2832967" y="3429845"/>
                  <a:pt x="2829865" y="3422194"/>
                  <a:pt x="2826073" y="3417638"/>
                </a:cubicBezTo>
                <a:cubicBezTo>
                  <a:pt x="2821062" y="3411617"/>
                  <a:pt x="2819944" y="3403452"/>
                  <a:pt x="2821980" y="3387738"/>
                </a:cubicBezTo>
                <a:cubicBezTo>
                  <a:pt x="2824031" y="3371916"/>
                  <a:pt x="2822766" y="3362898"/>
                  <a:pt x="2817264" y="3354095"/>
                </a:cubicBezTo>
                <a:cubicBezTo>
                  <a:pt x="2813129" y="3347481"/>
                  <a:pt x="2811336" y="3342069"/>
                  <a:pt x="2813279" y="3342069"/>
                </a:cubicBezTo>
                <a:cubicBezTo>
                  <a:pt x="2815223" y="3342069"/>
                  <a:pt x="2812891" y="3337084"/>
                  <a:pt x="2808098" y="3330990"/>
                </a:cubicBezTo>
                <a:cubicBezTo>
                  <a:pt x="2803304" y="3324897"/>
                  <a:pt x="2798045" y="3312077"/>
                  <a:pt x="2796413" y="3302501"/>
                </a:cubicBezTo>
                <a:cubicBezTo>
                  <a:pt x="2794577" y="3291741"/>
                  <a:pt x="2790552" y="3285165"/>
                  <a:pt x="2785874" y="3285284"/>
                </a:cubicBezTo>
                <a:cubicBezTo>
                  <a:pt x="2778749" y="3285465"/>
                  <a:pt x="2778754" y="3285855"/>
                  <a:pt x="2785958" y="3291929"/>
                </a:cubicBezTo>
                <a:cubicBezTo>
                  <a:pt x="2793394" y="3298200"/>
                  <a:pt x="2796910" y="3323174"/>
                  <a:pt x="2790331" y="3322979"/>
                </a:cubicBezTo>
                <a:cubicBezTo>
                  <a:pt x="2784980" y="3322821"/>
                  <a:pt x="2777557" y="3314142"/>
                  <a:pt x="2775681" y="3305853"/>
                </a:cubicBezTo>
                <a:cubicBezTo>
                  <a:pt x="2774304" y="3299772"/>
                  <a:pt x="2771665" y="3299772"/>
                  <a:pt x="2763282" y="3305853"/>
                </a:cubicBezTo>
                <a:cubicBezTo>
                  <a:pt x="2753453" y="3312984"/>
                  <a:pt x="2752721" y="3316706"/>
                  <a:pt x="2753779" y="3354086"/>
                </a:cubicBezTo>
                <a:cubicBezTo>
                  <a:pt x="2754450" y="3377814"/>
                  <a:pt x="2757397" y="3398171"/>
                  <a:pt x="2760892" y="3403232"/>
                </a:cubicBezTo>
                <a:cubicBezTo>
                  <a:pt x="2764856" y="3408971"/>
                  <a:pt x="2766580" y="3424957"/>
                  <a:pt x="2766023" y="3450840"/>
                </a:cubicBezTo>
                <a:cubicBezTo>
                  <a:pt x="2765115" y="3493128"/>
                  <a:pt x="2757353" y="3506636"/>
                  <a:pt x="2750015" y="3478697"/>
                </a:cubicBezTo>
                <a:cubicBezTo>
                  <a:pt x="2747655" y="3469710"/>
                  <a:pt x="2742724" y="3462355"/>
                  <a:pt x="2739057" y="3462355"/>
                </a:cubicBezTo>
                <a:cubicBezTo>
                  <a:pt x="2735389" y="3462355"/>
                  <a:pt x="2732389" y="3458387"/>
                  <a:pt x="2732389" y="3453537"/>
                </a:cubicBezTo>
                <a:cubicBezTo>
                  <a:pt x="2732389" y="3444483"/>
                  <a:pt x="2723344" y="3437032"/>
                  <a:pt x="2712353" y="3437032"/>
                </a:cubicBezTo>
                <a:cubicBezTo>
                  <a:pt x="2708267" y="3437032"/>
                  <a:pt x="2706152" y="3444077"/>
                  <a:pt x="2706152" y="3457689"/>
                </a:cubicBezTo>
                <a:cubicBezTo>
                  <a:pt x="2706152" y="3473038"/>
                  <a:pt x="2703623" y="3479951"/>
                  <a:pt x="2696312" y="3484595"/>
                </a:cubicBezTo>
                <a:cubicBezTo>
                  <a:pt x="2688688" y="3489438"/>
                  <a:pt x="2686788" y="3495120"/>
                  <a:pt x="2687868" y="3509837"/>
                </a:cubicBezTo>
                <a:cubicBezTo>
                  <a:pt x="2688637" y="3520283"/>
                  <a:pt x="2689620" y="3541650"/>
                  <a:pt x="2690056" y="3557318"/>
                </a:cubicBezTo>
                <a:cubicBezTo>
                  <a:pt x="2690491" y="3572988"/>
                  <a:pt x="2692544" y="3589617"/>
                  <a:pt x="2694620" y="3594273"/>
                </a:cubicBezTo>
                <a:cubicBezTo>
                  <a:pt x="2699065" y="3604246"/>
                  <a:pt x="2694360" y="3612158"/>
                  <a:pt x="2682100" y="3615329"/>
                </a:cubicBezTo>
                <a:cubicBezTo>
                  <a:pt x="2672226" y="3617883"/>
                  <a:pt x="2667680" y="3643432"/>
                  <a:pt x="2675171" y="3654278"/>
                </a:cubicBezTo>
                <a:cubicBezTo>
                  <a:pt x="2677779" y="3658054"/>
                  <a:pt x="2680146" y="3672683"/>
                  <a:pt x="2680432" y="3686784"/>
                </a:cubicBezTo>
                <a:cubicBezTo>
                  <a:pt x="2680908" y="3710451"/>
                  <a:pt x="2681163" y="3710963"/>
                  <a:pt x="2683731" y="3693432"/>
                </a:cubicBezTo>
                <a:cubicBezTo>
                  <a:pt x="2685938" y="3678378"/>
                  <a:pt x="2689133" y="3674006"/>
                  <a:pt x="2699137" y="3672350"/>
                </a:cubicBezTo>
                <a:cubicBezTo>
                  <a:pt x="2710910" y="3670401"/>
                  <a:pt x="2711590" y="3671476"/>
                  <a:pt x="2709257" y="3688362"/>
                </a:cubicBezTo>
                <a:cubicBezTo>
                  <a:pt x="2707217" y="3703131"/>
                  <a:pt x="2709128" y="3709197"/>
                  <a:pt x="2719638" y="3721312"/>
                </a:cubicBezTo>
                <a:cubicBezTo>
                  <a:pt x="2726725" y="3729479"/>
                  <a:pt x="2732182" y="3739367"/>
                  <a:pt x="2731766" y="3743285"/>
                </a:cubicBezTo>
                <a:cubicBezTo>
                  <a:pt x="2731350" y="3747203"/>
                  <a:pt x="2732566" y="3755587"/>
                  <a:pt x="2734466" y="3761914"/>
                </a:cubicBezTo>
                <a:cubicBezTo>
                  <a:pt x="2736409" y="3768377"/>
                  <a:pt x="2735991" y="3776216"/>
                  <a:pt x="2733513" y="3779804"/>
                </a:cubicBezTo>
                <a:cubicBezTo>
                  <a:pt x="2730548" y="3784097"/>
                  <a:pt x="2727529" y="3779653"/>
                  <a:pt x="2724300" y="3766243"/>
                </a:cubicBezTo>
                <a:cubicBezTo>
                  <a:pt x="2721659" y="3755272"/>
                  <a:pt x="2714863" y="3738325"/>
                  <a:pt x="2709200" y="3728581"/>
                </a:cubicBezTo>
                <a:lnTo>
                  <a:pt x="2698904" y="3710865"/>
                </a:lnTo>
                <a:lnTo>
                  <a:pt x="2694804" y="3727472"/>
                </a:lnTo>
                <a:cubicBezTo>
                  <a:pt x="2690816" y="3743619"/>
                  <a:pt x="2695578" y="3792599"/>
                  <a:pt x="2703659" y="3818561"/>
                </a:cubicBezTo>
                <a:cubicBezTo>
                  <a:pt x="2705572" y="3824706"/>
                  <a:pt x="2706116" y="3835387"/>
                  <a:pt x="2704869" y="3842295"/>
                </a:cubicBezTo>
                <a:cubicBezTo>
                  <a:pt x="2703621" y="3849204"/>
                  <a:pt x="2704382" y="3856451"/>
                  <a:pt x="2706562" y="3858401"/>
                </a:cubicBezTo>
                <a:cubicBezTo>
                  <a:pt x="2713294" y="3864424"/>
                  <a:pt x="2711151" y="3892854"/>
                  <a:pt x="2703965" y="3892854"/>
                </a:cubicBezTo>
                <a:cubicBezTo>
                  <a:pt x="2700358" y="3892854"/>
                  <a:pt x="2697406" y="3889150"/>
                  <a:pt x="2697406" y="3884624"/>
                </a:cubicBezTo>
                <a:cubicBezTo>
                  <a:pt x="2697406" y="3880097"/>
                  <a:pt x="2695225" y="3873236"/>
                  <a:pt x="2692559" y="3869377"/>
                </a:cubicBezTo>
                <a:cubicBezTo>
                  <a:pt x="2689893" y="3865517"/>
                  <a:pt x="2686903" y="3847367"/>
                  <a:pt x="2685914" y="3829043"/>
                </a:cubicBezTo>
                <a:cubicBezTo>
                  <a:pt x="2684926" y="3810719"/>
                  <a:pt x="2682458" y="3792652"/>
                  <a:pt x="2680432" y="3788895"/>
                </a:cubicBezTo>
                <a:cubicBezTo>
                  <a:pt x="2678405" y="3785138"/>
                  <a:pt x="2675339" y="3773517"/>
                  <a:pt x="2673617" y="3763071"/>
                </a:cubicBezTo>
                <a:cubicBezTo>
                  <a:pt x="2671896" y="3752626"/>
                  <a:pt x="2667953" y="3739805"/>
                  <a:pt x="2664856" y="3734582"/>
                </a:cubicBezTo>
                <a:cubicBezTo>
                  <a:pt x="2661758" y="3729359"/>
                  <a:pt x="2657917" y="3717130"/>
                  <a:pt x="2656320" y="3707405"/>
                </a:cubicBezTo>
                <a:cubicBezTo>
                  <a:pt x="2652637" y="3684989"/>
                  <a:pt x="2642017" y="3678717"/>
                  <a:pt x="2633990" y="3694220"/>
                </a:cubicBezTo>
                <a:cubicBezTo>
                  <a:pt x="2628693" y="3704451"/>
                  <a:pt x="2628722" y="3707066"/>
                  <a:pt x="2634199" y="3713122"/>
                </a:cubicBezTo>
                <a:cubicBezTo>
                  <a:pt x="2637696" y="3716988"/>
                  <a:pt x="2640557" y="3728020"/>
                  <a:pt x="2640557" y="3737638"/>
                </a:cubicBezTo>
                <a:cubicBezTo>
                  <a:pt x="2640557" y="3752464"/>
                  <a:pt x="2639560" y="3753926"/>
                  <a:pt x="2633998" y="3747244"/>
                </a:cubicBezTo>
                <a:cubicBezTo>
                  <a:pt x="2630390" y="3742909"/>
                  <a:pt x="2627438" y="3735528"/>
                  <a:pt x="2627438" y="3730840"/>
                </a:cubicBezTo>
                <a:cubicBezTo>
                  <a:pt x="2627438" y="3726153"/>
                  <a:pt x="2624695" y="3723842"/>
                  <a:pt x="2621342" y="3725705"/>
                </a:cubicBezTo>
                <a:cubicBezTo>
                  <a:pt x="2616724" y="3728271"/>
                  <a:pt x="2614499" y="3719780"/>
                  <a:pt x="2612167" y="3690686"/>
                </a:cubicBezTo>
                <a:cubicBezTo>
                  <a:pt x="2610474" y="3669564"/>
                  <a:pt x="2607314" y="3652281"/>
                  <a:pt x="2605145" y="3652281"/>
                </a:cubicBezTo>
                <a:cubicBezTo>
                  <a:pt x="2602976" y="3652281"/>
                  <a:pt x="2601158" y="3644447"/>
                  <a:pt x="2601104" y="3634871"/>
                </a:cubicBezTo>
                <a:cubicBezTo>
                  <a:pt x="2600974" y="3611715"/>
                  <a:pt x="2587069" y="3585752"/>
                  <a:pt x="2577610" y="3591006"/>
                </a:cubicBezTo>
                <a:cubicBezTo>
                  <a:pt x="2566765" y="3597032"/>
                  <a:pt x="2564271" y="3613351"/>
                  <a:pt x="2572247" y="3626110"/>
                </a:cubicBezTo>
                <a:cubicBezTo>
                  <a:pt x="2580831" y="3639841"/>
                  <a:pt x="2581612" y="3664943"/>
                  <a:pt x="2573455" y="3664943"/>
                </a:cubicBezTo>
                <a:cubicBezTo>
                  <a:pt x="2565487" y="3664943"/>
                  <a:pt x="2553099" y="3644289"/>
                  <a:pt x="2553099" y="3631003"/>
                </a:cubicBezTo>
                <a:cubicBezTo>
                  <a:pt x="2553099" y="3625072"/>
                  <a:pt x="2548671" y="3617809"/>
                  <a:pt x="2543260" y="3614862"/>
                </a:cubicBezTo>
                <a:cubicBezTo>
                  <a:pt x="2530755" y="3608056"/>
                  <a:pt x="2523216" y="3623383"/>
                  <a:pt x="2530623" y="3640554"/>
                </a:cubicBezTo>
                <a:cubicBezTo>
                  <a:pt x="2539261" y="3660579"/>
                  <a:pt x="2536826" y="3698781"/>
                  <a:pt x="2526305" y="3708293"/>
                </a:cubicBezTo>
                <a:cubicBezTo>
                  <a:pt x="2518040" y="3715766"/>
                  <a:pt x="2517311" y="3720509"/>
                  <a:pt x="2519771" y="3750816"/>
                </a:cubicBezTo>
                <a:lnTo>
                  <a:pt x="2522540" y="3784928"/>
                </a:lnTo>
                <a:lnTo>
                  <a:pt x="2509726" y="3781217"/>
                </a:lnTo>
                <a:cubicBezTo>
                  <a:pt x="2491618" y="3775974"/>
                  <a:pt x="2485001" y="3787442"/>
                  <a:pt x="2486852" y="3820858"/>
                </a:cubicBezTo>
                <a:cubicBezTo>
                  <a:pt x="2488027" y="3842062"/>
                  <a:pt x="2486874" y="3848538"/>
                  <a:pt x="2481921" y="3848538"/>
                </a:cubicBezTo>
                <a:cubicBezTo>
                  <a:pt x="2473028" y="3848538"/>
                  <a:pt x="2466210" y="3835250"/>
                  <a:pt x="2462933" y="3811532"/>
                </a:cubicBezTo>
                <a:cubicBezTo>
                  <a:pt x="2461416" y="3800547"/>
                  <a:pt x="2458645" y="3791560"/>
                  <a:pt x="2456776" y="3791560"/>
                </a:cubicBezTo>
                <a:cubicBezTo>
                  <a:pt x="2454907" y="3791560"/>
                  <a:pt x="2451266" y="3782791"/>
                  <a:pt x="2448685" y="3772074"/>
                </a:cubicBezTo>
                <a:cubicBezTo>
                  <a:pt x="2443551" y="3750749"/>
                  <a:pt x="2429132" y="3747939"/>
                  <a:pt x="2427873" y="3768017"/>
                </a:cubicBezTo>
                <a:cubicBezTo>
                  <a:pt x="2427379" y="3775892"/>
                  <a:pt x="2427778" y="3776333"/>
                  <a:pt x="2429236" y="3769526"/>
                </a:cubicBezTo>
                <a:cubicBezTo>
                  <a:pt x="2431510" y="3758919"/>
                  <a:pt x="2443776" y="3756143"/>
                  <a:pt x="2443776" y="3766237"/>
                </a:cubicBezTo>
                <a:cubicBezTo>
                  <a:pt x="2443776" y="3769719"/>
                  <a:pt x="2442301" y="3772585"/>
                  <a:pt x="2440496" y="3772608"/>
                </a:cubicBezTo>
                <a:cubicBezTo>
                  <a:pt x="2438692" y="3772627"/>
                  <a:pt x="2433773" y="3781407"/>
                  <a:pt x="2429564" y="3792113"/>
                </a:cubicBezTo>
                <a:cubicBezTo>
                  <a:pt x="2419134" y="3818643"/>
                  <a:pt x="2419508" y="3859863"/>
                  <a:pt x="2430302" y="3873416"/>
                </a:cubicBezTo>
                <a:cubicBezTo>
                  <a:pt x="2435288" y="3879676"/>
                  <a:pt x="2440996" y="3900531"/>
                  <a:pt x="2444369" y="3924805"/>
                </a:cubicBezTo>
                <a:cubicBezTo>
                  <a:pt x="2447491" y="3947274"/>
                  <a:pt x="2451793" y="3967437"/>
                  <a:pt x="2453931" y="3969610"/>
                </a:cubicBezTo>
                <a:cubicBezTo>
                  <a:pt x="2456068" y="3971784"/>
                  <a:pt x="2454718" y="3980410"/>
                  <a:pt x="2450930" y="3988781"/>
                </a:cubicBezTo>
                <a:cubicBezTo>
                  <a:pt x="2443890" y="4004334"/>
                  <a:pt x="2442745" y="4083398"/>
                  <a:pt x="2449419" y="4093060"/>
                </a:cubicBezTo>
                <a:cubicBezTo>
                  <a:pt x="2454210" y="4099996"/>
                  <a:pt x="2453085" y="4138506"/>
                  <a:pt x="2447957" y="4143094"/>
                </a:cubicBezTo>
                <a:cubicBezTo>
                  <a:pt x="2441139" y="4149195"/>
                  <a:pt x="2430657" y="4133852"/>
                  <a:pt x="2430657" y="4117769"/>
                </a:cubicBezTo>
                <a:cubicBezTo>
                  <a:pt x="2430657" y="4094995"/>
                  <a:pt x="2421562" y="4063787"/>
                  <a:pt x="2414924" y="4063787"/>
                </a:cubicBezTo>
                <a:cubicBezTo>
                  <a:pt x="2411552" y="4063787"/>
                  <a:pt x="2408547" y="4060938"/>
                  <a:pt x="2408246" y="4057456"/>
                </a:cubicBezTo>
                <a:cubicBezTo>
                  <a:pt x="2407945" y="4053974"/>
                  <a:pt x="2407207" y="4048276"/>
                  <a:pt x="2406606" y="4044794"/>
                </a:cubicBezTo>
                <a:cubicBezTo>
                  <a:pt x="2406005" y="4041312"/>
                  <a:pt x="2405267" y="4017301"/>
                  <a:pt x="2404966" y="3991434"/>
                </a:cubicBezTo>
                <a:cubicBezTo>
                  <a:pt x="2404557" y="3956255"/>
                  <a:pt x="2402534" y="3941674"/>
                  <a:pt x="2396933" y="3933567"/>
                </a:cubicBezTo>
                <a:cubicBezTo>
                  <a:pt x="2392816" y="3927605"/>
                  <a:pt x="2389152" y="3919568"/>
                  <a:pt x="2388791" y="3915705"/>
                </a:cubicBezTo>
                <a:cubicBezTo>
                  <a:pt x="2388431" y="3911842"/>
                  <a:pt x="2386709" y="3884465"/>
                  <a:pt x="2384965" y="3854869"/>
                </a:cubicBezTo>
                <a:cubicBezTo>
                  <a:pt x="2381682" y="3799164"/>
                  <a:pt x="2376003" y="3782877"/>
                  <a:pt x="2358125" y="3777893"/>
                </a:cubicBezTo>
                <a:cubicBezTo>
                  <a:pt x="2353578" y="3776624"/>
                  <a:pt x="2349153" y="3769923"/>
                  <a:pt x="2348290" y="3762998"/>
                </a:cubicBezTo>
                <a:cubicBezTo>
                  <a:pt x="2346031" y="3744853"/>
                  <a:pt x="2340915" y="3739100"/>
                  <a:pt x="2331066" y="3743626"/>
                </a:cubicBezTo>
                <a:cubicBezTo>
                  <a:pt x="2323601" y="3747056"/>
                  <a:pt x="2322418" y="3753375"/>
                  <a:pt x="2322362" y="3790153"/>
                </a:cubicBezTo>
                <a:cubicBezTo>
                  <a:pt x="2322327" y="3813559"/>
                  <a:pt x="2323776" y="3835560"/>
                  <a:pt x="2325585" y="3839042"/>
                </a:cubicBezTo>
                <a:cubicBezTo>
                  <a:pt x="2330367" y="3848252"/>
                  <a:pt x="2334803" y="3904455"/>
                  <a:pt x="2331015" y="3907844"/>
                </a:cubicBezTo>
                <a:cubicBezTo>
                  <a:pt x="2325179" y="3913065"/>
                  <a:pt x="2314097" y="3896350"/>
                  <a:pt x="2310583" y="3877027"/>
                </a:cubicBezTo>
                <a:cubicBezTo>
                  <a:pt x="2308684" y="3866581"/>
                  <a:pt x="2307525" y="3841244"/>
                  <a:pt x="2308008" y="3820722"/>
                </a:cubicBezTo>
                <a:cubicBezTo>
                  <a:pt x="2308911" y="3782312"/>
                  <a:pt x="2305309" y="3772864"/>
                  <a:pt x="2289689" y="3772664"/>
                </a:cubicBezTo>
                <a:cubicBezTo>
                  <a:pt x="2281272" y="3772557"/>
                  <a:pt x="2267066" y="3813894"/>
                  <a:pt x="2271750" y="3824865"/>
                </a:cubicBezTo>
                <a:cubicBezTo>
                  <a:pt x="2273403" y="3828737"/>
                  <a:pt x="2272480" y="3829620"/>
                  <a:pt x="2269535" y="3826984"/>
                </a:cubicBezTo>
                <a:cubicBezTo>
                  <a:pt x="2266543" y="3824308"/>
                  <a:pt x="2264486" y="3826489"/>
                  <a:pt x="2264486" y="3832337"/>
                </a:cubicBezTo>
                <a:cubicBezTo>
                  <a:pt x="2264486" y="3837766"/>
                  <a:pt x="2262362" y="3842207"/>
                  <a:pt x="2259765" y="3842207"/>
                </a:cubicBezTo>
                <a:cubicBezTo>
                  <a:pt x="2256796" y="3842207"/>
                  <a:pt x="2256114" y="3835164"/>
                  <a:pt x="2257927" y="3823214"/>
                </a:cubicBezTo>
                <a:cubicBezTo>
                  <a:pt x="2259826" y="3810697"/>
                  <a:pt x="2259092" y="3804222"/>
                  <a:pt x="2255775" y="3804222"/>
                </a:cubicBezTo>
                <a:cubicBezTo>
                  <a:pt x="2253007" y="3804222"/>
                  <a:pt x="2247538" y="3799582"/>
                  <a:pt x="2243620" y="3793911"/>
                </a:cubicBezTo>
                <a:cubicBezTo>
                  <a:pt x="2237039" y="3784383"/>
                  <a:pt x="2237259" y="3782707"/>
                  <a:pt x="2246518" y="3771854"/>
                </a:cubicBezTo>
                <a:cubicBezTo>
                  <a:pt x="2255048" y="3761853"/>
                  <a:pt x="2256154" y="3756142"/>
                  <a:pt x="2253959" y="3733428"/>
                </a:cubicBezTo>
                <a:cubicBezTo>
                  <a:pt x="2252542" y="3718753"/>
                  <a:pt x="2249411" y="3703894"/>
                  <a:pt x="2247002" y="3700406"/>
                </a:cubicBezTo>
                <a:cubicBezTo>
                  <a:pt x="2244592" y="3696919"/>
                  <a:pt x="2242621" y="3689474"/>
                  <a:pt x="2242621" y="3683863"/>
                </a:cubicBezTo>
                <a:cubicBezTo>
                  <a:pt x="2242621" y="3678252"/>
                  <a:pt x="2238686" y="3667546"/>
                  <a:pt x="2233875" y="3660071"/>
                </a:cubicBezTo>
                <a:cubicBezTo>
                  <a:pt x="2229065" y="3652596"/>
                  <a:pt x="2225130" y="3640663"/>
                  <a:pt x="2225130" y="3633553"/>
                </a:cubicBezTo>
                <a:cubicBezTo>
                  <a:pt x="2225130" y="3626444"/>
                  <a:pt x="2223654" y="3620376"/>
                  <a:pt x="2221850" y="3620071"/>
                </a:cubicBezTo>
                <a:cubicBezTo>
                  <a:pt x="2220046" y="3619765"/>
                  <a:pt x="2211683" y="3619052"/>
                  <a:pt x="2203265" y="3618488"/>
                </a:cubicBezTo>
                <a:cubicBezTo>
                  <a:pt x="2188217" y="3617479"/>
                  <a:pt x="2187981" y="3617853"/>
                  <a:pt x="2189200" y="3640708"/>
                </a:cubicBezTo>
                <a:cubicBezTo>
                  <a:pt x="2190210" y="3659648"/>
                  <a:pt x="2188734" y="3664739"/>
                  <a:pt x="2181231" y="3668186"/>
                </a:cubicBezTo>
                <a:cubicBezTo>
                  <a:pt x="2175294" y="3670914"/>
                  <a:pt x="2172929" y="3675839"/>
                  <a:pt x="2174574" y="3682047"/>
                </a:cubicBezTo>
                <a:cubicBezTo>
                  <a:pt x="2176448" y="3689115"/>
                  <a:pt x="2175143" y="3690574"/>
                  <a:pt x="2169669" y="3687533"/>
                </a:cubicBezTo>
                <a:cubicBezTo>
                  <a:pt x="2163315" y="3684003"/>
                  <a:pt x="2163466" y="3685395"/>
                  <a:pt x="2170689" y="3696951"/>
                </a:cubicBezTo>
                <a:cubicBezTo>
                  <a:pt x="2177398" y="3707683"/>
                  <a:pt x="2182591" y="3709846"/>
                  <a:pt x="2195588" y="3707322"/>
                </a:cubicBezTo>
                <a:cubicBezTo>
                  <a:pt x="2211612" y="3704211"/>
                  <a:pt x="2212011" y="3704626"/>
                  <a:pt x="2212011" y="3724422"/>
                </a:cubicBezTo>
                <a:cubicBezTo>
                  <a:pt x="2212011" y="3735582"/>
                  <a:pt x="2214256" y="3747962"/>
                  <a:pt x="2216999" y="3751934"/>
                </a:cubicBezTo>
                <a:cubicBezTo>
                  <a:pt x="2223416" y="3761224"/>
                  <a:pt x="2224997" y="3835911"/>
                  <a:pt x="2218775" y="3835779"/>
                </a:cubicBezTo>
                <a:cubicBezTo>
                  <a:pt x="2208830" y="3835568"/>
                  <a:pt x="2204344" y="3825044"/>
                  <a:pt x="2201276" y="3794726"/>
                </a:cubicBezTo>
                <a:cubicBezTo>
                  <a:pt x="2197020" y="3752657"/>
                  <a:pt x="2193267" y="3746638"/>
                  <a:pt x="2176875" y="3755596"/>
                </a:cubicBezTo>
                <a:cubicBezTo>
                  <a:pt x="2161020" y="3764261"/>
                  <a:pt x="2155873" y="3758069"/>
                  <a:pt x="2138525" y="3709464"/>
                </a:cubicBezTo>
                <a:cubicBezTo>
                  <a:pt x="2123766" y="3668115"/>
                  <a:pt x="2115171" y="3658627"/>
                  <a:pt x="2105352" y="3672844"/>
                </a:cubicBezTo>
                <a:cubicBezTo>
                  <a:pt x="2098301" y="3683051"/>
                  <a:pt x="2099961" y="3702928"/>
                  <a:pt x="2107864" y="3702928"/>
                </a:cubicBezTo>
                <a:cubicBezTo>
                  <a:pt x="2110196" y="3702928"/>
                  <a:pt x="2111495" y="3713164"/>
                  <a:pt x="2110750" y="3725675"/>
                </a:cubicBezTo>
                <a:cubicBezTo>
                  <a:pt x="2109802" y="3741608"/>
                  <a:pt x="2111666" y="3750826"/>
                  <a:pt x="2116974" y="3756445"/>
                </a:cubicBezTo>
                <a:cubicBezTo>
                  <a:pt x="2121142" y="3760857"/>
                  <a:pt x="2124552" y="3770563"/>
                  <a:pt x="2124552" y="3778014"/>
                </a:cubicBezTo>
                <a:cubicBezTo>
                  <a:pt x="2124552" y="3788826"/>
                  <a:pt x="2121921" y="3791560"/>
                  <a:pt x="2111517" y="3791560"/>
                </a:cubicBezTo>
                <a:cubicBezTo>
                  <a:pt x="2101338" y="3791560"/>
                  <a:pt x="2097893" y="3794952"/>
                  <a:pt x="2095798" y="3807039"/>
                </a:cubicBezTo>
                <a:cubicBezTo>
                  <a:pt x="2094322" y="3815551"/>
                  <a:pt x="2089857" y="3823768"/>
                  <a:pt x="2085876" y="3825297"/>
                </a:cubicBezTo>
                <a:cubicBezTo>
                  <a:pt x="2080764" y="3827259"/>
                  <a:pt x="2081441" y="3828292"/>
                  <a:pt x="2088181" y="3828811"/>
                </a:cubicBezTo>
                <a:cubicBezTo>
                  <a:pt x="2093433" y="3829215"/>
                  <a:pt x="2098918" y="3834985"/>
                  <a:pt x="2100377" y="3841641"/>
                </a:cubicBezTo>
                <a:cubicBezTo>
                  <a:pt x="2101836" y="3848293"/>
                  <a:pt x="2107979" y="3858432"/>
                  <a:pt x="2114029" y="3864171"/>
                </a:cubicBezTo>
                <a:cubicBezTo>
                  <a:pt x="2123352" y="3873014"/>
                  <a:pt x="2124827" y="3878655"/>
                  <a:pt x="2123698" y="3901140"/>
                </a:cubicBezTo>
                <a:cubicBezTo>
                  <a:pt x="2122193" y="3931115"/>
                  <a:pt x="2110223" y="3939232"/>
                  <a:pt x="2107910" y="3911846"/>
                </a:cubicBezTo>
                <a:cubicBezTo>
                  <a:pt x="2104476" y="3871189"/>
                  <a:pt x="2098711" y="3858131"/>
                  <a:pt x="2080582" y="3849939"/>
                </a:cubicBezTo>
                <a:cubicBezTo>
                  <a:pt x="2061553" y="3841341"/>
                  <a:pt x="2054585" y="3843688"/>
                  <a:pt x="2054585" y="3858695"/>
                </a:cubicBezTo>
                <a:cubicBezTo>
                  <a:pt x="2054585" y="3866014"/>
                  <a:pt x="2051196" y="3867184"/>
                  <a:pt x="2039326" y="3863960"/>
                </a:cubicBezTo>
                <a:cubicBezTo>
                  <a:pt x="2027534" y="3860757"/>
                  <a:pt x="2023454" y="3862131"/>
                  <a:pt x="2021367" y="3870003"/>
                </a:cubicBezTo>
                <a:cubicBezTo>
                  <a:pt x="2017577" y="3884301"/>
                  <a:pt x="2006483" y="3882736"/>
                  <a:pt x="2006483" y="3867904"/>
                </a:cubicBezTo>
                <a:cubicBezTo>
                  <a:pt x="2006483" y="3861146"/>
                  <a:pt x="2004483" y="3853826"/>
                  <a:pt x="2002040" y="3851640"/>
                </a:cubicBezTo>
                <a:cubicBezTo>
                  <a:pt x="1999595" y="3849452"/>
                  <a:pt x="1998824" y="3844783"/>
                  <a:pt x="2000327" y="3841264"/>
                </a:cubicBezTo>
                <a:cubicBezTo>
                  <a:pt x="2001829" y="3837744"/>
                  <a:pt x="1998909" y="3830657"/>
                  <a:pt x="1993839" y="3825515"/>
                </a:cubicBezTo>
                <a:cubicBezTo>
                  <a:pt x="1987608" y="3819197"/>
                  <a:pt x="1984619" y="3809349"/>
                  <a:pt x="1984619" y="3795142"/>
                </a:cubicBezTo>
                <a:cubicBezTo>
                  <a:pt x="1984619" y="3769202"/>
                  <a:pt x="1974654" y="3754565"/>
                  <a:pt x="1964941" y="3766237"/>
                </a:cubicBezTo>
                <a:cubicBezTo>
                  <a:pt x="1961333" y="3770571"/>
                  <a:pt x="1958381" y="3778042"/>
                  <a:pt x="1958381" y="3782839"/>
                </a:cubicBezTo>
                <a:cubicBezTo>
                  <a:pt x="1958381" y="3787636"/>
                  <a:pt x="1955430" y="3791560"/>
                  <a:pt x="1951822" y="3791560"/>
                </a:cubicBezTo>
                <a:cubicBezTo>
                  <a:pt x="1948214" y="3791560"/>
                  <a:pt x="1945262" y="3788711"/>
                  <a:pt x="1945262" y="3785229"/>
                </a:cubicBezTo>
                <a:cubicBezTo>
                  <a:pt x="1945262" y="3781747"/>
                  <a:pt x="1939359" y="3778898"/>
                  <a:pt x="1932144" y="3778898"/>
                </a:cubicBezTo>
                <a:cubicBezTo>
                  <a:pt x="1921186" y="3778898"/>
                  <a:pt x="1919025" y="3776378"/>
                  <a:pt x="1919025" y="3763599"/>
                </a:cubicBezTo>
                <a:cubicBezTo>
                  <a:pt x="1919025" y="3755184"/>
                  <a:pt x="1921033" y="3747330"/>
                  <a:pt x="1923488" y="3746145"/>
                </a:cubicBezTo>
                <a:cubicBezTo>
                  <a:pt x="1930205" y="3742904"/>
                  <a:pt x="1918350" y="3709947"/>
                  <a:pt x="1908872" y="3705513"/>
                </a:cubicBezTo>
                <a:cubicBezTo>
                  <a:pt x="1899063" y="3700925"/>
                  <a:pt x="1884041" y="3719355"/>
                  <a:pt x="1884041" y="3735980"/>
                </a:cubicBezTo>
                <a:cubicBezTo>
                  <a:pt x="1884041" y="3742633"/>
                  <a:pt x="1886078" y="3753587"/>
                  <a:pt x="1888568" y="3760322"/>
                </a:cubicBezTo>
                <a:cubicBezTo>
                  <a:pt x="1893887" y="3774711"/>
                  <a:pt x="1885030" y="3777798"/>
                  <a:pt x="1875988" y="3764707"/>
                </a:cubicBezTo>
                <a:cubicBezTo>
                  <a:pt x="1871664" y="3758447"/>
                  <a:pt x="1869719" y="3758769"/>
                  <a:pt x="1866434" y="3766290"/>
                </a:cubicBezTo>
                <a:cubicBezTo>
                  <a:pt x="1861190" y="3778299"/>
                  <a:pt x="1860967" y="3797891"/>
                  <a:pt x="1866075" y="3797891"/>
                </a:cubicBezTo>
                <a:cubicBezTo>
                  <a:pt x="1868220" y="3797891"/>
                  <a:pt x="1871209" y="3805013"/>
                  <a:pt x="1872718" y="3813718"/>
                </a:cubicBezTo>
                <a:cubicBezTo>
                  <a:pt x="1874227" y="3822423"/>
                  <a:pt x="1877392" y="3829545"/>
                  <a:pt x="1879752" y="3829545"/>
                </a:cubicBezTo>
                <a:cubicBezTo>
                  <a:pt x="1882111" y="3829545"/>
                  <a:pt x="1884041" y="3836499"/>
                  <a:pt x="1884041" y="3844998"/>
                </a:cubicBezTo>
                <a:cubicBezTo>
                  <a:pt x="1884041" y="3853498"/>
                  <a:pt x="1886113" y="3862306"/>
                  <a:pt x="1888645" y="3864572"/>
                </a:cubicBezTo>
                <a:cubicBezTo>
                  <a:pt x="1891177" y="3866837"/>
                  <a:pt x="1892520" y="3871854"/>
                  <a:pt x="1891630" y="3875720"/>
                </a:cubicBezTo>
                <a:cubicBezTo>
                  <a:pt x="1889035" y="3886993"/>
                  <a:pt x="1902591" y="3905515"/>
                  <a:pt x="1913437" y="3905515"/>
                </a:cubicBezTo>
                <a:cubicBezTo>
                  <a:pt x="1919375" y="3905515"/>
                  <a:pt x="1923398" y="3909350"/>
                  <a:pt x="1923398" y="3915012"/>
                </a:cubicBezTo>
                <a:cubicBezTo>
                  <a:pt x="1923398" y="3920235"/>
                  <a:pt x="1925365" y="3924508"/>
                  <a:pt x="1927771" y="3924508"/>
                </a:cubicBezTo>
                <a:cubicBezTo>
                  <a:pt x="1930176" y="3924508"/>
                  <a:pt x="1932144" y="3930106"/>
                  <a:pt x="1932144" y="3936947"/>
                </a:cubicBezTo>
                <a:cubicBezTo>
                  <a:pt x="1932144" y="3943788"/>
                  <a:pt x="1936079" y="3952436"/>
                  <a:pt x="1940889" y="3956162"/>
                </a:cubicBezTo>
                <a:cubicBezTo>
                  <a:pt x="1954852" y="3966980"/>
                  <a:pt x="1951574" y="3977299"/>
                  <a:pt x="1935640" y="3972686"/>
                </a:cubicBezTo>
                <a:cubicBezTo>
                  <a:pt x="1927944" y="3970457"/>
                  <a:pt x="1920564" y="3966474"/>
                  <a:pt x="1919242" y="3963834"/>
                </a:cubicBezTo>
                <a:cubicBezTo>
                  <a:pt x="1917920" y="3961195"/>
                  <a:pt x="1911339" y="3953967"/>
                  <a:pt x="1904617" y="3947772"/>
                </a:cubicBezTo>
                <a:cubicBezTo>
                  <a:pt x="1897896" y="3941576"/>
                  <a:pt x="1890509" y="3929320"/>
                  <a:pt x="1888202" y="3920535"/>
                </a:cubicBezTo>
                <a:cubicBezTo>
                  <a:pt x="1883345" y="3902041"/>
                  <a:pt x="1873609" y="3886523"/>
                  <a:pt x="1866862" y="3886523"/>
                </a:cubicBezTo>
                <a:cubicBezTo>
                  <a:pt x="1864285" y="3886523"/>
                  <a:pt x="1862177" y="3881029"/>
                  <a:pt x="1862177" y="3874314"/>
                </a:cubicBezTo>
                <a:cubicBezTo>
                  <a:pt x="1862177" y="3867598"/>
                  <a:pt x="1859607" y="3858339"/>
                  <a:pt x="1856466" y="3853739"/>
                </a:cubicBezTo>
                <a:cubicBezTo>
                  <a:pt x="1853325" y="3849137"/>
                  <a:pt x="1849451" y="3840387"/>
                  <a:pt x="1847857" y="3834293"/>
                </a:cubicBezTo>
                <a:cubicBezTo>
                  <a:pt x="1844203" y="3820320"/>
                  <a:pt x="1827822" y="3819806"/>
                  <a:pt x="1824179" y="3833550"/>
                </a:cubicBezTo>
                <a:cubicBezTo>
                  <a:pt x="1822673" y="3839234"/>
                  <a:pt x="1823855" y="3849482"/>
                  <a:pt x="1826806" y="3856324"/>
                </a:cubicBezTo>
                <a:cubicBezTo>
                  <a:pt x="1829757" y="3863165"/>
                  <a:pt x="1830945" y="3870540"/>
                  <a:pt x="1829445" y="3872712"/>
                </a:cubicBezTo>
                <a:cubicBezTo>
                  <a:pt x="1827945" y="3874883"/>
                  <a:pt x="1825077" y="3872816"/>
                  <a:pt x="1823072" y="3868119"/>
                </a:cubicBezTo>
                <a:cubicBezTo>
                  <a:pt x="1818209" y="3856728"/>
                  <a:pt x="1809702" y="3865026"/>
                  <a:pt x="1809702" y="3881158"/>
                </a:cubicBezTo>
                <a:cubicBezTo>
                  <a:pt x="1809702" y="3888715"/>
                  <a:pt x="1813317" y="3895408"/>
                  <a:pt x="1818447" y="3897350"/>
                </a:cubicBezTo>
                <a:cubicBezTo>
                  <a:pt x="1824168" y="3899516"/>
                  <a:pt x="1827193" y="3905986"/>
                  <a:pt x="1827193" y="3916052"/>
                </a:cubicBezTo>
                <a:cubicBezTo>
                  <a:pt x="1827193" y="3932239"/>
                  <a:pt x="1846127" y="3962493"/>
                  <a:pt x="1856256" y="3962493"/>
                </a:cubicBezTo>
                <a:cubicBezTo>
                  <a:pt x="1859512" y="3962493"/>
                  <a:pt x="1862177" y="3968191"/>
                  <a:pt x="1862177" y="3975155"/>
                </a:cubicBezTo>
                <a:cubicBezTo>
                  <a:pt x="1862177" y="3984267"/>
                  <a:pt x="1859262" y="3987817"/>
                  <a:pt x="1851780" y="3987817"/>
                </a:cubicBezTo>
                <a:cubicBezTo>
                  <a:pt x="1846061" y="3987817"/>
                  <a:pt x="1838933" y="3992090"/>
                  <a:pt x="1835939" y="3997313"/>
                </a:cubicBezTo>
                <a:cubicBezTo>
                  <a:pt x="1832945" y="4002536"/>
                  <a:pt x="1828768" y="4006809"/>
                  <a:pt x="1826658" y="4006809"/>
                </a:cubicBezTo>
                <a:cubicBezTo>
                  <a:pt x="1824547" y="4006809"/>
                  <a:pt x="1822820" y="4002536"/>
                  <a:pt x="1822820" y="3997313"/>
                </a:cubicBezTo>
                <a:cubicBezTo>
                  <a:pt x="1822820" y="3992090"/>
                  <a:pt x="1820853" y="3987817"/>
                  <a:pt x="1818447" y="3987817"/>
                </a:cubicBezTo>
                <a:cubicBezTo>
                  <a:pt x="1816042" y="3987817"/>
                  <a:pt x="1814075" y="3983167"/>
                  <a:pt x="1814075" y="3977485"/>
                </a:cubicBezTo>
                <a:cubicBezTo>
                  <a:pt x="1814075" y="3964980"/>
                  <a:pt x="1797850" y="3925247"/>
                  <a:pt x="1786969" y="3911104"/>
                </a:cubicBezTo>
                <a:cubicBezTo>
                  <a:pt x="1782636" y="3905473"/>
                  <a:pt x="1779091" y="3894814"/>
                  <a:pt x="1779091" y="3887418"/>
                </a:cubicBezTo>
                <a:cubicBezTo>
                  <a:pt x="1779091" y="3875266"/>
                  <a:pt x="1765017" y="3844344"/>
                  <a:pt x="1741945" y="3805804"/>
                </a:cubicBezTo>
                <a:cubicBezTo>
                  <a:pt x="1737256" y="3797970"/>
                  <a:pt x="1729920" y="3791560"/>
                  <a:pt x="1725644" y="3791560"/>
                </a:cubicBezTo>
                <a:cubicBezTo>
                  <a:pt x="1721369" y="3791560"/>
                  <a:pt x="1717870" y="3787082"/>
                  <a:pt x="1717870" y="3781609"/>
                </a:cubicBezTo>
                <a:cubicBezTo>
                  <a:pt x="1717870" y="3769873"/>
                  <a:pt x="1697380" y="3717614"/>
                  <a:pt x="1690111" y="3710809"/>
                </a:cubicBezTo>
                <a:cubicBezTo>
                  <a:pt x="1687340" y="3708215"/>
                  <a:pt x="1682895" y="3700396"/>
                  <a:pt x="1680232" y="3693432"/>
                </a:cubicBezTo>
                <a:cubicBezTo>
                  <a:pt x="1677569" y="3686468"/>
                  <a:pt x="1671979" y="3679799"/>
                  <a:pt x="1667809" y="3678612"/>
                </a:cubicBezTo>
                <a:cubicBezTo>
                  <a:pt x="1659247" y="3676176"/>
                  <a:pt x="1643530" y="3655329"/>
                  <a:pt x="1643530" y="3646410"/>
                </a:cubicBezTo>
                <a:cubicBezTo>
                  <a:pt x="1643530" y="3643181"/>
                  <a:pt x="1638611" y="3634936"/>
                  <a:pt x="1632598" y="3628089"/>
                </a:cubicBezTo>
                <a:cubicBezTo>
                  <a:pt x="1626078" y="3620663"/>
                  <a:pt x="1621666" y="3609167"/>
                  <a:pt x="1621666" y="3599604"/>
                </a:cubicBezTo>
                <a:cubicBezTo>
                  <a:pt x="1621666" y="3587944"/>
                  <a:pt x="1617908" y="3580855"/>
                  <a:pt x="1607892" y="3573621"/>
                </a:cubicBezTo>
                <a:cubicBezTo>
                  <a:pt x="1592334" y="3562385"/>
                  <a:pt x="1582310" y="3568877"/>
                  <a:pt x="1582310" y="3590188"/>
                </a:cubicBezTo>
                <a:cubicBezTo>
                  <a:pt x="1582310" y="3608936"/>
                  <a:pt x="1563990" y="3602336"/>
                  <a:pt x="1556968" y="3581059"/>
                </a:cubicBezTo>
                <a:cubicBezTo>
                  <a:pt x="1553808" y="3571483"/>
                  <a:pt x="1549853" y="3563286"/>
                  <a:pt x="1548180" y="3562841"/>
                </a:cubicBezTo>
                <a:cubicBezTo>
                  <a:pt x="1534416" y="3559184"/>
                  <a:pt x="1525461" y="3559990"/>
                  <a:pt x="1525461" y="3564887"/>
                </a:cubicBezTo>
                <a:cubicBezTo>
                  <a:pt x="1525461" y="3568100"/>
                  <a:pt x="1523850" y="3569285"/>
                  <a:pt x="1521880" y="3567523"/>
                </a:cubicBezTo>
                <a:cubicBezTo>
                  <a:pt x="1515780" y="3562065"/>
                  <a:pt x="1521675" y="3600788"/>
                  <a:pt x="1528124" y="3608537"/>
                </a:cubicBezTo>
                <a:cubicBezTo>
                  <a:pt x="1531470" y="3612557"/>
                  <a:pt x="1534207" y="3621363"/>
                  <a:pt x="1534207" y="3628104"/>
                </a:cubicBezTo>
                <a:cubicBezTo>
                  <a:pt x="1534207" y="3634846"/>
                  <a:pt x="1540440" y="3651589"/>
                  <a:pt x="1548057" y="3665312"/>
                </a:cubicBezTo>
                <a:cubicBezTo>
                  <a:pt x="1555674" y="3679035"/>
                  <a:pt x="1562260" y="3695249"/>
                  <a:pt x="1562692" y="3701343"/>
                </a:cubicBezTo>
                <a:cubicBezTo>
                  <a:pt x="1563458" y="3712152"/>
                  <a:pt x="1570563" y="3739304"/>
                  <a:pt x="1578407" y="3761403"/>
                </a:cubicBezTo>
                <a:cubicBezTo>
                  <a:pt x="1580554" y="3767449"/>
                  <a:pt x="1582310" y="3778174"/>
                  <a:pt x="1582310" y="3785236"/>
                </a:cubicBezTo>
                <a:cubicBezTo>
                  <a:pt x="1582310" y="3792808"/>
                  <a:pt x="1587872" y="3802974"/>
                  <a:pt x="1595866" y="3810012"/>
                </a:cubicBezTo>
                <a:lnTo>
                  <a:pt x="1609422" y="3821947"/>
                </a:lnTo>
                <a:lnTo>
                  <a:pt x="1599783" y="3835903"/>
                </a:lnTo>
                <a:cubicBezTo>
                  <a:pt x="1592444" y="3846528"/>
                  <a:pt x="1590770" y="3854389"/>
                  <a:pt x="1592769" y="3868858"/>
                </a:cubicBezTo>
                <a:cubicBezTo>
                  <a:pt x="1594782" y="3883425"/>
                  <a:pt x="1593985" y="3887076"/>
                  <a:pt x="1589357" y="3884504"/>
                </a:cubicBezTo>
                <a:cubicBezTo>
                  <a:pt x="1584420" y="3881763"/>
                  <a:pt x="1584200" y="3884530"/>
                  <a:pt x="1588146" y="3899664"/>
                </a:cubicBezTo>
                <a:cubicBezTo>
                  <a:pt x="1591360" y="3911992"/>
                  <a:pt x="1596026" y="3918177"/>
                  <a:pt x="1602110" y="3918177"/>
                </a:cubicBezTo>
                <a:cubicBezTo>
                  <a:pt x="1615135" y="3918177"/>
                  <a:pt x="1626341" y="3931870"/>
                  <a:pt x="1628191" y="3950044"/>
                </a:cubicBezTo>
                <a:cubicBezTo>
                  <a:pt x="1629067" y="3958632"/>
                  <a:pt x="1631165" y="3976342"/>
                  <a:pt x="1632855" y="3989399"/>
                </a:cubicBezTo>
                <a:cubicBezTo>
                  <a:pt x="1634574" y="4002674"/>
                  <a:pt x="1634178" y="4013140"/>
                  <a:pt x="1631957" y="4013140"/>
                </a:cubicBezTo>
                <a:cubicBezTo>
                  <a:pt x="1622428" y="4013140"/>
                  <a:pt x="1608547" y="3992280"/>
                  <a:pt x="1608547" y="3977962"/>
                </a:cubicBezTo>
                <a:cubicBezTo>
                  <a:pt x="1608547" y="3969454"/>
                  <a:pt x="1606463" y="3962493"/>
                  <a:pt x="1603916" y="3962493"/>
                </a:cubicBezTo>
                <a:cubicBezTo>
                  <a:pt x="1601369" y="3962493"/>
                  <a:pt x="1600693" y="3959196"/>
                  <a:pt x="1602413" y="3955165"/>
                </a:cubicBezTo>
                <a:cubicBezTo>
                  <a:pt x="1604547" y="3950166"/>
                  <a:pt x="1602608" y="3948948"/>
                  <a:pt x="1596313" y="3951331"/>
                </a:cubicBezTo>
                <a:cubicBezTo>
                  <a:pt x="1589579" y="3953881"/>
                  <a:pt x="1585069" y="3950297"/>
                  <a:pt x="1579635" y="3938084"/>
                </a:cubicBezTo>
                <a:cubicBezTo>
                  <a:pt x="1575539" y="3928876"/>
                  <a:pt x="1569545" y="3919064"/>
                  <a:pt x="1566316" y="3916280"/>
                </a:cubicBezTo>
                <a:cubicBezTo>
                  <a:pt x="1563087" y="3913495"/>
                  <a:pt x="1560382" y="3903524"/>
                  <a:pt x="1560307" y="3894122"/>
                </a:cubicBezTo>
                <a:cubicBezTo>
                  <a:pt x="1560115" y="3870440"/>
                  <a:pt x="1542195" y="3842024"/>
                  <a:pt x="1530293" y="3846530"/>
                </a:cubicBezTo>
                <a:cubicBezTo>
                  <a:pt x="1517387" y="3851416"/>
                  <a:pt x="1518670" y="3838281"/>
                  <a:pt x="1532819" y="3820661"/>
                </a:cubicBezTo>
                <a:cubicBezTo>
                  <a:pt x="1544538" y="3806067"/>
                  <a:pt x="1544542" y="3806029"/>
                  <a:pt x="1536987" y="3782979"/>
                </a:cubicBezTo>
                <a:cubicBezTo>
                  <a:pt x="1530753" y="3763960"/>
                  <a:pt x="1527108" y="3759906"/>
                  <a:pt x="1516242" y="3759906"/>
                </a:cubicBezTo>
                <a:cubicBezTo>
                  <a:pt x="1503186" y="3759906"/>
                  <a:pt x="1503088" y="3759648"/>
                  <a:pt x="1505885" y="3732637"/>
                </a:cubicBezTo>
                <a:cubicBezTo>
                  <a:pt x="1509108" y="3701524"/>
                  <a:pt x="1501545" y="3686337"/>
                  <a:pt x="1486312" y="3693337"/>
                </a:cubicBezTo>
                <a:cubicBezTo>
                  <a:pt x="1477958" y="3697175"/>
                  <a:pt x="1451344" y="3676788"/>
                  <a:pt x="1447478" y="3663589"/>
                </a:cubicBezTo>
                <a:cubicBezTo>
                  <a:pt x="1446676" y="3660852"/>
                  <a:pt x="1443232" y="3658612"/>
                  <a:pt x="1439825" y="3658612"/>
                </a:cubicBezTo>
                <a:cubicBezTo>
                  <a:pt x="1429673" y="3658612"/>
                  <a:pt x="1432795" y="3646096"/>
                  <a:pt x="1444562" y="3639619"/>
                </a:cubicBezTo>
                <a:cubicBezTo>
                  <a:pt x="1450575" y="3636310"/>
                  <a:pt x="1455495" y="3629090"/>
                  <a:pt x="1455495" y="3623575"/>
                </a:cubicBezTo>
                <a:cubicBezTo>
                  <a:pt x="1455495" y="3617656"/>
                  <a:pt x="1457734" y="3615176"/>
                  <a:pt x="1460961" y="3617522"/>
                </a:cubicBezTo>
                <a:cubicBezTo>
                  <a:pt x="1463968" y="3619706"/>
                  <a:pt x="1460312" y="3613464"/>
                  <a:pt x="1452837" y="3603651"/>
                </a:cubicBezTo>
                <a:cubicBezTo>
                  <a:pt x="1442928" y="3590641"/>
                  <a:pt x="1438581" y="3578327"/>
                  <a:pt x="1436789" y="3558195"/>
                </a:cubicBezTo>
                <a:cubicBezTo>
                  <a:pt x="1433074" y="3516449"/>
                  <a:pt x="1404079" y="3477046"/>
                  <a:pt x="1396928" y="3504024"/>
                </a:cubicBezTo>
                <a:cubicBezTo>
                  <a:pt x="1392375" y="3521202"/>
                  <a:pt x="1393960" y="3531540"/>
                  <a:pt x="1403198" y="3544914"/>
                </a:cubicBezTo>
                <a:cubicBezTo>
                  <a:pt x="1410061" y="3554850"/>
                  <a:pt x="1412379" y="3567442"/>
                  <a:pt x="1413240" y="3599452"/>
                </a:cubicBezTo>
                <a:cubicBezTo>
                  <a:pt x="1414062" y="3630005"/>
                  <a:pt x="1416340" y="3643168"/>
                  <a:pt x="1421808" y="3648957"/>
                </a:cubicBezTo>
                <a:cubicBezTo>
                  <a:pt x="1429750" y="3657364"/>
                  <a:pt x="1431902" y="3671274"/>
                  <a:pt x="1425263" y="3671274"/>
                </a:cubicBezTo>
                <a:cubicBezTo>
                  <a:pt x="1423045" y="3671274"/>
                  <a:pt x="1422690" y="3679020"/>
                  <a:pt x="1424464" y="3688684"/>
                </a:cubicBezTo>
                <a:cubicBezTo>
                  <a:pt x="1426515" y="3699859"/>
                  <a:pt x="1431077" y="3706818"/>
                  <a:pt x="1437204" y="3708117"/>
                </a:cubicBezTo>
                <a:cubicBezTo>
                  <a:pt x="1444851" y="3709737"/>
                  <a:pt x="1446749" y="3714383"/>
                  <a:pt x="1446749" y="3731484"/>
                </a:cubicBezTo>
                <a:cubicBezTo>
                  <a:pt x="1446749" y="3743223"/>
                  <a:pt x="1448948" y="3754796"/>
                  <a:pt x="1451637" y="3757202"/>
                </a:cubicBezTo>
                <a:cubicBezTo>
                  <a:pt x="1454723" y="3759963"/>
                  <a:pt x="1455559" y="3771776"/>
                  <a:pt x="1453905" y="3789250"/>
                </a:cubicBezTo>
                <a:cubicBezTo>
                  <a:pt x="1451711" y="3812432"/>
                  <a:pt x="1452692" y="3818195"/>
                  <a:pt x="1459949" y="3824758"/>
                </a:cubicBezTo>
                <a:cubicBezTo>
                  <a:pt x="1464715" y="3829066"/>
                  <a:pt x="1468613" y="3835830"/>
                  <a:pt x="1468613" y="3839789"/>
                </a:cubicBezTo>
                <a:cubicBezTo>
                  <a:pt x="1468613" y="3843748"/>
                  <a:pt x="1471702" y="3850699"/>
                  <a:pt x="1475477" y="3855234"/>
                </a:cubicBezTo>
                <a:cubicBezTo>
                  <a:pt x="1479252" y="3859769"/>
                  <a:pt x="1481517" y="3868037"/>
                  <a:pt x="1480511" y="3873606"/>
                </a:cubicBezTo>
                <a:cubicBezTo>
                  <a:pt x="1478594" y="3884222"/>
                  <a:pt x="1486874" y="3899185"/>
                  <a:pt x="1494666" y="3899185"/>
                </a:cubicBezTo>
                <a:cubicBezTo>
                  <a:pt x="1497173" y="3899185"/>
                  <a:pt x="1499224" y="3909090"/>
                  <a:pt x="1499224" y="3921197"/>
                </a:cubicBezTo>
                <a:cubicBezTo>
                  <a:pt x="1499224" y="3937382"/>
                  <a:pt x="1501973" y="3945817"/>
                  <a:pt x="1509610" y="3953061"/>
                </a:cubicBezTo>
                <a:cubicBezTo>
                  <a:pt x="1519932" y="3962853"/>
                  <a:pt x="1524025" y="3990773"/>
                  <a:pt x="1516169" y="3997802"/>
                </a:cubicBezTo>
                <a:cubicBezTo>
                  <a:pt x="1514065" y="3999685"/>
                  <a:pt x="1512343" y="3998208"/>
                  <a:pt x="1512343" y="3994521"/>
                </a:cubicBezTo>
                <a:cubicBezTo>
                  <a:pt x="1512343" y="3990833"/>
                  <a:pt x="1509604" y="3987817"/>
                  <a:pt x="1506257" y="3987817"/>
                </a:cubicBezTo>
                <a:cubicBezTo>
                  <a:pt x="1502911" y="3987817"/>
                  <a:pt x="1499039" y="3981284"/>
                  <a:pt x="1497656" y="3973300"/>
                </a:cubicBezTo>
                <a:cubicBezTo>
                  <a:pt x="1496096" y="3964303"/>
                  <a:pt x="1488706" y="3954673"/>
                  <a:pt x="1478220" y="3947976"/>
                </a:cubicBezTo>
                <a:cubicBezTo>
                  <a:pt x="1456305" y="3933979"/>
                  <a:pt x="1452330" y="3934348"/>
                  <a:pt x="1448741" y="3950719"/>
                </a:cubicBezTo>
                <a:cubicBezTo>
                  <a:pt x="1446440" y="3961216"/>
                  <a:pt x="1449383" y="3969058"/>
                  <a:pt x="1461808" y="3985538"/>
                </a:cubicBezTo>
                <a:cubicBezTo>
                  <a:pt x="1470629" y="3997237"/>
                  <a:pt x="1479463" y="4006809"/>
                  <a:pt x="1481440" y="4006809"/>
                </a:cubicBezTo>
                <a:cubicBezTo>
                  <a:pt x="1487212" y="4006809"/>
                  <a:pt x="1493425" y="4021174"/>
                  <a:pt x="1496501" y="4041629"/>
                </a:cubicBezTo>
                <a:cubicBezTo>
                  <a:pt x="1499066" y="4058676"/>
                  <a:pt x="1498736" y="4059475"/>
                  <a:pt x="1493287" y="4049433"/>
                </a:cubicBezTo>
                <a:cubicBezTo>
                  <a:pt x="1482027" y="4028678"/>
                  <a:pt x="1472986" y="4042419"/>
                  <a:pt x="1472986" y="4080292"/>
                </a:cubicBezTo>
                <a:cubicBezTo>
                  <a:pt x="1472986" y="4117150"/>
                  <a:pt x="1471933" y="4118339"/>
                  <a:pt x="1442104" y="4115143"/>
                </a:cubicBezTo>
                <a:cubicBezTo>
                  <a:pt x="1435256" y="4114409"/>
                  <a:pt x="1426158" y="4120305"/>
                  <a:pt x="1418702" y="4130309"/>
                </a:cubicBezTo>
                <a:lnTo>
                  <a:pt x="1406504" y="4146676"/>
                </a:lnTo>
                <a:lnTo>
                  <a:pt x="1417881" y="4160828"/>
                </a:lnTo>
                <a:cubicBezTo>
                  <a:pt x="1424138" y="4168612"/>
                  <a:pt x="1429257" y="4177765"/>
                  <a:pt x="1429257" y="4181169"/>
                </a:cubicBezTo>
                <a:cubicBezTo>
                  <a:pt x="1429257" y="4184573"/>
                  <a:pt x="1433193" y="4190917"/>
                  <a:pt x="1438003" y="4195266"/>
                </a:cubicBezTo>
                <a:cubicBezTo>
                  <a:pt x="1447662" y="4204000"/>
                  <a:pt x="1449888" y="4222114"/>
                  <a:pt x="1441283" y="4221961"/>
                </a:cubicBezTo>
                <a:cubicBezTo>
                  <a:pt x="1432591" y="4221807"/>
                  <a:pt x="1426304" y="4213680"/>
                  <a:pt x="1422992" y="4198318"/>
                </a:cubicBezTo>
                <a:cubicBezTo>
                  <a:pt x="1421198" y="4189993"/>
                  <a:pt x="1416410" y="4184073"/>
                  <a:pt x="1411471" y="4184073"/>
                </a:cubicBezTo>
                <a:cubicBezTo>
                  <a:pt x="1406287" y="4184073"/>
                  <a:pt x="1403020" y="4179722"/>
                  <a:pt x="1403020" y="4172819"/>
                </a:cubicBezTo>
                <a:cubicBezTo>
                  <a:pt x="1403020" y="4161295"/>
                  <a:pt x="1385964" y="4135643"/>
                  <a:pt x="1380062" y="4138288"/>
                </a:cubicBezTo>
                <a:cubicBezTo>
                  <a:pt x="1378258" y="4139096"/>
                  <a:pt x="1376782" y="4135484"/>
                  <a:pt x="1376782" y="4130261"/>
                </a:cubicBezTo>
                <a:cubicBezTo>
                  <a:pt x="1376782" y="4125038"/>
                  <a:pt x="1373179" y="4120765"/>
                  <a:pt x="1368775" y="4120765"/>
                </a:cubicBezTo>
                <a:cubicBezTo>
                  <a:pt x="1356373" y="4120765"/>
                  <a:pt x="1348483" y="4094119"/>
                  <a:pt x="1354046" y="4071017"/>
                </a:cubicBezTo>
                <a:cubicBezTo>
                  <a:pt x="1357615" y="4056193"/>
                  <a:pt x="1357295" y="4050278"/>
                  <a:pt x="1352620" y="4044661"/>
                </a:cubicBezTo>
                <a:cubicBezTo>
                  <a:pt x="1342683" y="4032721"/>
                  <a:pt x="1331004" y="4040005"/>
                  <a:pt x="1329483" y="4059093"/>
                </a:cubicBezTo>
                <a:cubicBezTo>
                  <a:pt x="1328273" y="4074272"/>
                  <a:pt x="1324663" y="4078966"/>
                  <a:pt x="1315264" y="4077582"/>
                </a:cubicBezTo>
                <a:cubicBezTo>
                  <a:pt x="1310380" y="4076864"/>
                  <a:pt x="1316632" y="4114170"/>
                  <a:pt x="1322597" y="4121336"/>
                </a:cubicBezTo>
                <a:cubicBezTo>
                  <a:pt x="1325942" y="4125357"/>
                  <a:pt x="1328680" y="4133646"/>
                  <a:pt x="1328680" y="4139757"/>
                </a:cubicBezTo>
                <a:cubicBezTo>
                  <a:pt x="1328680" y="4145869"/>
                  <a:pt x="1331631" y="4154415"/>
                  <a:pt x="1335239" y="4158750"/>
                </a:cubicBezTo>
                <a:cubicBezTo>
                  <a:pt x="1338847" y="4163085"/>
                  <a:pt x="1341799" y="4173405"/>
                  <a:pt x="1341799" y="4181683"/>
                </a:cubicBezTo>
                <a:cubicBezTo>
                  <a:pt x="1341799" y="4189961"/>
                  <a:pt x="1343766" y="4196735"/>
                  <a:pt x="1346172" y="4196735"/>
                </a:cubicBezTo>
                <a:cubicBezTo>
                  <a:pt x="1348577" y="4196735"/>
                  <a:pt x="1350544" y="4201008"/>
                  <a:pt x="1350544" y="4206232"/>
                </a:cubicBezTo>
                <a:cubicBezTo>
                  <a:pt x="1350544" y="4211454"/>
                  <a:pt x="1352242" y="4215728"/>
                  <a:pt x="1354316" y="4215728"/>
                </a:cubicBezTo>
                <a:cubicBezTo>
                  <a:pt x="1359967" y="4215728"/>
                  <a:pt x="1364711" y="4286383"/>
                  <a:pt x="1359560" y="4293840"/>
                </a:cubicBezTo>
                <a:cubicBezTo>
                  <a:pt x="1356667" y="4298027"/>
                  <a:pt x="1354165" y="4296068"/>
                  <a:pt x="1352111" y="4288008"/>
                </a:cubicBezTo>
                <a:cubicBezTo>
                  <a:pt x="1350410" y="4281333"/>
                  <a:pt x="1346409" y="4273593"/>
                  <a:pt x="1343221" y="4270808"/>
                </a:cubicBezTo>
                <a:cubicBezTo>
                  <a:pt x="1340034" y="4268023"/>
                  <a:pt x="1337426" y="4260357"/>
                  <a:pt x="1337426" y="4253772"/>
                </a:cubicBezTo>
                <a:cubicBezTo>
                  <a:pt x="1337426" y="4247186"/>
                  <a:pt x="1335458" y="4240037"/>
                  <a:pt x="1333053" y="4237886"/>
                </a:cubicBezTo>
                <a:cubicBezTo>
                  <a:pt x="1330648" y="4235734"/>
                  <a:pt x="1328680" y="4228841"/>
                  <a:pt x="1328680" y="4222568"/>
                </a:cubicBezTo>
                <a:cubicBezTo>
                  <a:pt x="1328680" y="4216296"/>
                  <a:pt x="1323647" y="4200428"/>
                  <a:pt x="1317496" y="4187305"/>
                </a:cubicBezTo>
                <a:cubicBezTo>
                  <a:pt x="1311345" y="4174183"/>
                  <a:pt x="1307348" y="4159541"/>
                  <a:pt x="1308613" y="4154767"/>
                </a:cubicBezTo>
                <a:cubicBezTo>
                  <a:pt x="1309878" y="4149994"/>
                  <a:pt x="1309150" y="4146088"/>
                  <a:pt x="1306994" y="4146088"/>
                </a:cubicBezTo>
                <a:cubicBezTo>
                  <a:pt x="1304839" y="4146088"/>
                  <a:pt x="1299602" y="4134692"/>
                  <a:pt x="1295358" y="4120765"/>
                </a:cubicBezTo>
                <a:cubicBezTo>
                  <a:pt x="1291113" y="4106837"/>
                  <a:pt x="1286051" y="4095441"/>
                  <a:pt x="1284109" y="4095441"/>
                </a:cubicBezTo>
                <a:cubicBezTo>
                  <a:pt x="1282167" y="4095441"/>
                  <a:pt x="1280578" y="4091517"/>
                  <a:pt x="1280578" y="4086720"/>
                </a:cubicBezTo>
                <a:cubicBezTo>
                  <a:pt x="1280578" y="4081923"/>
                  <a:pt x="1277627" y="4074453"/>
                  <a:pt x="1274018" y="4070118"/>
                </a:cubicBezTo>
                <a:cubicBezTo>
                  <a:pt x="1270410" y="4065783"/>
                  <a:pt x="1267425" y="4054751"/>
                  <a:pt x="1267383" y="4045602"/>
                </a:cubicBezTo>
                <a:cubicBezTo>
                  <a:pt x="1267307" y="4028781"/>
                  <a:pt x="1254172" y="4006148"/>
                  <a:pt x="1240129" y="3998638"/>
                </a:cubicBezTo>
                <a:cubicBezTo>
                  <a:pt x="1235919" y="3996387"/>
                  <a:pt x="1232476" y="3988961"/>
                  <a:pt x="1232476" y="3982137"/>
                </a:cubicBezTo>
                <a:cubicBezTo>
                  <a:pt x="1232476" y="3962494"/>
                  <a:pt x="1220354" y="3949831"/>
                  <a:pt x="1201553" y="3949831"/>
                </a:cubicBezTo>
                <a:cubicBezTo>
                  <a:pt x="1183145" y="3949831"/>
                  <a:pt x="1179938" y="3942097"/>
                  <a:pt x="1191004" y="3924394"/>
                </a:cubicBezTo>
                <a:cubicBezTo>
                  <a:pt x="1196019" y="3916371"/>
                  <a:pt x="1196776" y="3907769"/>
                  <a:pt x="1194112" y="3889076"/>
                </a:cubicBezTo>
                <a:cubicBezTo>
                  <a:pt x="1191174" y="3868470"/>
                  <a:pt x="1188620" y="3864032"/>
                  <a:pt x="1178736" y="3862362"/>
                </a:cubicBezTo>
                <a:cubicBezTo>
                  <a:pt x="1167843" y="3860521"/>
                  <a:pt x="1166882" y="3862153"/>
                  <a:pt x="1166882" y="3882485"/>
                </a:cubicBezTo>
                <a:cubicBezTo>
                  <a:pt x="1166882" y="3894654"/>
                  <a:pt x="1169833" y="3908885"/>
                  <a:pt x="1173441" y="3914107"/>
                </a:cubicBezTo>
                <a:cubicBezTo>
                  <a:pt x="1181913" y="3926373"/>
                  <a:pt x="1181753" y="3928302"/>
                  <a:pt x="1170962" y="3943924"/>
                </a:cubicBezTo>
                <a:cubicBezTo>
                  <a:pt x="1163777" y="3954326"/>
                  <a:pt x="1162990" y="3958870"/>
                  <a:pt x="1167124" y="3966082"/>
                </a:cubicBezTo>
                <a:cubicBezTo>
                  <a:pt x="1169985" y="3971072"/>
                  <a:pt x="1175922" y="3975155"/>
                  <a:pt x="1180319" y="3975155"/>
                </a:cubicBezTo>
                <a:cubicBezTo>
                  <a:pt x="1184715" y="3975155"/>
                  <a:pt x="1189885" y="3978721"/>
                  <a:pt x="1191809" y="3983079"/>
                </a:cubicBezTo>
                <a:cubicBezTo>
                  <a:pt x="1193732" y="3987437"/>
                  <a:pt x="1200405" y="3994799"/>
                  <a:pt x="1206636" y="3999437"/>
                </a:cubicBezTo>
                <a:cubicBezTo>
                  <a:pt x="1215472" y="4006015"/>
                  <a:pt x="1218100" y="4012974"/>
                  <a:pt x="1218569" y="4031037"/>
                </a:cubicBezTo>
                <a:cubicBezTo>
                  <a:pt x="1218899" y="4043777"/>
                  <a:pt x="1221215" y="4055188"/>
                  <a:pt x="1223715" y="4056394"/>
                </a:cubicBezTo>
                <a:cubicBezTo>
                  <a:pt x="1226214" y="4057600"/>
                  <a:pt x="1231175" y="4062809"/>
                  <a:pt x="1234740" y="4067970"/>
                </a:cubicBezTo>
                <a:cubicBezTo>
                  <a:pt x="1240530" y="4076353"/>
                  <a:pt x="1241690" y="4084387"/>
                  <a:pt x="1243044" y="4125505"/>
                </a:cubicBezTo>
                <a:cubicBezTo>
                  <a:pt x="1243268" y="4132318"/>
                  <a:pt x="1240234" y="4136578"/>
                  <a:pt x="1235153" y="4136583"/>
                </a:cubicBezTo>
                <a:cubicBezTo>
                  <a:pt x="1223754" y="4136596"/>
                  <a:pt x="1215032" y="4157179"/>
                  <a:pt x="1223274" y="4164622"/>
                </a:cubicBezTo>
                <a:cubicBezTo>
                  <a:pt x="1233075" y="4173473"/>
                  <a:pt x="1225614" y="4192124"/>
                  <a:pt x="1214344" y="4186944"/>
                </a:cubicBezTo>
                <a:cubicBezTo>
                  <a:pt x="1206748" y="4183454"/>
                  <a:pt x="1205459" y="4184665"/>
                  <a:pt x="1207713" y="4193168"/>
                </a:cubicBezTo>
                <a:cubicBezTo>
                  <a:pt x="1209359" y="4199378"/>
                  <a:pt x="1208731" y="4202131"/>
                  <a:pt x="1206188" y="4199856"/>
                </a:cubicBezTo>
                <a:cubicBezTo>
                  <a:pt x="1203811" y="4197729"/>
                  <a:pt x="1201865" y="4200711"/>
                  <a:pt x="1201865" y="4206484"/>
                </a:cubicBezTo>
                <a:cubicBezTo>
                  <a:pt x="1201865" y="4219051"/>
                  <a:pt x="1226414" y="4253713"/>
                  <a:pt x="1235316" y="4253713"/>
                </a:cubicBezTo>
                <a:cubicBezTo>
                  <a:pt x="1238775" y="4253713"/>
                  <a:pt x="1241285" y="4257274"/>
                  <a:pt x="1240895" y="4261626"/>
                </a:cubicBezTo>
                <a:cubicBezTo>
                  <a:pt x="1239252" y="4279944"/>
                  <a:pt x="1241824" y="4285367"/>
                  <a:pt x="1252153" y="4285367"/>
                </a:cubicBezTo>
                <a:cubicBezTo>
                  <a:pt x="1259084" y="4285367"/>
                  <a:pt x="1263086" y="4288938"/>
                  <a:pt x="1263086" y="4295120"/>
                </a:cubicBezTo>
                <a:cubicBezTo>
                  <a:pt x="1263086" y="4302596"/>
                  <a:pt x="1258748" y="4304541"/>
                  <a:pt x="1244501" y="4303451"/>
                </a:cubicBezTo>
                <a:cubicBezTo>
                  <a:pt x="1223712" y="4301861"/>
                  <a:pt x="1210611" y="4292883"/>
                  <a:pt x="1210611" y="4280227"/>
                </a:cubicBezTo>
                <a:cubicBezTo>
                  <a:pt x="1210611" y="4275593"/>
                  <a:pt x="1207641" y="4267502"/>
                  <a:pt x="1204011" y="4262246"/>
                </a:cubicBezTo>
                <a:cubicBezTo>
                  <a:pt x="1200382" y="4256991"/>
                  <a:pt x="1198357" y="4250477"/>
                  <a:pt x="1199513" y="4247770"/>
                </a:cubicBezTo>
                <a:cubicBezTo>
                  <a:pt x="1200669" y="4245063"/>
                  <a:pt x="1192991" y="4229251"/>
                  <a:pt x="1182452" y="4212632"/>
                </a:cubicBezTo>
                <a:cubicBezTo>
                  <a:pt x="1165571" y="4186013"/>
                  <a:pt x="1161818" y="4182951"/>
                  <a:pt x="1150918" y="4186912"/>
                </a:cubicBezTo>
                <a:cubicBezTo>
                  <a:pt x="1144113" y="4189385"/>
                  <a:pt x="1137080" y="4194744"/>
                  <a:pt x="1135289" y="4198820"/>
                </a:cubicBezTo>
                <a:cubicBezTo>
                  <a:pt x="1129071" y="4212971"/>
                  <a:pt x="1131844" y="4240278"/>
                  <a:pt x="1140378" y="4248933"/>
                </a:cubicBezTo>
                <a:cubicBezTo>
                  <a:pt x="1145042" y="4253662"/>
                  <a:pt x="1149578" y="4265309"/>
                  <a:pt x="1150457" y="4274815"/>
                </a:cubicBezTo>
                <a:cubicBezTo>
                  <a:pt x="1151337" y="4284321"/>
                  <a:pt x="1155392" y="4297739"/>
                  <a:pt x="1159469" y="4304632"/>
                </a:cubicBezTo>
                <a:cubicBezTo>
                  <a:pt x="1163546" y="4311526"/>
                  <a:pt x="1166882" y="4321153"/>
                  <a:pt x="1166882" y="4326027"/>
                </a:cubicBezTo>
                <a:cubicBezTo>
                  <a:pt x="1166882" y="4330901"/>
                  <a:pt x="1172786" y="4342080"/>
                  <a:pt x="1180000" y="4350870"/>
                </a:cubicBezTo>
                <a:cubicBezTo>
                  <a:pt x="1187216" y="4359659"/>
                  <a:pt x="1193119" y="4369015"/>
                  <a:pt x="1193119" y="4371661"/>
                </a:cubicBezTo>
                <a:cubicBezTo>
                  <a:pt x="1193119" y="4374307"/>
                  <a:pt x="1198254" y="4384231"/>
                  <a:pt x="1204529" y="4393713"/>
                </a:cubicBezTo>
                <a:cubicBezTo>
                  <a:pt x="1215886" y="4410876"/>
                  <a:pt x="1215312" y="4428613"/>
                  <a:pt x="1203609" y="4422111"/>
                </a:cubicBezTo>
                <a:cubicBezTo>
                  <a:pt x="1200245" y="4420242"/>
                  <a:pt x="1197492" y="4421472"/>
                  <a:pt x="1197492" y="4424845"/>
                </a:cubicBezTo>
                <a:cubicBezTo>
                  <a:pt x="1197492" y="4432023"/>
                  <a:pt x="1181420" y="4433200"/>
                  <a:pt x="1178586" y="4426228"/>
                </a:cubicBezTo>
                <a:cubicBezTo>
                  <a:pt x="1177525" y="4423618"/>
                  <a:pt x="1175285" y="4412222"/>
                  <a:pt x="1173608" y="4400905"/>
                </a:cubicBezTo>
                <a:cubicBezTo>
                  <a:pt x="1171931" y="4389589"/>
                  <a:pt x="1169196" y="4380330"/>
                  <a:pt x="1167529" y="4380330"/>
                </a:cubicBezTo>
                <a:cubicBezTo>
                  <a:pt x="1165862" y="4380330"/>
                  <a:pt x="1160820" y="4370440"/>
                  <a:pt x="1156323" y="4358354"/>
                </a:cubicBezTo>
                <a:cubicBezTo>
                  <a:pt x="1151827" y="4346267"/>
                  <a:pt x="1146459" y="4337888"/>
                  <a:pt x="1144396" y="4339735"/>
                </a:cubicBezTo>
                <a:cubicBezTo>
                  <a:pt x="1142333" y="4341581"/>
                  <a:pt x="1140644" y="4340248"/>
                  <a:pt x="1140644" y="4336772"/>
                </a:cubicBezTo>
                <a:cubicBezTo>
                  <a:pt x="1140644" y="4333295"/>
                  <a:pt x="1132281" y="4330990"/>
                  <a:pt x="1122060" y="4331650"/>
                </a:cubicBezTo>
                <a:cubicBezTo>
                  <a:pt x="1108087" y="4332551"/>
                  <a:pt x="1103474" y="4330492"/>
                  <a:pt x="1103474" y="4323352"/>
                </a:cubicBezTo>
                <a:cubicBezTo>
                  <a:pt x="1103474" y="4317790"/>
                  <a:pt x="1108272" y="4313052"/>
                  <a:pt x="1115054" y="4311915"/>
                </a:cubicBezTo>
                <a:cubicBezTo>
                  <a:pt x="1128371" y="4309683"/>
                  <a:pt x="1134241" y="4289732"/>
                  <a:pt x="1124887" y="4278494"/>
                </a:cubicBezTo>
                <a:cubicBezTo>
                  <a:pt x="1121528" y="4274458"/>
                  <a:pt x="1118779" y="4267231"/>
                  <a:pt x="1118779" y="4262434"/>
                </a:cubicBezTo>
                <a:cubicBezTo>
                  <a:pt x="1118779" y="4257638"/>
                  <a:pt x="1116812" y="4253713"/>
                  <a:pt x="1114407" y="4253713"/>
                </a:cubicBezTo>
                <a:cubicBezTo>
                  <a:pt x="1112001" y="4253713"/>
                  <a:pt x="1110034" y="4249745"/>
                  <a:pt x="1110034" y="4244894"/>
                </a:cubicBezTo>
                <a:cubicBezTo>
                  <a:pt x="1110034" y="4240043"/>
                  <a:pt x="1106980" y="4234379"/>
                  <a:pt x="1103247" y="4232305"/>
                </a:cubicBezTo>
                <a:cubicBezTo>
                  <a:pt x="1098848" y="4229860"/>
                  <a:pt x="1097550" y="4231086"/>
                  <a:pt x="1099558" y="4235790"/>
                </a:cubicBezTo>
                <a:cubicBezTo>
                  <a:pt x="1101683" y="4240769"/>
                  <a:pt x="1099562" y="4241874"/>
                  <a:pt x="1092793" y="4239312"/>
                </a:cubicBezTo>
                <a:cubicBezTo>
                  <a:pt x="1084258" y="4236081"/>
                  <a:pt x="1083326" y="4237437"/>
                  <a:pt x="1085867" y="4249394"/>
                </a:cubicBezTo>
                <a:cubicBezTo>
                  <a:pt x="1089276" y="4265439"/>
                  <a:pt x="1089254" y="4268861"/>
                  <a:pt x="1085559" y="4296446"/>
                </a:cubicBezTo>
                <a:cubicBezTo>
                  <a:pt x="1084044" y="4307763"/>
                  <a:pt x="1081284" y="4317021"/>
                  <a:pt x="1079427" y="4317021"/>
                </a:cubicBezTo>
                <a:cubicBezTo>
                  <a:pt x="1066480" y="4317021"/>
                  <a:pt x="1026948" y="4271870"/>
                  <a:pt x="1026948" y="4257083"/>
                </a:cubicBezTo>
                <a:cubicBezTo>
                  <a:pt x="1026948" y="4251523"/>
                  <a:pt x="1023504" y="4244929"/>
                  <a:pt x="1019295" y="4242429"/>
                </a:cubicBezTo>
                <a:cubicBezTo>
                  <a:pt x="1015087" y="4239930"/>
                  <a:pt x="1011367" y="4235037"/>
                  <a:pt x="1011029" y="4231555"/>
                </a:cubicBezTo>
                <a:cubicBezTo>
                  <a:pt x="1010691" y="4228073"/>
                  <a:pt x="1009059" y="4215966"/>
                  <a:pt x="1007402" y="4204648"/>
                </a:cubicBezTo>
                <a:cubicBezTo>
                  <a:pt x="1005630" y="4192550"/>
                  <a:pt x="1006141" y="4184073"/>
                  <a:pt x="1008641" y="4184073"/>
                </a:cubicBezTo>
                <a:cubicBezTo>
                  <a:pt x="1017991" y="4184073"/>
                  <a:pt x="1017850" y="4163144"/>
                  <a:pt x="1008391" y="4147050"/>
                </a:cubicBezTo>
                <a:cubicBezTo>
                  <a:pt x="1001455" y="4135249"/>
                  <a:pt x="995116" y="4130833"/>
                  <a:pt x="987053" y="4132187"/>
                </a:cubicBezTo>
                <a:cubicBezTo>
                  <a:pt x="976259" y="4133999"/>
                  <a:pt x="975609" y="4132580"/>
                  <a:pt x="976052" y="4108153"/>
                </a:cubicBezTo>
                <a:cubicBezTo>
                  <a:pt x="976310" y="4093877"/>
                  <a:pt x="974249" y="4080161"/>
                  <a:pt x="971471" y="4077676"/>
                </a:cubicBezTo>
                <a:cubicBezTo>
                  <a:pt x="968693" y="4075190"/>
                  <a:pt x="965067" y="4065351"/>
                  <a:pt x="963413" y="4055810"/>
                </a:cubicBezTo>
                <a:cubicBezTo>
                  <a:pt x="961760" y="4046270"/>
                  <a:pt x="959132" y="4038463"/>
                  <a:pt x="957575" y="4038463"/>
                </a:cubicBezTo>
                <a:cubicBezTo>
                  <a:pt x="956018" y="4038463"/>
                  <a:pt x="952070" y="4029721"/>
                  <a:pt x="948803" y="4019035"/>
                </a:cubicBezTo>
                <a:cubicBezTo>
                  <a:pt x="945536" y="4008350"/>
                  <a:pt x="938168" y="3992810"/>
                  <a:pt x="932430" y="3984503"/>
                </a:cubicBezTo>
                <a:cubicBezTo>
                  <a:pt x="926693" y="3976196"/>
                  <a:pt x="922028" y="3965709"/>
                  <a:pt x="922065" y="3961198"/>
                </a:cubicBezTo>
                <a:cubicBezTo>
                  <a:pt x="922113" y="3955348"/>
                  <a:pt x="923347" y="3955719"/>
                  <a:pt x="926371" y="3962493"/>
                </a:cubicBezTo>
                <a:cubicBezTo>
                  <a:pt x="928702" y="3967716"/>
                  <a:pt x="930640" y="3968777"/>
                  <a:pt x="930677" y="3964851"/>
                </a:cubicBezTo>
                <a:cubicBezTo>
                  <a:pt x="930712" y="3960925"/>
                  <a:pt x="927792" y="3954166"/>
                  <a:pt x="924185" y="3949831"/>
                </a:cubicBezTo>
                <a:cubicBezTo>
                  <a:pt x="920577" y="3945497"/>
                  <a:pt x="917625" y="3937043"/>
                  <a:pt x="917625" y="3931045"/>
                </a:cubicBezTo>
                <a:cubicBezTo>
                  <a:pt x="917625" y="3925047"/>
                  <a:pt x="913690" y="3914983"/>
                  <a:pt x="908879" y="3908681"/>
                </a:cubicBezTo>
                <a:cubicBezTo>
                  <a:pt x="903383" y="3901480"/>
                  <a:pt x="900133" y="3889182"/>
                  <a:pt x="900133" y="3875582"/>
                </a:cubicBezTo>
                <a:cubicBezTo>
                  <a:pt x="900133" y="3858345"/>
                  <a:pt x="896574" y="3849317"/>
                  <a:pt x="882642" y="3831209"/>
                </a:cubicBezTo>
                <a:cubicBezTo>
                  <a:pt x="868169" y="3812400"/>
                  <a:pt x="865150" y="3804400"/>
                  <a:pt x="865150" y="3784868"/>
                </a:cubicBezTo>
                <a:cubicBezTo>
                  <a:pt x="865150" y="3769724"/>
                  <a:pt x="862798" y="3759954"/>
                  <a:pt x="858591" y="3757617"/>
                </a:cubicBezTo>
                <a:cubicBezTo>
                  <a:pt x="853801" y="3754956"/>
                  <a:pt x="852031" y="3744046"/>
                  <a:pt x="852031" y="3717196"/>
                </a:cubicBezTo>
                <a:cubicBezTo>
                  <a:pt x="852031" y="3688253"/>
                  <a:pt x="850168" y="3678109"/>
                  <a:pt x="843285" y="3669577"/>
                </a:cubicBezTo>
                <a:cubicBezTo>
                  <a:pt x="838475" y="3663615"/>
                  <a:pt x="834539" y="3654266"/>
                  <a:pt x="834539" y="3648804"/>
                </a:cubicBezTo>
                <a:cubicBezTo>
                  <a:pt x="834539" y="3643341"/>
                  <a:pt x="832856" y="3640378"/>
                  <a:pt x="830798" y="3642220"/>
                </a:cubicBezTo>
                <a:cubicBezTo>
                  <a:pt x="828740" y="3644061"/>
                  <a:pt x="827979" y="3638584"/>
                  <a:pt x="829106" y="3630048"/>
                </a:cubicBezTo>
                <a:cubicBezTo>
                  <a:pt x="834347" y="3590360"/>
                  <a:pt x="815210" y="3564788"/>
                  <a:pt x="803657" y="3596041"/>
                </a:cubicBezTo>
                <a:cubicBezTo>
                  <a:pt x="798876" y="3608974"/>
                  <a:pt x="797959" y="3608378"/>
                  <a:pt x="777265" y="3578868"/>
                </a:cubicBezTo>
                <a:cubicBezTo>
                  <a:pt x="765474" y="3562055"/>
                  <a:pt x="755827" y="3544630"/>
                  <a:pt x="755827" y="3540146"/>
                </a:cubicBezTo>
                <a:cubicBezTo>
                  <a:pt x="755827" y="3535663"/>
                  <a:pt x="753859" y="3531995"/>
                  <a:pt x="751454" y="3531995"/>
                </a:cubicBezTo>
                <a:cubicBezTo>
                  <a:pt x="749049" y="3531995"/>
                  <a:pt x="747081" y="3524872"/>
                  <a:pt x="747081" y="3516168"/>
                </a:cubicBezTo>
                <a:cubicBezTo>
                  <a:pt x="747081" y="3497574"/>
                  <a:pt x="748340" y="3497095"/>
                  <a:pt x="762326" y="3510362"/>
                </a:cubicBezTo>
                <a:cubicBezTo>
                  <a:pt x="778495" y="3525700"/>
                  <a:pt x="791643" y="3516911"/>
                  <a:pt x="789966" y="3491886"/>
                </a:cubicBezTo>
                <a:cubicBezTo>
                  <a:pt x="788864" y="3475439"/>
                  <a:pt x="786080" y="3470767"/>
                  <a:pt x="774412" y="3465794"/>
                </a:cubicBezTo>
                <a:cubicBezTo>
                  <a:pt x="763726" y="3461240"/>
                  <a:pt x="760200" y="3456135"/>
                  <a:pt x="760200" y="3445219"/>
                </a:cubicBezTo>
                <a:cubicBezTo>
                  <a:pt x="760200" y="3437234"/>
                  <a:pt x="762819" y="3430701"/>
                  <a:pt x="766020" y="3430701"/>
                </a:cubicBezTo>
                <a:cubicBezTo>
                  <a:pt x="769221" y="3430701"/>
                  <a:pt x="774526" y="3423437"/>
                  <a:pt x="777808" y="3414557"/>
                </a:cubicBezTo>
                <a:cubicBezTo>
                  <a:pt x="783331" y="3399618"/>
                  <a:pt x="782853" y="3397265"/>
                  <a:pt x="771392" y="3383009"/>
                </a:cubicBezTo>
                <a:cubicBezTo>
                  <a:pt x="761301" y="3370454"/>
                  <a:pt x="759990" y="3365890"/>
                  <a:pt x="764313" y="3358350"/>
                </a:cubicBezTo>
                <a:cubicBezTo>
                  <a:pt x="767230" y="3353261"/>
                  <a:pt x="768974" y="3342530"/>
                  <a:pt x="768188" y="3334504"/>
                </a:cubicBezTo>
                <a:cubicBezTo>
                  <a:pt x="766066" y="3312831"/>
                  <a:pt x="745481" y="3313854"/>
                  <a:pt x="743360" y="3335738"/>
                </a:cubicBezTo>
                <a:cubicBezTo>
                  <a:pt x="741520" y="3354721"/>
                  <a:pt x="735798" y="3360835"/>
                  <a:pt x="719750" y="3360965"/>
                </a:cubicBezTo>
                <a:cubicBezTo>
                  <a:pt x="709951" y="3361044"/>
                  <a:pt x="707725" y="3363908"/>
                  <a:pt x="707725" y="3376437"/>
                </a:cubicBezTo>
                <a:cubicBezTo>
                  <a:pt x="707725" y="3393857"/>
                  <a:pt x="718119" y="3411709"/>
                  <a:pt x="728262" y="3411709"/>
                </a:cubicBezTo>
                <a:cubicBezTo>
                  <a:pt x="733538" y="3411709"/>
                  <a:pt x="734445" y="3416127"/>
                  <a:pt x="732322" y="3431493"/>
                </a:cubicBezTo>
                <a:cubicBezTo>
                  <a:pt x="730819" y="3442374"/>
                  <a:pt x="729589" y="3453769"/>
                  <a:pt x="729589" y="3456816"/>
                </a:cubicBezTo>
                <a:cubicBezTo>
                  <a:pt x="729589" y="3459863"/>
                  <a:pt x="725810" y="3462355"/>
                  <a:pt x="721191" y="3462355"/>
                </a:cubicBezTo>
                <a:cubicBezTo>
                  <a:pt x="715415" y="3462355"/>
                  <a:pt x="711893" y="3456425"/>
                  <a:pt x="709911" y="3443363"/>
                </a:cubicBezTo>
                <a:cubicBezTo>
                  <a:pt x="708327" y="3432917"/>
                  <a:pt x="705432" y="3424370"/>
                  <a:pt x="703479" y="3424370"/>
                </a:cubicBezTo>
                <a:cubicBezTo>
                  <a:pt x="701525" y="3424370"/>
                  <a:pt x="698777" y="3417736"/>
                  <a:pt x="697371" y="3409629"/>
                </a:cubicBezTo>
                <a:cubicBezTo>
                  <a:pt x="694864" y="3395169"/>
                  <a:pt x="674734" y="3376173"/>
                  <a:pt x="671316" y="3385041"/>
                </a:cubicBezTo>
                <a:cubicBezTo>
                  <a:pt x="666955" y="3396354"/>
                  <a:pt x="664197" y="3424370"/>
                  <a:pt x="667444" y="3424370"/>
                </a:cubicBezTo>
                <a:cubicBezTo>
                  <a:pt x="669431" y="3424370"/>
                  <a:pt x="674531" y="3435766"/>
                  <a:pt x="678776" y="3449694"/>
                </a:cubicBezTo>
                <a:cubicBezTo>
                  <a:pt x="683020" y="3463622"/>
                  <a:pt x="688092" y="3475017"/>
                  <a:pt x="690046" y="3475017"/>
                </a:cubicBezTo>
                <a:cubicBezTo>
                  <a:pt x="691999" y="3475017"/>
                  <a:pt x="694933" y="3490487"/>
                  <a:pt x="696565" y="3509394"/>
                </a:cubicBezTo>
                <a:cubicBezTo>
                  <a:pt x="698196" y="3528301"/>
                  <a:pt x="702359" y="3547168"/>
                  <a:pt x="705815" y="3551320"/>
                </a:cubicBezTo>
                <a:cubicBezTo>
                  <a:pt x="716194" y="3563791"/>
                  <a:pt x="713062" y="3571842"/>
                  <a:pt x="699374" y="3567879"/>
                </a:cubicBezTo>
                <a:cubicBezTo>
                  <a:pt x="690482" y="3565304"/>
                  <a:pt x="685915" y="3566972"/>
                  <a:pt x="684206" y="3573418"/>
                </a:cubicBezTo>
                <a:cubicBezTo>
                  <a:pt x="682862" y="3578492"/>
                  <a:pt x="676913" y="3582642"/>
                  <a:pt x="670986" y="3582642"/>
                </a:cubicBezTo>
                <a:cubicBezTo>
                  <a:pt x="655359" y="3582642"/>
                  <a:pt x="651685" y="3560461"/>
                  <a:pt x="664136" y="3541275"/>
                </a:cubicBezTo>
                <a:cubicBezTo>
                  <a:pt x="669477" y="3533043"/>
                  <a:pt x="672781" y="3522286"/>
                  <a:pt x="671478" y="3517368"/>
                </a:cubicBezTo>
                <a:cubicBezTo>
                  <a:pt x="668773" y="3507163"/>
                  <a:pt x="650877" y="3498485"/>
                  <a:pt x="650877" y="3507379"/>
                </a:cubicBezTo>
                <a:cubicBezTo>
                  <a:pt x="650877" y="3510598"/>
                  <a:pt x="642514" y="3512469"/>
                  <a:pt x="632292" y="3511535"/>
                </a:cubicBezTo>
                <a:cubicBezTo>
                  <a:pt x="615743" y="3510023"/>
                  <a:pt x="613548" y="3511455"/>
                  <a:pt x="612262" y="3524603"/>
                </a:cubicBezTo>
                <a:cubicBezTo>
                  <a:pt x="611467" y="3532725"/>
                  <a:pt x="613547" y="3544121"/>
                  <a:pt x="616883" y="3549927"/>
                </a:cubicBezTo>
                <a:cubicBezTo>
                  <a:pt x="641170" y="3592201"/>
                  <a:pt x="630436" y="3620939"/>
                  <a:pt x="604596" y="3582818"/>
                </a:cubicBezTo>
                <a:cubicBezTo>
                  <a:pt x="596294" y="3570568"/>
                  <a:pt x="587264" y="3563869"/>
                  <a:pt x="578723" y="3563624"/>
                </a:cubicBezTo>
                <a:cubicBezTo>
                  <a:pt x="557396" y="3563010"/>
                  <a:pt x="550299" y="3550762"/>
                  <a:pt x="550299" y="3514565"/>
                </a:cubicBezTo>
                <a:cubicBezTo>
                  <a:pt x="550299" y="3492083"/>
                  <a:pt x="548369" y="3481630"/>
                  <a:pt x="543740" y="3479059"/>
                </a:cubicBezTo>
                <a:cubicBezTo>
                  <a:pt x="540132" y="3477054"/>
                  <a:pt x="537180" y="3468203"/>
                  <a:pt x="537180" y="3459388"/>
                </a:cubicBezTo>
                <a:cubicBezTo>
                  <a:pt x="537180" y="3450575"/>
                  <a:pt x="535213" y="3443363"/>
                  <a:pt x="532807" y="3443363"/>
                </a:cubicBezTo>
                <a:cubicBezTo>
                  <a:pt x="530402" y="3443363"/>
                  <a:pt x="528435" y="3438313"/>
                  <a:pt x="528435" y="3432141"/>
                </a:cubicBezTo>
                <a:cubicBezTo>
                  <a:pt x="528435" y="3425969"/>
                  <a:pt x="520563" y="3411076"/>
                  <a:pt x="510943" y="3399047"/>
                </a:cubicBezTo>
                <a:cubicBezTo>
                  <a:pt x="501322" y="3387017"/>
                  <a:pt x="493451" y="3372475"/>
                  <a:pt x="493451" y="3366729"/>
                </a:cubicBezTo>
                <a:cubicBezTo>
                  <a:pt x="493451" y="3360983"/>
                  <a:pt x="490540" y="3352784"/>
                  <a:pt x="486983" y="3348509"/>
                </a:cubicBezTo>
                <a:cubicBezTo>
                  <a:pt x="478571" y="3338403"/>
                  <a:pt x="467214" y="3305262"/>
                  <a:pt x="467214" y="3290823"/>
                </a:cubicBezTo>
                <a:cubicBezTo>
                  <a:pt x="467214" y="3284600"/>
                  <a:pt x="465214" y="3277718"/>
                  <a:pt x="462770" y="3275532"/>
                </a:cubicBezTo>
                <a:cubicBezTo>
                  <a:pt x="460325" y="3273344"/>
                  <a:pt x="459294" y="3269284"/>
                  <a:pt x="460480" y="3266508"/>
                </a:cubicBezTo>
                <a:cubicBezTo>
                  <a:pt x="461665" y="3263732"/>
                  <a:pt x="458715" y="3256326"/>
                  <a:pt x="453925" y="3250050"/>
                </a:cubicBezTo>
                <a:cubicBezTo>
                  <a:pt x="449136" y="3243774"/>
                  <a:pt x="443990" y="3227531"/>
                  <a:pt x="442490" y="3213955"/>
                </a:cubicBezTo>
                <a:cubicBezTo>
                  <a:pt x="440714" y="3197875"/>
                  <a:pt x="436164" y="3185855"/>
                  <a:pt x="429437" y="3179475"/>
                </a:cubicBezTo>
                <a:cubicBezTo>
                  <a:pt x="420386" y="3170889"/>
                  <a:pt x="419111" y="3164737"/>
                  <a:pt x="419111" y="3129631"/>
                </a:cubicBezTo>
                <a:cubicBezTo>
                  <a:pt x="419111" y="3107604"/>
                  <a:pt x="417144" y="3087821"/>
                  <a:pt x="414739" y="3085670"/>
                </a:cubicBezTo>
                <a:cubicBezTo>
                  <a:pt x="408725" y="3080289"/>
                  <a:pt x="409222" y="3058788"/>
                  <a:pt x="415429" y="3055792"/>
                </a:cubicBezTo>
                <a:cubicBezTo>
                  <a:pt x="426207" y="3050591"/>
                  <a:pt x="414493" y="3021857"/>
                  <a:pt x="393008" y="3000795"/>
                </a:cubicBezTo>
                <a:cubicBezTo>
                  <a:pt x="371303" y="2979517"/>
                  <a:pt x="371009" y="2978788"/>
                  <a:pt x="371009" y="2946175"/>
                </a:cubicBezTo>
                <a:cubicBezTo>
                  <a:pt x="371009" y="2924518"/>
                  <a:pt x="368748" y="2910404"/>
                  <a:pt x="364450" y="2905240"/>
                </a:cubicBezTo>
                <a:cubicBezTo>
                  <a:pt x="360842" y="2900905"/>
                  <a:pt x="357891" y="2889161"/>
                  <a:pt x="357891" y="2879142"/>
                </a:cubicBezTo>
                <a:cubicBezTo>
                  <a:pt x="357891" y="2869122"/>
                  <a:pt x="355792" y="2860924"/>
                  <a:pt x="353227" y="2860924"/>
                </a:cubicBezTo>
                <a:cubicBezTo>
                  <a:pt x="350663" y="2860924"/>
                  <a:pt x="349186" y="2853090"/>
                  <a:pt x="349948" y="2843514"/>
                </a:cubicBezTo>
                <a:cubicBezTo>
                  <a:pt x="350917" y="2831312"/>
                  <a:pt x="348082" y="2821877"/>
                  <a:pt x="340471" y="2811971"/>
                </a:cubicBezTo>
                <a:cubicBezTo>
                  <a:pt x="331901" y="2800818"/>
                  <a:pt x="329719" y="2792140"/>
                  <a:pt x="330125" y="2770820"/>
                </a:cubicBezTo>
                <a:cubicBezTo>
                  <a:pt x="330408" y="2755961"/>
                  <a:pt x="329391" y="2742379"/>
                  <a:pt x="327866" y="2740638"/>
                </a:cubicBezTo>
                <a:cubicBezTo>
                  <a:pt x="321736" y="2733639"/>
                  <a:pt x="305415" y="2675988"/>
                  <a:pt x="305415" y="2661333"/>
                </a:cubicBezTo>
                <a:cubicBezTo>
                  <a:pt x="305415" y="2652721"/>
                  <a:pt x="303448" y="2645675"/>
                  <a:pt x="301042" y="2645675"/>
                </a:cubicBezTo>
                <a:cubicBezTo>
                  <a:pt x="298637" y="2645675"/>
                  <a:pt x="296670" y="2630543"/>
                  <a:pt x="296670" y="2612049"/>
                </a:cubicBezTo>
                <a:cubicBezTo>
                  <a:pt x="296670" y="2585923"/>
                  <a:pt x="294475" y="2575017"/>
                  <a:pt x="286831" y="2563152"/>
                </a:cubicBezTo>
                <a:cubicBezTo>
                  <a:pt x="281419" y="2554752"/>
                  <a:pt x="276629" y="2543532"/>
                  <a:pt x="276187" y="2538217"/>
                </a:cubicBezTo>
                <a:cubicBezTo>
                  <a:pt x="271291" y="2479416"/>
                  <a:pt x="268063" y="2457746"/>
                  <a:pt x="263140" y="2450618"/>
                </a:cubicBezTo>
                <a:cubicBezTo>
                  <a:pt x="259935" y="2445979"/>
                  <a:pt x="257313" y="2438113"/>
                  <a:pt x="257313" y="2433139"/>
                </a:cubicBezTo>
                <a:cubicBezTo>
                  <a:pt x="257313" y="2428164"/>
                  <a:pt x="255346" y="2424095"/>
                  <a:pt x="252940" y="2424095"/>
                </a:cubicBezTo>
                <a:cubicBezTo>
                  <a:pt x="250535" y="2424095"/>
                  <a:pt x="248567" y="2411275"/>
                  <a:pt x="248567" y="2395606"/>
                </a:cubicBezTo>
                <a:cubicBezTo>
                  <a:pt x="248567" y="2378998"/>
                  <a:pt x="246549" y="2367117"/>
                  <a:pt x="243727" y="2367117"/>
                </a:cubicBezTo>
                <a:cubicBezTo>
                  <a:pt x="241064" y="2367117"/>
                  <a:pt x="239948" y="2363111"/>
                  <a:pt x="241245" y="2358215"/>
                </a:cubicBezTo>
                <a:cubicBezTo>
                  <a:pt x="242543" y="2353320"/>
                  <a:pt x="239802" y="2344332"/>
                  <a:pt x="235154" y="2338242"/>
                </a:cubicBezTo>
                <a:cubicBezTo>
                  <a:pt x="230238" y="2331802"/>
                  <a:pt x="226703" y="2318900"/>
                  <a:pt x="226703" y="2307402"/>
                </a:cubicBezTo>
                <a:cubicBezTo>
                  <a:pt x="226703" y="2296529"/>
                  <a:pt x="223914" y="2281868"/>
                  <a:pt x="220505" y="2274822"/>
                </a:cubicBezTo>
                <a:cubicBezTo>
                  <a:pt x="217096" y="2267776"/>
                  <a:pt x="212969" y="2250762"/>
                  <a:pt x="211334" y="2237011"/>
                </a:cubicBezTo>
                <a:cubicBezTo>
                  <a:pt x="207643" y="2205980"/>
                  <a:pt x="199565" y="2177191"/>
                  <a:pt x="194546" y="2177191"/>
                </a:cubicBezTo>
                <a:cubicBezTo>
                  <a:pt x="192465" y="2177191"/>
                  <a:pt x="191567" y="2167220"/>
                  <a:pt x="192550" y="2155033"/>
                </a:cubicBezTo>
                <a:cubicBezTo>
                  <a:pt x="193532" y="2142846"/>
                  <a:pt x="192764" y="2132875"/>
                  <a:pt x="190841" y="2132875"/>
                </a:cubicBezTo>
                <a:cubicBezTo>
                  <a:pt x="188919" y="2132875"/>
                  <a:pt x="187346" y="2127178"/>
                  <a:pt x="187346" y="2120214"/>
                </a:cubicBezTo>
                <a:cubicBezTo>
                  <a:pt x="187346" y="2113250"/>
                  <a:pt x="185468" y="2107552"/>
                  <a:pt x="183172" y="2107552"/>
                </a:cubicBezTo>
                <a:cubicBezTo>
                  <a:pt x="180875" y="2107552"/>
                  <a:pt x="177705" y="2097581"/>
                  <a:pt x="176125" y="2085394"/>
                </a:cubicBezTo>
                <a:cubicBezTo>
                  <a:pt x="174546" y="2073207"/>
                  <a:pt x="171506" y="2063236"/>
                  <a:pt x="169368" y="2063236"/>
                </a:cubicBezTo>
                <a:cubicBezTo>
                  <a:pt x="167231" y="2063236"/>
                  <a:pt x="165482" y="2057449"/>
                  <a:pt x="165482" y="2050375"/>
                </a:cubicBezTo>
                <a:cubicBezTo>
                  <a:pt x="165482" y="2043302"/>
                  <a:pt x="162530" y="2035875"/>
                  <a:pt x="158923" y="2033872"/>
                </a:cubicBezTo>
                <a:cubicBezTo>
                  <a:pt x="155295" y="2031855"/>
                  <a:pt x="152363" y="2022455"/>
                  <a:pt x="152363" y="2012836"/>
                </a:cubicBezTo>
                <a:cubicBezTo>
                  <a:pt x="152363" y="1991912"/>
                  <a:pt x="134460" y="1961942"/>
                  <a:pt x="121961" y="1961942"/>
                </a:cubicBezTo>
                <a:cubicBezTo>
                  <a:pt x="117036" y="1961942"/>
                  <a:pt x="113007" y="1957906"/>
                  <a:pt x="113007" y="1952973"/>
                </a:cubicBezTo>
                <a:cubicBezTo>
                  <a:pt x="113007" y="1948041"/>
                  <a:pt x="110685" y="1942885"/>
                  <a:pt x="107847" y="1941515"/>
                </a:cubicBezTo>
                <a:cubicBezTo>
                  <a:pt x="105009" y="1940146"/>
                  <a:pt x="103936" y="1934314"/>
                  <a:pt x="105462" y="1928555"/>
                </a:cubicBezTo>
                <a:cubicBezTo>
                  <a:pt x="107799" y="1919740"/>
                  <a:pt x="110403" y="1919178"/>
                  <a:pt x="121932" y="1924997"/>
                </a:cubicBezTo>
                <a:cubicBezTo>
                  <a:pt x="133186" y="1930676"/>
                  <a:pt x="136908" y="1930053"/>
                  <a:pt x="142816" y="1921499"/>
                </a:cubicBezTo>
                <a:cubicBezTo>
                  <a:pt x="148733" y="1912932"/>
                  <a:pt x="149053" y="1908883"/>
                  <a:pt x="144625" y="1898617"/>
                </a:cubicBezTo>
                <a:cubicBezTo>
                  <a:pt x="141666" y="1891757"/>
                  <a:pt x="139244" y="1879553"/>
                  <a:pt x="139244" y="1871497"/>
                </a:cubicBezTo>
                <a:cubicBezTo>
                  <a:pt x="139244" y="1863442"/>
                  <a:pt x="137428" y="1854144"/>
                  <a:pt x="135208" y="1850836"/>
                </a:cubicBezTo>
                <a:cubicBezTo>
                  <a:pt x="132989" y="1847528"/>
                  <a:pt x="129144" y="1817757"/>
                  <a:pt x="126665" y="1784678"/>
                </a:cubicBezTo>
                <a:cubicBezTo>
                  <a:pt x="122307" y="1726528"/>
                  <a:pt x="113812" y="1670914"/>
                  <a:pt x="108293" y="1664392"/>
                </a:cubicBezTo>
                <a:cubicBezTo>
                  <a:pt x="106819" y="1662651"/>
                  <a:pt x="104420" y="1650289"/>
                  <a:pt x="102962" y="1636921"/>
                </a:cubicBezTo>
                <a:cubicBezTo>
                  <a:pt x="101504" y="1623553"/>
                  <a:pt x="97787" y="1608213"/>
                  <a:pt x="94702" y="1602831"/>
                </a:cubicBezTo>
                <a:cubicBezTo>
                  <a:pt x="86626" y="1588743"/>
                  <a:pt x="89567" y="1460643"/>
                  <a:pt x="98128" y="1453577"/>
                </a:cubicBezTo>
                <a:cubicBezTo>
                  <a:pt x="101501" y="1450792"/>
                  <a:pt x="104261" y="1438989"/>
                  <a:pt x="104261" y="1427347"/>
                </a:cubicBezTo>
                <a:cubicBezTo>
                  <a:pt x="104261" y="1414373"/>
                  <a:pt x="106800" y="1404771"/>
                  <a:pt x="110821" y="1402538"/>
                </a:cubicBezTo>
                <a:cubicBezTo>
                  <a:pt x="114428" y="1400533"/>
                  <a:pt x="117380" y="1393455"/>
                  <a:pt x="117380" y="1386808"/>
                </a:cubicBezTo>
                <a:cubicBezTo>
                  <a:pt x="117380" y="1380161"/>
                  <a:pt x="120331" y="1371177"/>
                  <a:pt x="123939" y="1366842"/>
                </a:cubicBezTo>
                <a:cubicBezTo>
                  <a:pt x="127547" y="1362507"/>
                  <a:pt x="130498" y="1351111"/>
                  <a:pt x="130498" y="1341518"/>
                </a:cubicBezTo>
                <a:cubicBezTo>
                  <a:pt x="130498" y="1318073"/>
                  <a:pt x="137674" y="1310914"/>
                  <a:pt x="163457" y="1308631"/>
                </a:cubicBezTo>
                <a:cubicBezTo>
                  <a:pt x="194631" y="1305871"/>
                  <a:pt x="202426" y="1293646"/>
                  <a:pt x="198730" y="1253312"/>
                </a:cubicBezTo>
                <a:cubicBezTo>
                  <a:pt x="196229" y="1226013"/>
                  <a:pt x="197082" y="1219880"/>
                  <a:pt x="204698" y="1210441"/>
                </a:cubicBezTo>
                <a:cubicBezTo>
                  <a:pt x="209585" y="1204382"/>
                  <a:pt x="213584" y="1196282"/>
                  <a:pt x="213584" y="1192440"/>
                </a:cubicBezTo>
                <a:cubicBezTo>
                  <a:pt x="213584" y="1188597"/>
                  <a:pt x="218504" y="1178763"/>
                  <a:pt x="224517" y="1170585"/>
                </a:cubicBezTo>
                <a:cubicBezTo>
                  <a:pt x="230529" y="1162407"/>
                  <a:pt x="235449" y="1150864"/>
                  <a:pt x="235449" y="1144933"/>
                </a:cubicBezTo>
                <a:cubicBezTo>
                  <a:pt x="235449" y="1139003"/>
                  <a:pt x="238400" y="1130604"/>
                  <a:pt x="242008" y="1126269"/>
                </a:cubicBezTo>
                <a:cubicBezTo>
                  <a:pt x="245616" y="1121934"/>
                  <a:pt x="248567" y="1114463"/>
                  <a:pt x="248567" y="1109667"/>
                </a:cubicBezTo>
                <a:cubicBezTo>
                  <a:pt x="248567" y="1104871"/>
                  <a:pt x="250358" y="1100946"/>
                  <a:pt x="252548" y="1100946"/>
                </a:cubicBezTo>
                <a:cubicBezTo>
                  <a:pt x="254737" y="1100946"/>
                  <a:pt x="257922" y="1076730"/>
                  <a:pt x="259624" y="1047134"/>
                </a:cubicBezTo>
                <a:cubicBezTo>
                  <a:pt x="261327" y="1017537"/>
                  <a:pt x="264456" y="993321"/>
                  <a:pt x="266576" y="993321"/>
                </a:cubicBezTo>
                <a:cubicBezTo>
                  <a:pt x="268697" y="993321"/>
                  <a:pt x="270432" y="989682"/>
                  <a:pt x="270432" y="985235"/>
                </a:cubicBezTo>
                <a:cubicBezTo>
                  <a:pt x="270432" y="976465"/>
                  <a:pt x="295092" y="942674"/>
                  <a:pt x="301492" y="942674"/>
                </a:cubicBezTo>
                <a:cubicBezTo>
                  <a:pt x="303650" y="942674"/>
                  <a:pt x="305415" y="939703"/>
                  <a:pt x="305415" y="936072"/>
                </a:cubicBezTo>
                <a:cubicBezTo>
                  <a:pt x="305415" y="932441"/>
                  <a:pt x="314270" y="915764"/>
                  <a:pt x="325094" y="899013"/>
                </a:cubicBezTo>
                <a:cubicBezTo>
                  <a:pt x="335917" y="882262"/>
                  <a:pt x="344772" y="866574"/>
                  <a:pt x="344772" y="864151"/>
                </a:cubicBezTo>
                <a:cubicBezTo>
                  <a:pt x="344772" y="858916"/>
                  <a:pt x="373017" y="816057"/>
                  <a:pt x="376468" y="816057"/>
                </a:cubicBezTo>
                <a:cubicBezTo>
                  <a:pt x="379972" y="816057"/>
                  <a:pt x="405993" y="782255"/>
                  <a:pt x="405993" y="777703"/>
                </a:cubicBezTo>
                <a:cubicBezTo>
                  <a:pt x="405993" y="766887"/>
                  <a:pt x="458830" y="695771"/>
                  <a:pt x="466866" y="695771"/>
                </a:cubicBezTo>
                <a:cubicBezTo>
                  <a:pt x="471868" y="695771"/>
                  <a:pt x="475959" y="693114"/>
                  <a:pt x="475959" y="689867"/>
                </a:cubicBezTo>
                <a:cubicBezTo>
                  <a:pt x="475959" y="686619"/>
                  <a:pt x="480295" y="681970"/>
                  <a:pt x="485595" y="679535"/>
                </a:cubicBezTo>
                <a:cubicBezTo>
                  <a:pt x="490894" y="677100"/>
                  <a:pt x="497922" y="671210"/>
                  <a:pt x="501212" y="666447"/>
                </a:cubicBezTo>
                <a:cubicBezTo>
                  <a:pt x="504503" y="661683"/>
                  <a:pt x="513941" y="657786"/>
                  <a:pt x="522188" y="657786"/>
                </a:cubicBezTo>
                <a:cubicBezTo>
                  <a:pt x="530434" y="657786"/>
                  <a:pt x="537180" y="654937"/>
                  <a:pt x="537180" y="651455"/>
                </a:cubicBezTo>
                <a:cubicBezTo>
                  <a:pt x="537180" y="647973"/>
                  <a:pt x="541824" y="645124"/>
                  <a:pt x="547500" y="645124"/>
                </a:cubicBezTo>
                <a:cubicBezTo>
                  <a:pt x="553404" y="645124"/>
                  <a:pt x="561334" y="638350"/>
                  <a:pt x="566030" y="629297"/>
                </a:cubicBezTo>
                <a:cubicBezTo>
                  <a:pt x="570545" y="620592"/>
                  <a:pt x="577568" y="613470"/>
                  <a:pt x="581636" y="613470"/>
                </a:cubicBezTo>
                <a:cubicBezTo>
                  <a:pt x="585703" y="613470"/>
                  <a:pt x="591983" y="609196"/>
                  <a:pt x="595590" y="603974"/>
                </a:cubicBezTo>
                <a:cubicBezTo>
                  <a:pt x="599198" y="598750"/>
                  <a:pt x="603469" y="594477"/>
                  <a:pt x="605081" y="594477"/>
                </a:cubicBezTo>
                <a:cubicBezTo>
                  <a:pt x="606693" y="594477"/>
                  <a:pt x="614213" y="590263"/>
                  <a:pt x="621792" y="585112"/>
                </a:cubicBezTo>
                <a:cubicBezTo>
                  <a:pt x="638495" y="573760"/>
                  <a:pt x="692969" y="562678"/>
                  <a:pt x="758458" y="557307"/>
                </a:cubicBezTo>
                <a:cubicBezTo>
                  <a:pt x="805917" y="553416"/>
                  <a:pt x="817472" y="548216"/>
                  <a:pt x="827104" y="526420"/>
                </a:cubicBezTo>
                <a:cubicBezTo>
                  <a:pt x="829027" y="522068"/>
                  <a:pt x="833087" y="518507"/>
                  <a:pt x="836125" y="518507"/>
                </a:cubicBezTo>
                <a:cubicBezTo>
                  <a:pt x="839163" y="518507"/>
                  <a:pt x="847305" y="509960"/>
                  <a:pt x="854218" y="499514"/>
                </a:cubicBezTo>
                <a:cubicBezTo>
                  <a:pt x="861130" y="489068"/>
                  <a:pt x="870238" y="480522"/>
                  <a:pt x="874456" y="480522"/>
                </a:cubicBezTo>
                <a:cubicBezTo>
                  <a:pt x="878674" y="480522"/>
                  <a:pt x="883342" y="477673"/>
                  <a:pt x="884828" y="474191"/>
                </a:cubicBezTo>
                <a:cubicBezTo>
                  <a:pt x="886314" y="470709"/>
                  <a:pt x="891186" y="467860"/>
                  <a:pt x="895654" y="467860"/>
                </a:cubicBezTo>
                <a:cubicBezTo>
                  <a:pt x="900121" y="467860"/>
                  <a:pt x="907745" y="460026"/>
                  <a:pt x="912594" y="450450"/>
                </a:cubicBezTo>
                <a:cubicBezTo>
                  <a:pt x="919668" y="436483"/>
                  <a:pt x="922507" y="434605"/>
                  <a:pt x="926952" y="440954"/>
                </a:cubicBezTo>
                <a:cubicBezTo>
                  <a:pt x="930000" y="445306"/>
                  <a:pt x="935794" y="448867"/>
                  <a:pt x="939829" y="448867"/>
                </a:cubicBezTo>
                <a:cubicBezTo>
                  <a:pt x="943863" y="448867"/>
                  <a:pt x="949567" y="453057"/>
                  <a:pt x="952502" y="458179"/>
                </a:cubicBezTo>
                <a:cubicBezTo>
                  <a:pt x="956617" y="465356"/>
                  <a:pt x="967169" y="467169"/>
                  <a:pt x="998543" y="466092"/>
                </a:cubicBezTo>
                <a:cubicBezTo>
                  <a:pt x="1020929" y="465323"/>
                  <a:pt x="1038330" y="466831"/>
                  <a:pt x="1037211" y="469443"/>
                </a:cubicBezTo>
                <a:cubicBezTo>
                  <a:pt x="1036093" y="472054"/>
                  <a:pt x="1038362" y="474191"/>
                  <a:pt x="1042254" y="474191"/>
                </a:cubicBezTo>
                <a:cubicBezTo>
                  <a:pt x="1046145" y="474191"/>
                  <a:pt x="1048113" y="471342"/>
                  <a:pt x="1046626" y="467860"/>
                </a:cubicBezTo>
                <a:cubicBezTo>
                  <a:pt x="1041127" y="454979"/>
                  <a:pt x="1051925" y="462057"/>
                  <a:pt x="1061114" y="477356"/>
                </a:cubicBezTo>
                <a:cubicBezTo>
                  <a:pt x="1072567" y="496426"/>
                  <a:pt x="1083781" y="497803"/>
                  <a:pt x="1086902" y="480522"/>
                </a:cubicBezTo>
                <a:cubicBezTo>
                  <a:pt x="1090408" y="461111"/>
                  <a:pt x="1104109" y="464970"/>
                  <a:pt x="1109378" y="486853"/>
                </a:cubicBezTo>
                <a:cubicBezTo>
                  <a:pt x="1111894" y="497298"/>
                  <a:pt x="1116022" y="505845"/>
                  <a:pt x="1118552" y="505845"/>
                </a:cubicBezTo>
                <a:cubicBezTo>
                  <a:pt x="1121082" y="505845"/>
                  <a:pt x="1123152" y="510248"/>
                  <a:pt x="1123152" y="515629"/>
                </a:cubicBezTo>
                <a:cubicBezTo>
                  <a:pt x="1123152" y="521011"/>
                  <a:pt x="1128072" y="532536"/>
                  <a:pt x="1134085" y="541240"/>
                </a:cubicBezTo>
                <a:cubicBezTo>
                  <a:pt x="1140098" y="549945"/>
                  <a:pt x="1145017" y="561211"/>
                  <a:pt x="1145017" y="566276"/>
                </a:cubicBezTo>
                <a:cubicBezTo>
                  <a:pt x="1145017" y="571340"/>
                  <a:pt x="1146985" y="575485"/>
                  <a:pt x="1149390" y="575485"/>
                </a:cubicBezTo>
                <a:cubicBezTo>
                  <a:pt x="1151796" y="575485"/>
                  <a:pt x="1153763" y="579488"/>
                  <a:pt x="1153763" y="584382"/>
                </a:cubicBezTo>
                <a:cubicBezTo>
                  <a:pt x="1153763" y="591870"/>
                  <a:pt x="1176828" y="638301"/>
                  <a:pt x="1187659" y="652617"/>
                </a:cubicBezTo>
                <a:cubicBezTo>
                  <a:pt x="1218661" y="693591"/>
                  <a:pt x="1254340" y="745441"/>
                  <a:pt x="1254340" y="749518"/>
                </a:cubicBezTo>
                <a:cubicBezTo>
                  <a:pt x="1254340" y="757171"/>
                  <a:pt x="1280568" y="789876"/>
                  <a:pt x="1290288" y="794342"/>
                </a:cubicBezTo>
                <a:cubicBezTo>
                  <a:pt x="1295629" y="796796"/>
                  <a:pt x="1301342" y="793539"/>
                  <a:pt x="1306344" y="785189"/>
                </a:cubicBezTo>
                <a:cubicBezTo>
                  <a:pt x="1310616" y="778060"/>
                  <a:pt x="1321893" y="770425"/>
                  <a:pt x="1331406" y="768222"/>
                </a:cubicBezTo>
                <a:cubicBezTo>
                  <a:pt x="1346576" y="764711"/>
                  <a:pt x="1349748" y="766237"/>
                  <a:pt x="1357220" y="780642"/>
                </a:cubicBezTo>
                <a:cubicBezTo>
                  <a:pt x="1361906" y="789674"/>
                  <a:pt x="1368224" y="797065"/>
                  <a:pt x="1371260" y="797065"/>
                </a:cubicBezTo>
                <a:cubicBezTo>
                  <a:pt x="1374297" y="797065"/>
                  <a:pt x="1376782" y="802321"/>
                  <a:pt x="1376782" y="808745"/>
                </a:cubicBezTo>
                <a:cubicBezTo>
                  <a:pt x="1376782" y="821451"/>
                  <a:pt x="1389677" y="841380"/>
                  <a:pt x="1397898" y="841380"/>
                </a:cubicBezTo>
                <a:cubicBezTo>
                  <a:pt x="1400715" y="841380"/>
                  <a:pt x="1403266" y="847079"/>
                  <a:pt x="1403566" y="854042"/>
                </a:cubicBezTo>
                <a:cubicBezTo>
                  <a:pt x="1404643" y="878986"/>
                  <a:pt x="1405317" y="881243"/>
                  <a:pt x="1413767" y="888172"/>
                </a:cubicBezTo>
                <a:cubicBezTo>
                  <a:pt x="1427980" y="899827"/>
                  <a:pt x="1432763" y="908218"/>
                  <a:pt x="1434326" y="924237"/>
                </a:cubicBezTo>
                <a:cubicBezTo>
                  <a:pt x="1436019" y="941586"/>
                  <a:pt x="1450406" y="945523"/>
                  <a:pt x="1455432" y="930013"/>
                </a:cubicBezTo>
                <a:cubicBezTo>
                  <a:pt x="1457124" y="924790"/>
                  <a:pt x="1460937" y="913785"/>
                  <a:pt x="1463906" y="905557"/>
                </a:cubicBezTo>
                <a:cubicBezTo>
                  <a:pt x="1468658" y="892389"/>
                  <a:pt x="1467954" y="888558"/>
                  <a:pt x="1458027" y="873556"/>
                </a:cubicBezTo>
                <a:cubicBezTo>
                  <a:pt x="1451824" y="864183"/>
                  <a:pt x="1446749" y="851685"/>
                  <a:pt x="1446749" y="845782"/>
                </a:cubicBezTo>
                <a:cubicBezTo>
                  <a:pt x="1446749" y="839879"/>
                  <a:pt x="1444912" y="835050"/>
                  <a:pt x="1442667" y="835050"/>
                </a:cubicBezTo>
                <a:cubicBezTo>
                  <a:pt x="1440421" y="835050"/>
                  <a:pt x="1437961" y="827215"/>
                  <a:pt x="1437200" y="817640"/>
                </a:cubicBezTo>
                <a:cubicBezTo>
                  <a:pt x="1436198" y="805025"/>
                  <a:pt x="1433036" y="799659"/>
                  <a:pt x="1425722" y="798159"/>
                </a:cubicBezTo>
                <a:cubicBezTo>
                  <a:pt x="1412003" y="795343"/>
                  <a:pt x="1414880" y="778695"/>
                  <a:pt x="1431370" y="765466"/>
                </a:cubicBezTo>
                <a:cubicBezTo>
                  <a:pt x="1439248" y="759147"/>
                  <a:pt x="1445995" y="747031"/>
                  <a:pt x="1448402" y="734883"/>
                </a:cubicBezTo>
                <a:cubicBezTo>
                  <a:pt x="1451293" y="720285"/>
                  <a:pt x="1454974" y="714763"/>
                  <a:pt x="1461812" y="714763"/>
                </a:cubicBezTo>
                <a:cubicBezTo>
                  <a:pt x="1466996" y="714763"/>
                  <a:pt x="1473107" y="712136"/>
                  <a:pt x="1475392" y="708925"/>
                </a:cubicBezTo>
                <a:cubicBezTo>
                  <a:pt x="1477677" y="705714"/>
                  <a:pt x="1486459" y="701250"/>
                  <a:pt x="1494907" y="699006"/>
                </a:cubicBezTo>
                <a:cubicBezTo>
                  <a:pt x="1507788" y="695584"/>
                  <a:pt x="1511972" y="697549"/>
                  <a:pt x="1520814" y="711175"/>
                </a:cubicBezTo>
                <a:cubicBezTo>
                  <a:pt x="1531470" y="727595"/>
                  <a:pt x="1542953" y="732741"/>
                  <a:pt x="1542953" y="721094"/>
                </a:cubicBezTo>
                <a:cubicBezTo>
                  <a:pt x="1542953" y="717612"/>
                  <a:pt x="1545305" y="714763"/>
                  <a:pt x="1548180" y="714763"/>
                </a:cubicBezTo>
                <a:cubicBezTo>
                  <a:pt x="1551055" y="714763"/>
                  <a:pt x="1558868" y="707189"/>
                  <a:pt x="1565543" y="697931"/>
                </a:cubicBezTo>
                <a:cubicBezTo>
                  <a:pt x="1576313" y="682993"/>
                  <a:pt x="1578004" y="682326"/>
                  <a:pt x="1580569" y="692004"/>
                </a:cubicBezTo>
                <a:cubicBezTo>
                  <a:pt x="1582158" y="698002"/>
                  <a:pt x="1581490" y="709167"/>
                  <a:pt x="1579083" y="716815"/>
                </a:cubicBezTo>
                <a:cubicBezTo>
                  <a:pt x="1573971" y="733059"/>
                  <a:pt x="1582935" y="749854"/>
                  <a:pt x="1593565" y="743948"/>
                </a:cubicBezTo>
                <a:cubicBezTo>
                  <a:pt x="1602131" y="739190"/>
                  <a:pt x="1607148" y="719364"/>
                  <a:pt x="1600588" y="716198"/>
                </a:cubicBezTo>
                <a:cubicBezTo>
                  <a:pt x="1592584" y="712335"/>
                  <a:pt x="1594497" y="690789"/>
                  <a:pt x="1604075" y="676922"/>
                </a:cubicBezTo>
                <a:cubicBezTo>
                  <a:pt x="1608831" y="670037"/>
                  <a:pt x="1611648" y="660354"/>
                  <a:pt x="1610336" y="655404"/>
                </a:cubicBezTo>
                <a:cubicBezTo>
                  <a:pt x="1606241" y="639955"/>
                  <a:pt x="1616711" y="637515"/>
                  <a:pt x="1627075" y="651503"/>
                </a:cubicBezTo>
                <a:cubicBezTo>
                  <a:pt x="1635408" y="662749"/>
                  <a:pt x="1640251" y="664207"/>
                  <a:pt x="1657724" y="660732"/>
                </a:cubicBezTo>
                <a:cubicBezTo>
                  <a:pt x="1673801" y="657535"/>
                  <a:pt x="1679028" y="658688"/>
                  <a:pt x="1680927" y="665854"/>
                </a:cubicBezTo>
                <a:cubicBezTo>
                  <a:pt x="1682551" y="671980"/>
                  <a:pt x="1693005" y="676530"/>
                  <a:pt x="1711891" y="679332"/>
                </a:cubicBezTo>
                <a:cubicBezTo>
                  <a:pt x="1730763" y="682131"/>
                  <a:pt x="1746175" y="688836"/>
                  <a:pt x="1757474" y="699162"/>
                </a:cubicBezTo>
                <a:cubicBezTo>
                  <a:pt x="1766863" y="707743"/>
                  <a:pt x="1777535" y="714763"/>
                  <a:pt x="1781191" y="714763"/>
                </a:cubicBezTo>
                <a:cubicBezTo>
                  <a:pt x="1784846" y="714763"/>
                  <a:pt x="1787837" y="717333"/>
                  <a:pt x="1787837" y="720473"/>
                </a:cubicBezTo>
                <a:cubicBezTo>
                  <a:pt x="1787837" y="723614"/>
                  <a:pt x="1795170" y="731694"/>
                  <a:pt x="1804133" y="738427"/>
                </a:cubicBezTo>
                <a:cubicBezTo>
                  <a:pt x="1816070" y="747395"/>
                  <a:pt x="1821182" y="756003"/>
                  <a:pt x="1823246" y="770607"/>
                </a:cubicBezTo>
                <a:cubicBezTo>
                  <a:pt x="1826969" y="796962"/>
                  <a:pt x="1843835" y="817162"/>
                  <a:pt x="1854936" y="808560"/>
                </a:cubicBezTo>
                <a:cubicBezTo>
                  <a:pt x="1861330" y="803606"/>
                  <a:pt x="1865591" y="805762"/>
                  <a:pt x="1874886" y="818655"/>
                </a:cubicBezTo>
                <a:cubicBezTo>
                  <a:pt x="1881387" y="827672"/>
                  <a:pt x="1888197" y="835050"/>
                  <a:pt x="1890018" y="835050"/>
                </a:cubicBezTo>
                <a:cubicBezTo>
                  <a:pt x="1891839" y="835050"/>
                  <a:pt x="1907144" y="855209"/>
                  <a:pt x="1924029" y="879848"/>
                </a:cubicBezTo>
                <a:cubicBezTo>
                  <a:pt x="1947915" y="914705"/>
                  <a:pt x="1958287" y="925437"/>
                  <a:pt x="1970767" y="928208"/>
                </a:cubicBezTo>
                <a:cubicBezTo>
                  <a:pt x="1979588" y="930167"/>
                  <a:pt x="1989240" y="934542"/>
                  <a:pt x="1992216" y="937930"/>
                </a:cubicBezTo>
                <a:cubicBezTo>
                  <a:pt x="1995191" y="941318"/>
                  <a:pt x="2000741" y="942361"/>
                  <a:pt x="2004549" y="940246"/>
                </a:cubicBezTo>
                <a:cubicBezTo>
                  <a:pt x="2014139" y="934918"/>
                  <a:pt x="2010854" y="908587"/>
                  <a:pt x="2000233" y="905653"/>
                </a:cubicBezTo>
                <a:cubicBezTo>
                  <a:pt x="1990506" y="902967"/>
                  <a:pt x="1980246" y="889704"/>
                  <a:pt x="1980246" y="879818"/>
                </a:cubicBezTo>
                <a:cubicBezTo>
                  <a:pt x="1980246" y="871202"/>
                  <a:pt x="1982879" y="871305"/>
                  <a:pt x="2000661" y="880614"/>
                </a:cubicBezTo>
                <a:cubicBezTo>
                  <a:pt x="2014087" y="887642"/>
                  <a:pt x="2016093" y="886867"/>
                  <a:pt x="2028302" y="869933"/>
                </a:cubicBezTo>
                <a:cubicBezTo>
                  <a:pt x="2035543" y="859890"/>
                  <a:pt x="2041467" y="845084"/>
                  <a:pt x="2041467" y="837031"/>
                </a:cubicBezTo>
                <a:cubicBezTo>
                  <a:pt x="2041467" y="828236"/>
                  <a:pt x="2044086" y="822388"/>
                  <a:pt x="2048027" y="822388"/>
                </a:cubicBezTo>
                <a:cubicBezTo>
                  <a:pt x="2051634" y="822388"/>
                  <a:pt x="2054585" y="825256"/>
                  <a:pt x="2054585" y="828761"/>
                </a:cubicBezTo>
                <a:cubicBezTo>
                  <a:pt x="2054585" y="832265"/>
                  <a:pt x="2059386" y="841176"/>
                  <a:pt x="2065253" y="848562"/>
                </a:cubicBezTo>
                <a:cubicBezTo>
                  <a:pt x="2075061" y="860908"/>
                  <a:pt x="2075402" y="863133"/>
                  <a:pt x="2069492" y="876195"/>
                </a:cubicBezTo>
                <a:cubicBezTo>
                  <a:pt x="2063387" y="889682"/>
                  <a:pt x="2063842" y="890935"/>
                  <a:pt x="2078502" y="901007"/>
                </a:cubicBezTo>
                <a:cubicBezTo>
                  <a:pt x="2086994" y="906841"/>
                  <a:pt x="2093942" y="914329"/>
                  <a:pt x="2093942" y="917648"/>
                </a:cubicBezTo>
                <a:cubicBezTo>
                  <a:pt x="2093942" y="920967"/>
                  <a:pt x="2096894" y="923682"/>
                  <a:pt x="2100502" y="923682"/>
                </a:cubicBezTo>
                <a:cubicBezTo>
                  <a:pt x="2107463" y="923682"/>
                  <a:pt x="2109052" y="934932"/>
                  <a:pt x="2103714" y="946427"/>
                </a:cubicBezTo>
                <a:cubicBezTo>
                  <a:pt x="2101947" y="950232"/>
                  <a:pt x="2093992" y="955179"/>
                  <a:pt x="2086036" y="957421"/>
                </a:cubicBezTo>
                <a:cubicBezTo>
                  <a:pt x="2067913" y="962528"/>
                  <a:pt x="2058351" y="975401"/>
                  <a:pt x="2063661" y="987546"/>
                </a:cubicBezTo>
                <a:cubicBezTo>
                  <a:pt x="2065812" y="992464"/>
                  <a:pt x="2067600" y="1010810"/>
                  <a:pt x="2067637" y="1028317"/>
                </a:cubicBezTo>
                <a:cubicBezTo>
                  <a:pt x="2067710" y="1062723"/>
                  <a:pt x="2077159" y="1081953"/>
                  <a:pt x="2093992" y="1081953"/>
                </a:cubicBezTo>
                <a:cubicBezTo>
                  <a:pt x="2100657" y="1081953"/>
                  <a:pt x="2102688" y="1086209"/>
                  <a:pt x="2102688" y="1100171"/>
                </a:cubicBezTo>
                <a:cubicBezTo>
                  <a:pt x="2102688" y="1125740"/>
                  <a:pt x="2113772" y="1138266"/>
                  <a:pt x="2123679" y="1123892"/>
                </a:cubicBezTo>
                <a:cubicBezTo>
                  <a:pt x="2129457" y="1115507"/>
                  <a:pt x="2130863" y="1103709"/>
                  <a:pt x="2129992" y="1070902"/>
                </a:cubicBezTo>
                <a:cubicBezTo>
                  <a:pt x="2129377" y="1047689"/>
                  <a:pt x="2126917" y="1025866"/>
                  <a:pt x="2124526" y="1022405"/>
                </a:cubicBezTo>
                <a:cubicBezTo>
                  <a:pt x="2118039" y="1013013"/>
                  <a:pt x="2119278" y="989624"/>
                  <a:pt x="2126739" y="980659"/>
                </a:cubicBezTo>
                <a:cubicBezTo>
                  <a:pt x="2134268" y="971613"/>
                  <a:pt x="2135439" y="951668"/>
                  <a:pt x="2128791" y="945720"/>
                </a:cubicBezTo>
                <a:cubicBezTo>
                  <a:pt x="2126210" y="943411"/>
                  <a:pt x="2125453" y="932663"/>
                  <a:pt x="2127020" y="920573"/>
                </a:cubicBezTo>
                <a:cubicBezTo>
                  <a:pt x="2128525" y="908960"/>
                  <a:pt x="2128387" y="893215"/>
                  <a:pt x="2126714" y="885583"/>
                </a:cubicBezTo>
                <a:cubicBezTo>
                  <a:pt x="2124232" y="874263"/>
                  <a:pt x="2121368" y="872374"/>
                  <a:pt x="2111163" y="875329"/>
                </a:cubicBezTo>
                <a:cubicBezTo>
                  <a:pt x="2098619" y="878962"/>
                  <a:pt x="2089911" y="871058"/>
                  <a:pt x="2098244" y="863602"/>
                </a:cubicBezTo>
                <a:cubicBezTo>
                  <a:pt x="2103992" y="858459"/>
                  <a:pt x="2104054" y="822388"/>
                  <a:pt x="2098315" y="822388"/>
                </a:cubicBezTo>
                <a:cubicBezTo>
                  <a:pt x="2095910" y="822388"/>
                  <a:pt x="2093942" y="813841"/>
                  <a:pt x="2093942" y="803395"/>
                </a:cubicBezTo>
                <a:cubicBezTo>
                  <a:pt x="2093942" y="792950"/>
                  <a:pt x="2096066" y="784403"/>
                  <a:pt x="2098662" y="784403"/>
                </a:cubicBezTo>
                <a:cubicBezTo>
                  <a:pt x="2101561" y="784403"/>
                  <a:pt x="2102341" y="777537"/>
                  <a:pt x="2100683" y="766608"/>
                </a:cubicBezTo>
                <a:cubicBezTo>
                  <a:pt x="2098503" y="752236"/>
                  <a:pt x="2099907" y="747417"/>
                  <a:pt x="2107989" y="741548"/>
                </a:cubicBezTo>
                <a:cubicBezTo>
                  <a:pt x="2113491" y="737553"/>
                  <a:pt x="2122912" y="733452"/>
                  <a:pt x="2128925" y="732437"/>
                </a:cubicBezTo>
                <a:cubicBezTo>
                  <a:pt x="2137207" y="731038"/>
                  <a:pt x="2140193" y="726370"/>
                  <a:pt x="2141241" y="713181"/>
                </a:cubicBezTo>
                <a:cubicBezTo>
                  <a:pt x="2142339" y="699367"/>
                  <a:pt x="2144882" y="695771"/>
                  <a:pt x="2153554" y="695771"/>
                </a:cubicBezTo>
                <a:cubicBezTo>
                  <a:pt x="2159566" y="695771"/>
                  <a:pt x="2167904" y="693121"/>
                  <a:pt x="2172084" y="689882"/>
                </a:cubicBezTo>
                <a:cubicBezTo>
                  <a:pt x="2176573" y="686404"/>
                  <a:pt x="2182266" y="686302"/>
                  <a:pt x="2185988" y="689631"/>
                </a:cubicBezTo>
                <a:cubicBezTo>
                  <a:pt x="2191250" y="694341"/>
                  <a:pt x="2190851" y="696845"/>
                  <a:pt x="2183565" y="704816"/>
                </a:cubicBezTo>
                <a:cubicBezTo>
                  <a:pt x="2176968" y="712034"/>
                  <a:pt x="2176450" y="714410"/>
                  <a:pt x="2181442" y="714562"/>
                </a:cubicBezTo>
                <a:cubicBezTo>
                  <a:pt x="2185072" y="714673"/>
                  <a:pt x="2190395" y="709309"/>
                  <a:pt x="2193271" y="702641"/>
                </a:cubicBezTo>
                <a:cubicBezTo>
                  <a:pt x="2199199" y="688899"/>
                  <a:pt x="2194453" y="679849"/>
                  <a:pt x="2179214" y="675840"/>
                </a:cubicBezTo>
                <a:cubicBezTo>
                  <a:pt x="2174404" y="674574"/>
                  <a:pt x="2168526" y="667145"/>
                  <a:pt x="2166151" y="659332"/>
                </a:cubicBezTo>
                <a:cubicBezTo>
                  <a:pt x="2163777" y="651517"/>
                  <a:pt x="2160334" y="645124"/>
                  <a:pt x="2158499" y="645124"/>
                </a:cubicBezTo>
                <a:cubicBezTo>
                  <a:pt x="2156664" y="645124"/>
                  <a:pt x="2155163" y="640851"/>
                  <a:pt x="2155163" y="635628"/>
                </a:cubicBezTo>
                <a:cubicBezTo>
                  <a:pt x="2155163" y="620205"/>
                  <a:pt x="2172160" y="624706"/>
                  <a:pt x="2184048" y="643278"/>
                </a:cubicBezTo>
                <a:cubicBezTo>
                  <a:pt x="2192775" y="656910"/>
                  <a:pt x="2196541" y="659049"/>
                  <a:pt x="2202425" y="653711"/>
                </a:cubicBezTo>
                <a:cubicBezTo>
                  <a:pt x="2213231" y="643905"/>
                  <a:pt x="2213663" y="624496"/>
                  <a:pt x="2203453" y="607453"/>
                </a:cubicBezTo>
                <a:cubicBezTo>
                  <a:pt x="2193012" y="590025"/>
                  <a:pt x="2192102" y="581815"/>
                  <a:pt x="2200610" y="581815"/>
                </a:cubicBezTo>
                <a:cubicBezTo>
                  <a:pt x="2203961" y="581815"/>
                  <a:pt x="2207897" y="577309"/>
                  <a:pt x="2209356" y="571802"/>
                </a:cubicBezTo>
                <a:cubicBezTo>
                  <a:pt x="2213448" y="556366"/>
                  <a:pt x="2212502" y="537499"/>
                  <a:pt x="2207638" y="537499"/>
                </a:cubicBezTo>
                <a:cubicBezTo>
                  <a:pt x="2200214" y="537499"/>
                  <a:pt x="2202808" y="521779"/>
                  <a:pt x="2211777" y="512421"/>
                </a:cubicBezTo>
                <a:cubicBezTo>
                  <a:pt x="2216458" y="507535"/>
                  <a:pt x="2219456" y="501589"/>
                  <a:pt x="2218439" y="499207"/>
                </a:cubicBezTo>
                <a:cubicBezTo>
                  <a:pt x="2215330" y="491923"/>
                  <a:pt x="2230901" y="475843"/>
                  <a:pt x="2245369" y="471396"/>
                </a:cubicBezTo>
                <a:cubicBezTo>
                  <a:pt x="2257458" y="467681"/>
                  <a:pt x="2259373" y="469060"/>
                  <a:pt x="2261834" y="483257"/>
                </a:cubicBezTo>
                <a:cubicBezTo>
                  <a:pt x="2265391" y="503772"/>
                  <a:pt x="2285196" y="512691"/>
                  <a:pt x="2292979" y="497282"/>
                </a:cubicBezTo>
                <a:cubicBezTo>
                  <a:pt x="2301499" y="480415"/>
                  <a:pt x="2331129" y="488021"/>
                  <a:pt x="2323798" y="505194"/>
                </a:cubicBezTo>
                <a:cubicBezTo>
                  <a:pt x="2318982" y="516475"/>
                  <a:pt x="2325564" y="537499"/>
                  <a:pt x="2333912" y="537499"/>
                </a:cubicBezTo>
                <a:cubicBezTo>
                  <a:pt x="2338100" y="537499"/>
                  <a:pt x="2345347" y="533317"/>
                  <a:pt x="2350016" y="528204"/>
                </a:cubicBezTo>
                <a:cubicBezTo>
                  <a:pt x="2354684" y="523092"/>
                  <a:pt x="2362932" y="518819"/>
                  <a:pt x="2368343" y="518708"/>
                </a:cubicBezTo>
                <a:cubicBezTo>
                  <a:pt x="2373754" y="518597"/>
                  <a:pt x="2378182" y="515658"/>
                  <a:pt x="2378182" y="512176"/>
                </a:cubicBezTo>
                <a:cubicBezTo>
                  <a:pt x="2378182" y="508694"/>
                  <a:pt x="2381133" y="505845"/>
                  <a:pt x="2384742" y="505845"/>
                </a:cubicBezTo>
                <a:cubicBezTo>
                  <a:pt x="2388349" y="505845"/>
                  <a:pt x="2391301" y="502996"/>
                  <a:pt x="2391301" y="499514"/>
                </a:cubicBezTo>
                <a:cubicBezTo>
                  <a:pt x="2391301" y="496032"/>
                  <a:pt x="2394252" y="493183"/>
                  <a:pt x="2397860" y="493183"/>
                </a:cubicBezTo>
                <a:cubicBezTo>
                  <a:pt x="2401468" y="493183"/>
                  <a:pt x="2404419" y="498713"/>
                  <a:pt x="2404419" y="505472"/>
                </a:cubicBezTo>
                <a:cubicBezTo>
                  <a:pt x="2404419" y="520955"/>
                  <a:pt x="2410752" y="526800"/>
                  <a:pt x="2421950" y="521654"/>
                </a:cubicBezTo>
                <a:cubicBezTo>
                  <a:pt x="2427501" y="519104"/>
                  <a:pt x="2430657" y="512070"/>
                  <a:pt x="2430657" y="502253"/>
                </a:cubicBezTo>
                <a:cubicBezTo>
                  <a:pt x="2430657" y="486471"/>
                  <a:pt x="2441550" y="480348"/>
                  <a:pt x="2444767" y="494323"/>
                </a:cubicBezTo>
                <a:cubicBezTo>
                  <a:pt x="2447125" y="504566"/>
                  <a:pt x="2460800" y="496112"/>
                  <a:pt x="2464298" y="482248"/>
                </a:cubicBezTo>
                <a:cubicBezTo>
                  <a:pt x="2465855" y="476076"/>
                  <a:pt x="2470730" y="464231"/>
                  <a:pt x="2475130" y="455927"/>
                </a:cubicBezTo>
                <a:cubicBezTo>
                  <a:pt x="2484828" y="437629"/>
                  <a:pt x="2485486" y="418123"/>
                  <a:pt x="2476573" y="413172"/>
                </a:cubicBezTo>
                <a:cubicBezTo>
                  <a:pt x="2472509" y="410914"/>
                  <a:pt x="2470013" y="401279"/>
                  <a:pt x="2470013" y="387848"/>
                </a:cubicBezTo>
                <a:cubicBezTo>
                  <a:pt x="2470013" y="374418"/>
                  <a:pt x="2467518" y="364782"/>
                  <a:pt x="2463454" y="362525"/>
                </a:cubicBezTo>
                <a:cubicBezTo>
                  <a:pt x="2459846" y="360520"/>
                  <a:pt x="2456910" y="351351"/>
                  <a:pt x="2456929" y="342148"/>
                </a:cubicBezTo>
                <a:cubicBezTo>
                  <a:pt x="2456968" y="323282"/>
                  <a:pt x="2472032" y="309588"/>
                  <a:pt x="2492750" y="309588"/>
                </a:cubicBezTo>
                <a:cubicBezTo>
                  <a:pt x="2499486" y="309588"/>
                  <a:pt x="2504997" y="306740"/>
                  <a:pt x="2504997" y="303258"/>
                </a:cubicBezTo>
                <a:cubicBezTo>
                  <a:pt x="2504997" y="292419"/>
                  <a:pt x="2515749" y="296317"/>
                  <a:pt x="2521291" y="309165"/>
                </a:cubicBezTo>
                <a:cubicBezTo>
                  <a:pt x="2525702" y="319390"/>
                  <a:pt x="2525335" y="321779"/>
                  <a:pt x="2519063" y="323689"/>
                </a:cubicBezTo>
                <a:cubicBezTo>
                  <a:pt x="2514934" y="324947"/>
                  <a:pt x="2522027" y="326405"/>
                  <a:pt x="2534825" y="326930"/>
                </a:cubicBezTo>
                <a:cubicBezTo>
                  <a:pt x="2556889" y="327835"/>
                  <a:pt x="2558327" y="326919"/>
                  <a:pt x="2562584" y="309240"/>
                </a:cubicBezTo>
                <a:cubicBezTo>
                  <a:pt x="2567794" y="287603"/>
                  <a:pt x="2576900" y="285569"/>
                  <a:pt x="2596446" y="301675"/>
                </a:cubicBezTo>
                <a:cubicBezTo>
                  <a:pt x="2605015" y="308735"/>
                  <a:pt x="2609902" y="317785"/>
                  <a:pt x="2609919" y="326625"/>
                </a:cubicBezTo>
                <a:cubicBezTo>
                  <a:pt x="2609955" y="344221"/>
                  <a:pt x="2615370" y="349022"/>
                  <a:pt x="2629424" y="343915"/>
                </a:cubicBezTo>
                <a:cubicBezTo>
                  <a:pt x="2639222" y="340356"/>
                  <a:pt x="2640558" y="336562"/>
                  <a:pt x="2640558" y="312290"/>
                </a:cubicBezTo>
                <a:cubicBezTo>
                  <a:pt x="2640558" y="291190"/>
                  <a:pt x="2642612" y="283118"/>
                  <a:pt x="2649304" y="277934"/>
                </a:cubicBezTo>
                <a:cubicBezTo>
                  <a:pt x="2654568" y="273855"/>
                  <a:pt x="2658050" y="264678"/>
                  <a:pt x="2658050" y="254876"/>
                </a:cubicBezTo>
                <a:cubicBezTo>
                  <a:pt x="2658050" y="242441"/>
                  <a:pt x="2659730" y="239528"/>
                  <a:pt x="2665163" y="242546"/>
                </a:cubicBezTo>
                <a:cubicBezTo>
                  <a:pt x="2669075" y="244720"/>
                  <a:pt x="2674979" y="243252"/>
                  <a:pt x="2678281" y="239283"/>
                </a:cubicBezTo>
                <a:cubicBezTo>
                  <a:pt x="2685187" y="230987"/>
                  <a:pt x="2686456" y="201964"/>
                  <a:pt x="2679914" y="201964"/>
                </a:cubicBezTo>
                <a:cubicBezTo>
                  <a:pt x="2673155" y="201964"/>
                  <a:pt x="2674745" y="182076"/>
                  <a:pt x="2682494" y="169679"/>
                </a:cubicBezTo>
                <a:cubicBezTo>
                  <a:pt x="2693070" y="152761"/>
                  <a:pt x="2686712" y="132325"/>
                  <a:pt x="2670873" y="132325"/>
                </a:cubicBezTo>
                <a:cubicBezTo>
                  <a:pt x="2653920" y="132325"/>
                  <a:pt x="2654096" y="117239"/>
                  <a:pt x="2671168" y="107001"/>
                </a:cubicBezTo>
                <a:cubicBezTo>
                  <a:pt x="2678758" y="102450"/>
                  <a:pt x="2684287" y="94411"/>
                  <a:pt x="2684287" y="87927"/>
                </a:cubicBezTo>
                <a:cubicBezTo>
                  <a:pt x="2684287" y="81252"/>
                  <a:pt x="2688709" y="75113"/>
                  <a:pt x="2695219" y="72747"/>
                </a:cubicBezTo>
                <a:cubicBezTo>
                  <a:pt x="2701232" y="70562"/>
                  <a:pt x="2706152" y="66375"/>
                  <a:pt x="2706152" y="63442"/>
                </a:cubicBezTo>
                <a:cubicBezTo>
                  <a:pt x="2706152" y="55417"/>
                  <a:pt x="2727018" y="62811"/>
                  <a:pt x="2732792" y="72882"/>
                </a:cubicBezTo>
                <a:cubicBezTo>
                  <a:pt x="2735565" y="77719"/>
                  <a:pt x="2742301" y="81678"/>
                  <a:pt x="2747762" y="81678"/>
                </a:cubicBezTo>
                <a:cubicBezTo>
                  <a:pt x="2753223" y="81678"/>
                  <a:pt x="2758824" y="85951"/>
                  <a:pt x="2760208" y="91174"/>
                </a:cubicBezTo>
                <a:cubicBezTo>
                  <a:pt x="2761593" y="96397"/>
                  <a:pt x="2767707" y="100670"/>
                  <a:pt x="2773795" y="100670"/>
                </a:cubicBezTo>
                <a:cubicBezTo>
                  <a:pt x="2782006" y="100670"/>
                  <a:pt x="2784864" y="103991"/>
                  <a:pt x="2784864" y="113531"/>
                </a:cubicBezTo>
                <a:cubicBezTo>
                  <a:pt x="2784864" y="128974"/>
                  <a:pt x="2796460" y="136816"/>
                  <a:pt x="2806176" y="127943"/>
                </a:cubicBezTo>
                <a:cubicBezTo>
                  <a:pt x="2811009" y="123529"/>
                  <a:pt x="2812755" y="114385"/>
                  <a:pt x="2811807" y="98446"/>
                </a:cubicBezTo>
                <a:cubicBezTo>
                  <a:pt x="2810957" y="84169"/>
                  <a:pt x="2812343" y="75347"/>
                  <a:pt x="2815434" y="75347"/>
                </a:cubicBezTo>
                <a:cubicBezTo>
                  <a:pt x="2818242" y="75347"/>
                  <a:pt x="2819352" y="70399"/>
                  <a:pt x="2817964" y="64068"/>
                </a:cubicBezTo>
                <a:cubicBezTo>
                  <a:pt x="2816160" y="55840"/>
                  <a:pt x="2818843" y="50959"/>
                  <a:pt x="2827881" y="46020"/>
                </a:cubicBezTo>
                <a:cubicBezTo>
                  <a:pt x="2843570" y="37446"/>
                  <a:pt x="2867950" y="42245"/>
                  <a:pt x="2867950" y="53908"/>
                </a:cubicBezTo>
                <a:cubicBezTo>
                  <a:pt x="2867950" y="58735"/>
                  <a:pt x="2869918" y="62685"/>
                  <a:pt x="2872323" y="62685"/>
                </a:cubicBezTo>
                <a:cubicBezTo>
                  <a:pt x="2874727" y="62685"/>
                  <a:pt x="2876696" y="66869"/>
                  <a:pt x="2876696" y="71983"/>
                </a:cubicBezTo>
                <a:cubicBezTo>
                  <a:pt x="2876696" y="77575"/>
                  <a:pt x="2879265" y="79852"/>
                  <a:pt x="2883143" y="77698"/>
                </a:cubicBezTo>
                <a:cubicBezTo>
                  <a:pt x="2891144" y="73253"/>
                  <a:pt x="2915481" y="100222"/>
                  <a:pt x="2915810" y="113898"/>
                </a:cubicBezTo>
                <a:cubicBezTo>
                  <a:pt x="2915943" y="119433"/>
                  <a:pt x="2911039" y="127267"/>
                  <a:pt x="2904913" y="131308"/>
                </a:cubicBezTo>
                <a:cubicBezTo>
                  <a:pt x="2890838" y="140594"/>
                  <a:pt x="2889815" y="140513"/>
                  <a:pt x="2889815" y="130128"/>
                </a:cubicBezTo>
                <a:cubicBezTo>
                  <a:pt x="2889815" y="118102"/>
                  <a:pt x="2873609" y="92441"/>
                  <a:pt x="2868756" y="96783"/>
                </a:cubicBezTo>
                <a:cubicBezTo>
                  <a:pt x="2866540" y="98767"/>
                  <a:pt x="2863494" y="111537"/>
                  <a:pt x="2861989" y="125162"/>
                </a:cubicBezTo>
                <a:cubicBezTo>
                  <a:pt x="2860485" y="138787"/>
                  <a:pt x="2856291" y="151581"/>
                  <a:pt x="2852669" y="153593"/>
                </a:cubicBezTo>
                <a:cubicBezTo>
                  <a:pt x="2840741" y="160220"/>
                  <a:pt x="2847175" y="202394"/>
                  <a:pt x="2864473" y="230956"/>
                </a:cubicBezTo>
                <a:cubicBezTo>
                  <a:pt x="2868859" y="238196"/>
                  <a:pt x="2874926" y="256521"/>
                  <a:pt x="2877958" y="271677"/>
                </a:cubicBezTo>
                <a:cubicBezTo>
                  <a:pt x="2881774" y="290765"/>
                  <a:pt x="2887467" y="302627"/>
                  <a:pt x="2896480" y="310278"/>
                </a:cubicBezTo>
                <a:cubicBezTo>
                  <a:pt x="2914313" y="325416"/>
                  <a:pt x="2921265" y="324529"/>
                  <a:pt x="2930626" y="305922"/>
                </a:cubicBezTo>
                <a:cubicBezTo>
                  <a:pt x="2940093" y="287102"/>
                  <a:pt x="2934487" y="271603"/>
                  <a:pt x="2918213" y="271603"/>
                </a:cubicBezTo>
                <a:cubicBezTo>
                  <a:pt x="2911656" y="271603"/>
                  <a:pt x="2907437" y="266805"/>
                  <a:pt x="2905690" y="257359"/>
                </a:cubicBezTo>
                <a:cubicBezTo>
                  <a:pt x="2901610" y="235322"/>
                  <a:pt x="2902186" y="233618"/>
                  <a:pt x="2913711" y="233618"/>
                </a:cubicBezTo>
                <a:cubicBezTo>
                  <a:pt x="2927050" y="233618"/>
                  <a:pt x="2933170" y="217887"/>
                  <a:pt x="2930337" y="190885"/>
                </a:cubicBezTo>
                <a:cubicBezTo>
                  <a:pt x="2928712" y="175393"/>
                  <a:pt x="2929806" y="170310"/>
                  <a:pt x="2934767" y="170310"/>
                </a:cubicBezTo>
                <a:cubicBezTo>
                  <a:pt x="2943173" y="170310"/>
                  <a:pt x="2947395" y="185709"/>
                  <a:pt x="2941378" y="194420"/>
                </a:cubicBezTo>
                <a:cubicBezTo>
                  <a:pt x="2938159" y="199081"/>
                  <a:pt x="2941598" y="202390"/>
                  <a:pt x="2952827" y="205440"/>
                </a:cubicBezTo>
                <a:cubicBezTo>
                  <a:pt x="2965084" y="208769"/>
                  <a:pt x="2970901" y="207145"/>
                  <a:pt x="2977447" y="198569"/>
                </a:cubicBezTo>
                <a:cubicBezTo>
                  <a:pt x="2991133" y="180640"/>
                  <a:pt x="2988109" y="159934"/>
                  <a:pt x="2967852" y="132854"/>
                </a:cubicBezTo>
                <a:cubicBezTo>
                  <a:pt x="2949478" y="108292"/>
                  <a:pt x="2946932" y="88008"/>
                  <a:pt x="2962222" y="88008"/>
                </a:cubicBezTo>
                <a:cubicBezTo>
                  <a:pt x="2970062" y="88008"/>
                  <a:pt x="2985645" y="64023"/>
                  <a:pt x="2985873" y="51606"/>
                </a:cubicBezTo>
                <a:cubicBezTo>
                  <a:pt x="2985960" y="46899"/>
                  <a:pt x="2991929" y="43693"/>
                  <a:pt x="3000606" y="43693"/>
                </a:cubicBezTo>
                <a:cubicBezTo>
                  <a:pt x="3012139" y="43693"/>
                  <a:pt x="3018546" y="49098"/>
                  <a:pt x="3031196" y="69498"/>
                </a:cubicBezTo>
                <a:cubicBezTo>
                  <a:pt x="3045443" y="92473"/>
                  <a:pt x="3047919" y="94259"/>
                  <a:pt x="3053778" y="85778"/>
                </a:cubicBezTo>
                <a:cubicBezTo>
                  <a:pt x="3061714" y="74289"/>
                  <a:pt x="3062205" y="61561"/>
                  <a:pt x="3055111" y="51289"/>
                </a:cubicBezTo>
                <a:cubicBezTo>
                  <a:pt x="3051030" y="45381"/>
                  <a:pt x="3051090" y="41934"/>
                  <a:pt x="3055383" y="35779"/>
                </a:cubicBezTo>
                <a:cubicBezTo>
                  <a:pt x="3059803" y="29442"/>
                  <a:pt x="3061685" y="29872"/>
                  <a:pt x="3064829" y="37931"/>
                </a:cubicBezTo>
                <a:cubicBezTo>
                  <a:pt x="3073651" y="60547"/>
                  <a:pt x="3085007" y="75367"/>
                  <a:pt x="3095119" y="77459"/>
                </a:cubicBezTo>
                <a:cubicBezTo>
                  <a:pt x="3110739" y="80691"/>
                  <a:pt x="3116466" y="97029"/>
                  <a:pt x="3107184" y="111877"/>
                </a:cubicBezTo>
                <a:cubicBezTo>
                  <a:pt x="3099011" y="124950"/>
                  <a:pt x="3097138" y="144986"/>
                  <a:pt x="3104088" y="144986"/>
                </a:cubicBezTo>
                <a:cubicBezTo>
                  <a:pt x="3106492" y="144986"/>
                  <a:pt x="3108461" y="151941"/>
                  <a:pt x="3108461" y="160439"/>
                </a:cubicBezTo>
                <a:cubicBezTo>
                  <a:pt x="3108461" y="168939"/>
                  <a:pt x="3110429" y="177654"/>
                  <a:pt x="3112834" y="179806"/>
                </a:cubicBezTo>
                <a:cubicBezTo>
                  <a:pt x="3115238" y="181958"/>
                  <a:pt x="3117207" y="193663"/>
                  <a:pt x="3117207" y="205817"/>
                </a:cubicBezTo>
                <a:cubicBezTo>
                  <a:pt x="3117207" y="222318"/>
                  <a:pt x="3120918" y="233447"/>
                  <a:pt x="3131860" y="249759"/>
                </a:cubicBezTo>
                <a:cubicBezTo>
                  <a:pt x="3139920" y="261774"/>
                  <a:pt x="3149007" y="271603"/>
                  <a:pt x="3152055" y="271603"/>
                </a:cubicBezTo>
                <a:cubicBezTo>
                  <a:pt x="3155102" y="271603"/>
                  <a:pt x="3164319" y="280150"/>
                  <a:pt x="3172536" y="290596"/>
                </a:cubicBezTo>
                <a:cubicBezTo>
                  <a:pt x="3188581" y="310992"/>
                  <a:pt x="3207725" y="315576"/>
                  <a:pt x="3211850" y="300011"/>
                </a:cubicBezTo>
                <a:cubicBezTo>
                  <a:pt x="3213246" y="294744"/>
                  <a:pt x="3211890" y="286077"/>
                  <a:pt x="3208838" y="280750"/>
                </a:cubicBezTo>
                <a:cubicBezTo>
                  <a:pt x="3201373" y="267728"/>
                  <a:pt x="3210491" y="252182"/>
                  <a:pt x="3218659" y="264006"/>
                </a:cubicBezTo>
                <a:cubicBezTo>
                  <a:pt x="3224862" y="272988"/>
                  <a:pt x="3249230" y="274134"/>
                  <a:pt x="3255173" y="265724"/>
                </a:cubicBezTo>
                <a:cubicBezTo>
                  <a:pt x="3257458" y="262490"/>
                  <a:pt x="3266214" y="258929"/>
                  <a:pt x="3274632" y="257810"/>
                </a:cubicBezTo>
                <a:cubicBezTo>
                  <a:pt x="3287659" y="256079"/>
                  <a:pt x="3290142" y="253185"/>
                  <a:pt x="3291320" y="238366"/>
                </a:cubicBezTo>
                <a:cubicBezTo>
                  <a:pt x="3292306" y="225960"/>
                  <a:pt x="3295174" y="220957"/>
                  <a:pt x="3301297" y="220957"/>
                </a:cubicBezTo>
                <a:cubicBezTo>
                  <a:pt x="3311988" y="220957"/>
                  <a:pt x="3316952" y="203956"/>
                  <a:pt x="3310575" y="189177"/>
                </a:cubicBezTo>
                <a:cubicBezTo>
                  <a:pt x="3306477" y="179673"/>
                  <a:pt x="3307719" y="177506"/>
                  <a:pt x="3319179" y="174188"/>
                </a:cubicBezTo>
                <a:cubicBezTo>
                  <a:pt x="3350857" y="165016"/>
                  <a:pt x="3375209" y="178300"/>
                  <a:pt x="3375209" y="204754"/>
                </a:cubicBezTo>
                <a:cubicBezTo>
                  <a:pt x="3375209" y="212452"/>
                  <a:pt x="3380128" y="225440"/>
                  <a:pt x="3386141" y="233618"/>
                </a:cubicBezTo>
                <a:cubicBezTo>
                  <a:pt x="3392154" y="241796"/>
                  <a:pt x="3397074" y="253213"/>
                  <a:pt x="3397074" y="258990"/>
                </a:cubicBezTo>
                <a:cubicBezTo>
                  <a:pt x="3397074" y="274893"/>
                  <a:pt x="3401750" y="278399"/>
                  <a:pt x="3408988" y="267922"/>
                </a:cubicBezTo>
                <a:cubicBezTo>
                  <a:pt x="3415535" y="258440"/>
                  <a:pt x="3432760" y="261354"/>
                  <a:pt x="3435701" y="272440"/>
                </a:cubicBezTo>
                <a:cubicBezTo>
                  <a:pt x="3436503" y="275462"/>
                  <a:pt x="3441799" y="277934"/>
                  <a:pt x="3447468" y="277934"/>
                </a:cubicBezTo>
                <a:cubicBezTo>
                  <a:pt x="3453139" y="277934"/>
                  <a:pt x="3458994" y="280783"/>
                  <a:pt x="3460481" y="284265"/>
                </a:cubicBezTo>
                <a:cubicBezTo>
                  <a:pt x="3461968" y="287747"/>
                  <a:pt x="3467993" y="290596"/>
                  <a:pt x="3473871" y="290596"/>
                </a:cubicBezTo>
                <a:cubicBezTo>
                  <a:pt x="3482160" y="290596"/>
                  <a:pt x="3486258" y="284916"/>
                  <a:pt x="3492137" y="265273"/>
                </a:cubicBezTo>
                <a:cubicBezTo>
                  <a:pt x="3496304" y="251345"/>
                  <a:pt x="3501176" y="239949"/>
                  <a:pt x="3502962" y="239949"/>
                </a:cubicBezTo>
                <a:cubicBezTo>
                  <a:pt x="3504748" y="239949"/>
                  <a:pt x="3503904" y="232623"/>
                  <a:pt x="3501086" y="223668"/>
                </a:cubicBezTo>
                <a:cubicBezTo>
                  <a:pt x="3497521" y="212342"/>
                  <a:pt x="3497370" y="206081"/>
                  <a:pt x="3500590" y="203093"/>
                </a:cubicBezTo>
                <a:cubicBezTo>
                  <a:pt x="3509297" y="195013"/>
                  <a:pt x="3511914" y="170548"/>
                  <a:pt x="3504512" y="166435"/>
                </a:cubicBezTo>
                <a:cubicBezTo>
                  <a:pt x="3500738" y="164339"/>
                  <a:pt x="3497651" y="156156"/>
                  <a:pt x="3497651" y="148250"/>
                </a:cubicBezTo>
                <a:cubicBezTo>
                  <a:pt x="3497651" y="140344"/>
                  <a:pt x="3494700" y="130329"/>
                  <a:pt x="3491091" y="125994"/>
                </a:cubicBezTo>
                <a:cubicBezTo>
                  <a:pt x="3487483" y="121659"/>
                  <a:pt x="3484532" y="111508"/>
                  <a:pt x="3484532" y="103434"/>
                </a:cubicBezTo>
                <a:cubicBezTo>
                  <a:pt x="3484532" y="95361"/>
                  <a:pt x="3482565" y="86995"/>
                  <a:pt x="3480160" y="84843"/>
                </a:cubicBezTo>
                <a:cubicBezTo>
                  <a:pt x="3477754" y="82691"/>
                  <a:pt x="3475787" y="65734"/>
                  <a:pt x="3475787" y="47161"/>
                </a:cubicBezTo>
                <a:cubicBezTo>
                  <a:pt x="3475787" y="22209"/>
                  <a:pt x="3477593" y="12390"/>
                  <a:pt x="3482704" y="9550"/>
                </a:cubicBezTo>
                <a:cubicBezTo>
                  <a:pt x="3487246" y="7027"/>
                  <a:pt x="3489200" y="5620"/>
                  <a:pt x="3491456" y="6650"/>
                </a:cubicBezTo>
                <a:close/>
                <a:moveTo>
                  <a:pt x="3226906" y="1812"/>
                </a:moveTo>
                <a:cubicBezTo>
                  <a:pt x="3239673" y="-1245"/>
                  <a:pt x="3244752" y="962"/>
                  <a:pt x="3254236" y="13687"/>
                </a:cubicBezTo>
                <a:cubicBezTo>
                  <a:pt x="3260643" y="22284"/>
                  <a:pt x="3265886" y="31224"/>
                  <a:pt x="3265886" y="33553"/>
                </a:cubicBezTo>
                <a:cubicBezTo>
                  <a:pt x="3265886" y="35882"/>
                  <a:pt x="3260213" y="45816"/>
                  <a:pt x="3253280" y="55628"/>
                </a:cubicBezTo>
                <a:cubicBezTo>
                  <a:pt x="3237852" y="77461"/>
                  <a:pt x="3214386" y="85952"/>
                  <a:pt x="3207342" y="72250"/>
                </a:cubicBezTo>
                <a:cubicBezTo>
                  <a:pt x="3202496" y="62824"/>
                  <a:pt x="3163632" y="56671"/>
                  <a:pt x="3158240" y="64477"/>
                </a:cubicBezTo>
                <a:cubicBezTo>
                  <a:pt x="3156779" y="66593"/>
                  <a:pt x="3155075" y="77738"/>
                  <a:pt x="3154454" y="89245"/>
                </a:cubicBezTo>
                <a:cubicBezTo>
                  <a:pt x="3153386" y="109054"/>
                  <a:pt x="3144752" y="119445"/>
                  <a:pt x="3137765" y="109330"/>
                </a:cubicBezTo>
                <a:cubicBezTo>
                  <a:pt x="3133071" y="102536"/>
                  <a:pt x="3134120" y="81678"/>
                  <a:pt x="3139154" y="81678"/>
                </a:cubicBezTo>
                <a:cubicBezTo>
                  <a:pt x="3141720" y="81678"/>
                  <a:pt x="3142451" y="74986"/>
                  <a:pt x="3140877" y="65909"/>
                </a:cubicBezTo>
                <a:cubicBezTo>
                  <a:pt x="3138806" y="53957"/>
                  <a:pt x="3140109" y="49249"/>
                  <a:pt x="3146260" y="46455"/>
                </a:cubicBezTo>
                <a:cubicBezTo>
                  <a:pt x="3150724" y="44427"/>
                  <a:pt x="3157793" y="40127"/>
                  <a:pt x="3161969" y="36900"/>
                </a:cubicBezTo>
                <a:cubicBezTo>
                  <a:pt x="3166146" y="33671"/>
                  <a:pt x="3172542" y="31031"/>
                  <a:pt x="3176182" y="31031"/>
                </a:cubicBezTo>
                <a:cubicBezTo>
                  <a:pt x="3179885" y="31031"/>
                  <a:pt x="3182801" y="25454"/>
                  <a:pt x="3182801" y="18369"/>
                </a:cubicBezTo>
                <a:cubicBezTo>
                  <a:pt x="3182801" y="8319"/>
                  <a:pt x="3185731" y="5693"/>
                  <a:pt x="3197012" y="5637"/>
                </a:cubicBezTo>
                <a:cubicBezTo>
                  <a:pt x="3204829" y="5599"/>
                  <a:pt x="3218281" y="3878"/>
                  <a:pt x="3226906" y="1812"/>
                </a:cubicBezTo>
                <a:close/>
                <a:moveTo>
                  <a:pt x="3353505" y="1044"/>
                </a:moveTo>
                <a:cubicBezTo>
                  <a:pt x="3365314" y="-3635"/>
                  <a:pt x="3365622" y="6767"/>
                  <a:pt x="3364731" y="45612"/>
                </a:cubicBezTo>
                <a:cubicBezTo>
                  <a:pt x="3364148" y="71042"/>
                  <a:pt x="3362215" y="95257"/>
                  <a:pt x="3360436" y="99424"/>
                </a:cubicBezTo>
                <a:cubicBezTo>
                  <a:pt x="3356504" y="108635"/>
                  <a:pt x="3346119" y="109352"/>
                  <a:pt x="3342412" y="100670"/>
                </a:cubicBezTo>
                <a:cubicBezTo>
                  <a:pt x="3340926" y="97188"/>
                  <a:pt x="3335147" y="94339"/>
                  <a:pt x="3329571" y="94339"/>
                </a:cubicBezTo>
                <a:cubicBezTo>
                  <a:pt x="3323994" y="94339"/>
                  <a:pt x="3316982" y="90066"/>
                  <a:pt x="3313988" y="84843"/>
                </a:cubicBezTo>
                <a:cubicBezTo>
                  <a:pt x="3310993" y="79620"/>
                  <a:pt x="3304850" y="75347"/>
                  <a:pt x="3300334" y="75347"/>
                </a:cubicBezTo>
                <a:cubicBezTo>
                  <a:pt x="3295819" y="75347"/>
                  <a:pt x="3292124" y="73173"/>
                  <a:pt x="3292124" y="70517"/>
                </a:cubicBezTo>
                <a:cubicBezTo>
                  <a:pt x="3292124" y="67861"/>
                  <a:pt x="3287696" y="62875"/>
                  <a:pt x="3282285" y="59438"/>
                </a:cubicBezTo>
                <a:cubicBezTo>
                  <a:pt x="3264498" y="48141"/>
                  <a:pt x="3270499" y="34725"/>
                  <a:pt x="3296497" y="27663"/>
                </a:cubicBezTo>
                <a:cubicBezTo>
                  <a:pt x="3309725" y="24071"/>
                  <a:pt x="3328167" y="16237"/>
                  <a:pt x="3337481" y="10254"/>
                </a:cubicBezTo>
                <a:cubicBezTo>
                  <a:pt x="3344354" y="5839"/>
                  <a:pt x="3349568" y="2604"/>
                  <a:pt x="3353505" y="1044"/>
                </a:cubicBezTo>
                <a:close/>
              </a:path>
            </a:pathLst>
          </a:custGeom>
        </p:spPr>
        <p:txBody>
          <a:bodyPr wrap="square">
            <a:noAutofit/>
          </a:bodyPr>
          <a:lstStyle/>
          <a:p>
            <a:endParaRPr lang="en-IN" dirty="0"/>
          </a:p>
        </p:txBody>
      </p:sp>
      <p:sp>
        <p:nvSpPr>
          <p:cNvPr id="7" name="Picture Placeholder 6">
            <a:extLst>
              <a:ext uri="{FF2B5EF4-FFF2-40B4-BE49-F238E27FC236}">
                <a16:creationId xmlns:a16="http://schemas.microsoft.com/office/drawing/2014/main" id="{3E86913D-F332-4783-9B12-4EF51C2AF0E0}"/>
              </a:ext>
            </a:extLst>
          </p:cNvPr>
          <p:cNvSpPr>
            <a:spLocks noGrp="1"/>
          </p:cNvSpPr>
          <p:nvPr>
            <p:ph type="pic" sz="quarter" idx="15"/>
          </p:nvPr>
        </p:nvSpPr>
        <p:spPr>
          <a:xfrm>
            <a:off x="8123441" y="1405755"/>
            <a:ext cx="3030631" cy="3017293"/>
          </a:xfrm>
          <a:custGeom>
            <a:avLst/>
            <a:gdLst>
              <a:gd name="connsiteX0" fmla="*/ 1260900 w 4545947"/>
              <a:gd name="connsiteY0" fmla="*/ 4513278 h 4525940"/>
              <a:gd name="connsiteX1" fmla="*/ 1267459 w 4545947"/>
              <a:gd name="connsiteY1" fmla="*/ 4519609 h 4525940"/>
              <a:gd name="connsiteX2" fmla="*/ 1260900 w 4545947"/>
              <a:gd name="connsiteY2" fmla="*/ 4525940 h 4525940"/>
              <a:gd name="connsiteX3" fmla="*/ 1254340 w 4545947"/>
              <a:gd name="connsiteY3" fmla="*/ 4519609 h 4525940"/>
              <a:gd name="connsiteX4" fmla="*/ 1260900 w 4545947"/>
              <a:gd name="connsiteY4" fmla="*/ 4513278 h 4525940"/>
              <a:gd name="connsiteX5" fmla="*/ 1096915 w 4545947"/>
              <a:gd name="connsiteY5" fmla="*/ 4392992 h 4525940"/>
              <a:gd name="connsiteX6" fmla="*/ 1101288 w 4545947"/>
              <a:gd name="connsiteY6" fmla="*/ 4402488 h 4525940"/>
              <a:gd name="connsiteX7" fmla="*/ 1096915 w 4545947"/>
              <a:gd name="connsiteY7" fmla="*/ 4411984 h 4525940"/>
              <a:gd name="connsiteX8" fmla="*/ 1092542 w 4545947"/>
              <a:gd name="connsiteY8" fmla="*/ 4402488 h 4525940"/>
              <a:gd name="connsiteX9" fmla="*/ 1096915 w 4545947"/>
              <a:gd name="connsiteY9" fmla="*/ 4392992 h 4525940"/>
              <a:gd name="connsiteX10" fmla="*/ 3812502 w 4545947"/>
              <a:gd name="connsiteY10" fmla="*/ 4386661 h 4525940"/>
              <a:gd name="connsiteX11" fmla="*/ 3816875 w 4545947"/>
              <a:gd name="connsiteY11" fmla="*/ 4392992 h 4525940"/>
              <a:gd name="connsiteX12" fmla="*/ 3812502 w 4545947"/>
              <a:gd name="connsiteY12" fmla="*/ 4399322 h 4525940"/>
              <a:gd name="connsiteX13" fmla="*/ 3808129 w 4545947"/>
              <a:gd name="connsiteY13" fmla="*/ 4392992 h 4525940"/>
              <a:gd name="connsiteX14" fmla="*/ 3812502 w 4545947"/>
              <a:gd name="connsiteY14" fmla="*/ 4386661 h 4525940"/>
              <a:gd name="connsiteX15" fmla="*/ 972287 w 4545947"/>
              <a:gd name="connsiteY15" fmla="*/ 4355006 h 4525940"/>
              <a:gd name="connsiteX16" fmla="*/ 978846 w 4545947"/>
              <a:gd name="connsiteY16" fmla="*/ 4364503 h 4525940"/>
              <a:gd name="connsiteX17" fmla="*/ 972287 w 4545947"/>
              <a:gd name="connsiteY17" fmla="*/ 4373999 h 4525940"/>
              <a:gd name="connsiteX18" fmla="*/ 965727 w 4545947"/>
              <a:gd name="connsiteY18" fmla="*/ 4364503 h 4525940"/>
              <a:gd name="connsiteX19" fmla="*/ 972287 w 4545947"/>
              <a:gd name="connsiteY19" fmla="*/ 4355006 h 4525940"/>
              <a:gd name="connsiteX20" fmla="*/ 3695599 w 4545947"/>
              <a:gd name="connsiteY20" fmla="*/ 4285367 h 4525940"/>
              <a:gd name="connsiteX21" fmla="*/ 3704795 w 4545947"/>
              <a:gd name="connsiteY21" fmla="*/ 4299611 h 4525940"/>
              <a:gd name="connsiteX22" fmla="*/ 3703751 w 4545947"/>
              <a:gd name="connsiteY22" fmla="*/ 4355006 h 4525940"/>
              <a:gd name="connsiteX23" fmla="*/ 3697362 w 4545947"/>
              <a:gd name="connsiteY23" fmla="*/ 4334431 h 4525940"/>
              <a:gd name="connsiteX24" fmla="*/ 3691906 w 4545947"/>
              <a:gd name="connsiteY24" fmla="*/ 4299611 h 4525940"/>
              <a:gd name="connsiteX25" fmla="*/ 3695599 w 4545947"/>
              <a:gd name="connsiteY25" fmla="*/ 4285367 h 4525940"/>
              <a:gd name="connsiteX26" fmla="*/ 3791489 w 4545947"/>
              <a:gd name="connsiteY26" fmla="*/ 4247982 h 4525940"/>
              <a:gd name="connsiteX27" fmla="*/ 3797678 w 4545947"/>
              <a:gd name="connsiteY27" fmla="*/ 4254863 h 4525940"/>
              <a:gd name="connsiteX28" fmla="*/ 3802997 w 4545947"/>
              <a:gd name="connsiteY28" fmla="*/ 4279809 h 4525940"/>
              <a:gd name="connsiteX29" fmla="*/ 3793855 w 4545947"/>
              <a:gd name="connsiteY29" fmla="*/ 4273261 h 4525940"/>
              <a:gd name="connsiteX30" fmla="*/ 3791489 w 4545947"/>
              <a:gd name="connsiteY30" fmla="*/ 4247982 h 4525940"/>
              <a:gd name="connsiteX31" fmla="*/ 932930 w 4545947"/>
              <a:gd name="connsiteY31" fmla="*/ 4222058 h 4525940"/>
              <a:gd name="connsiteX32" fmla="*/ 939490 w 4545947"/>
              <a:gd name="connsiteY32" fmla="*/ 4234720 h 4525940"/>
              <a:gd name="connsiteX33" fmla="*/ 932930 w 4545947"/>
              <a:gd name="connsiteY33" fmla="*/ 4247382 h 4525940"/>
              <a:gd name="connsiteX34" fmla="*/ 926371 w 4545947"/>
              <a:gd name="connsiteY34" fmla="*/ 4234720 h 4525940"/>
              <a:gd name="connsiteX35" fmla="*/ 932930 w 4545947"/>
              <a:gd name="connsiteY35" fmla="*/ 4222058 h 4525940"/>
              <a:gd name="connsiteX36" fmla="*/ 1267119 w 4545947"/>
              <a:gd name="connsiteY36" fmla="*/ 4212536 h 4525940"/>
              <a:gd name="connsiteX37" fmla="*/ 1271832 w 4545947"/>
              <a:gd name="connsiteY37" fmla="*/ 4222432 h 4525940"/>
              <a:gd name="connsiteX38" fmla="*/ 1259340 w 4545947"/>
              <a:gd name="connsiteY38" fmla="*/ 4222753 h 4525940"/>
              <a:gd name="connsiteX39" fmla="*/ 1258247 w 4545947"/>
              <a:gd name="connsiteY39" fmla="*/ 4212980 h 4525940"/>
              <a:gd name="connsiteX40" fmla="*/ 1267119 w 4545947"/>
              <a:gd name="connsiteY40" fmla="*/ 4212536 h 4525940"/>
              <a:gd name="connsiteX41" fmla="*/ 3606974 w 4545947"/>
              <a:gd name="connsiteY41" fmla="*/ 4158750 h 4525940"/>
              <a:gd name="connsiteX42" fmla="*/ 3611347 w 4545947"/>
              <a:gd name="connsiteY42" fmla="*/ 4165081 h 4525940"/>
              <a:gd name="connsiteX43" fmla="*/ 3606974 w 4545947"/>
              <a:gd name="connsiteY43" fmla="*/ 4171411 h 4525940"/>
              <a:gd name="connsiteX44" fmla="*/ 3602601 w 4545947"/>
              <a:gd name="connsiteY44" fmla="*/ 4165081 h 4525940"/>
              <a:gd name="connsiteX45" fmla="*/ 3606974 w 4545947"/>
              <a:gd name="connsiteY45" fmla="*/ 4158750 h 4525940"/>
              <a:gd name="connsiteX46" fmla="*/ 1253971 w 4545947"/>
              <a:gd name="connsiteY46" fmla="*/ 4155079 h 4525940"/>
              <a:gd name="connsiteX47" fmla="*/ 1263086 w 4545947"/>
              <a:gd name="connsiteY47" fmla="*/ 4181282 h 4525940"/>
              <a:gd name="connsiteX48" fmla="*/ 1254814 w 4545947"/>
              <a:gd name="connsiteY48" fmla="*/ 4203066 h 4525940"/>
              <a:gd name="connsiteX49" fmla="*/ 1243753 w 4545947"/>
              <a:gd name="connsiteY49" fmla="*/ 4186974 h 4525940"/>
              <a:gd name="connsiteX50" fmla="*/ 1247618 w 4545947"/>
              <a:gd name="connsiteY50" fmla="*/ 4161246 h 4525940"/>
              <a:gd name="connsiteX51" fmla="*/ 1253971 w 4545947"/>
              <a:gd name="connsiteY51" fmla="*/ 4155079 h 4525940"/>
              <a:gd name="connsiteX52" fmla="*/ 2452780 w 4545947"/>
              <a:gd name="connsiteY52" fmla="*/ 4146088 h 4525940"/>
              <a:gd name="connsiteX53" fmla="*/ 2456895 w 4545947"/>
              <a:gd name="connsiteY53" fmla="*/ 4155585 h 4525940"/>
              <a:gd name="connsiteX54" fmla="*/ 2446810 w 4545947"/>
              <a:gd name="connsiteY54" fmla="*/ 4161032 h 4525940"/>
              <a:gd name="connsiteX55" fmla="*/ 2452780 w 4545947"/>
              <a:gd name="connsiteY55" fmla="*/ 4146088 h 4525940"/>
              <a:gd name="connsiteX56" fmla="*/ 3700993 w 4545947"/>
              <a:gd name="connsiteY56" fmla="*/ 4127095 h 4525940"/>
              <a:gd name="connsiteX57" fmla="*/ 3707552 w 4545947"/>
              <a:gd name="connsiteY57" fmla="*/ 4136592 h 4525940"/>
              <a:gd name="connsiteX58" fmla="*/ 3697347 w 4545947"/>
              <a:gd name="connsiteY58" fmla="*/ 4141867 h 4525940"/>
              <a:gd name="connsiteX59" fmla="*/ 3700993 w 4545947"/>
              <a:gd name="connsiteY59" fmla="*/ 4127095 h 4525940"/>
              <a:gd name="connsiteX60" fmla="*/ 879089 w 4545947"/>
              <a:gd name="connsiteY60" fmla="*/ 4115046 h 4525940"/>
              <a:gd name="connsiteX61" fmla="*/ 887014 w 4545947"/>
              <a:gd name="connsiteY61" fmla="*/ 4127095 h 4525940"/>
              <a:gd name="connsiteX62" fmla="*/ 877084 w 4545947"/>
              <a:gd name="connsiteY62" fmla="*/ 4132845 h 4525940"/>
              <a:gd name="connsiteX63" fmla="*/ 871875 w 4545947"/>
              <a:gd name="connsiteY63" fmla="*/ 4120376 h 4525940"/>
              <a:gd name="connsiteX64" fmla="*/ 879089 w 4545947"/>
              <a:gd name="connsiteY64" fmla="*/ 4115046 h 4525940"/>
              <a:gd name="connsiteX65" fmla="*/ 1862177 w 4545947"/>
              <a:gd name="connsiteY65" fmla="*/ 4108103 h 4525940"/>
              <a:gd name="connsiteX66" fmla="*/ 1866550 w 4545947"/>
              <a:gd name="connsiteY66" fmla="*/ 4114434 h 4525940"/>
              <a:gd name="connsiteX67" fmla="*/ 1862177 w 4545947"/>
              <a:gd name="connsiteY67" fmla="*/ 4120765 h 4525940"/>
              <a:gd name="connsiteX68" fmla="*/ 1857804 w 4545947"/>
              <a:gd name="connsiteY68" fmla="*/ 4114434 h 4525940"/>
              <a:gd name="connsiteX69" fmla="*/ 1862177 w 4545947"/>
              <a:gd name="connsiteY69" fmla="*/ 4108103 h 4525940"/>
              <a:gd name="connsiteX70" fmla="*/ 1183790 w 4545947"/>
              <a:gd name="connsiteY70" fmla="*/ 4089207 h 4525940"/>
              <a:gd name="connsiteX71" fmla="*/ 1177152 w 4545947"/>
              <a:gd name="connsiteY71" fmla="*/ 4126770 h 4525940"/>
              <a:gd name="connsiteX72" fmla="*/ 1180982 w 4545947"/>
              <a:gd name="connsiteY72" fmla="*/ 4116926 h 4525940"/>
              <a:gd name="connsiteX73" fmla="*/ 1184868 w 4545947"/>
              <a:gd name="connsiteY73" fmla="*/ 4094865 h 4525940"/>
              <a:gd name="connsiteX74" fmla="*/ 1183790 w 4545947"/>
              <a:gd name="connsiteY74" fmla="*/ 4089207 h 4525940"/>
              <a:gd name="connsiteX75" fmla="*/ 1852771 w 4545947"/>
              <a:gd name="connsiteY75" fmla="*/ 4080379 h 4525940"/>
              <a:gd name="connsiteX76" fmla="*/ 1859380 w 4545947"/>
              <a:gd name="connsiteY76" fmla="*/ 4080841 h 4525940"/>
              <a:gd name="connsiteX77" fmla="*/ 1858062 w 4545947"/>
              <a:gd name="connsiteY77" fmla="*/ 4095441 h 4525940"/>
              <a:gd name="connsiteX78" fmla="*/ 1851431 w 4545947"/>
              <a:gd name="connsiteY78" fmla="*/ 4089548 h 4525940"/>
              <a:gd name="connsiteX79" fmla="*/ 1852771 w 4545947"/>
              <a:gd name="connsiteY79" fmla="*/ 4080379 h 4525940"/>
              <a:gd name="connsiteX80" fmla="*/ 3747913 w 4545947"/>
              <a:gd name="connsiteY80" fmla="*/ 4076860 h 4525940"/>
              <a:gd name="connsiteX81" fmla="*/ 3759152 w 4545947"/>
              <a:gd name="connsiteY81" fmla="*/ 4084046 h 4525940"/>
              <a:gd name="connsiteX82" fmla="*/ 3756383 w 4545947"/>
              <a:gd name="connsiteY82" fmla="*/ 4108103 h 4525940"/>
              <a:gd name="connsiteX83" fmla="*/ 3745450 w 4545947"/>
              <a:gd name="connsiteY83" fmla="*/ 4103882 h 4525940"/>
              <a:gd name="connsiteX84" fmla="*/ 3742535 w 4545947"/>
              <a:gd name="connsiteY84" fmla="*/ 4088055 h 4525940"/>
              <a:gd name="connsiteX85" fmla="*/ 3747913 w 4545947"/>
              <a:gd name="connsiteY85" fmla="*/ 4076860 h 4525940"/>
              <a:gd name="connsiteX86" fmla="*/ 1114457 w 4545947"/>
              <a:gd name="connsiteY86" fmla="*/ 4072746 h 4525940"/>
              <a:gd name="connsiteX87" fmla="*/ 1107340 w 4545947"/>
              <a:gd name="connsiteY87" fmla="*/ 4105307 h 4525940"/>
              <a:gd name="connsiteX88" fmla="*/ 1117549 w 4545947"/>
              <a:gd name="connsiteY88" fmla="*/ 4113700 h 4525940"/>
              <a:gd name="connsiteX89" fmla="*/ 1117687 w 4545947"/>
              <a:gd name="connsiteY89" fmla="*/ 4110070 h 4525940"/>
              <a:gd name="connsiteX90" fmla="*/ 1115500 w 4545947"/>
              <a:gd name="connsiteY90" fmla="*/ 4074720 h 4525940"/>
              <a:gd name="connsiteX91" fmla="*/ 1114457 w 4545947"/>
              <a:gd name="connsiteY91" fmla="*/ 4072746 h 4525940"/>
              <a:gd name="connsiteX92" fmla="*/ 2356317 w 4545947"/>
              <a:gd name="connsiteY92" fmla="*/ 4044794 h 4525940"/>
              <a:gd name="connsiteX93" fmla="*/ 2360690 w 4545947"/>
              <a:gd name="connsiteY93" fmla="*/ 4050752 h 4525940"/>
              <a:gd name="connsiteX94" fmla="*/ 2356317 w 4545947"/>
              <a:gd name="connsiteY94" fmla="*/ 4060622 h 4525940"/>
              <a:gd name="connsiteX95" fmla="*/ 2351944 w 4545947"/>
              <a:gd name="connsiteY95" fmla="*/ 4054664 h 4525940"/>
              <a:gd name="connsiteX96" fmla="*/ 2356317 w 4545947"/>
              <a:gd name="connsiteY96" fmla="*/ 4044794 h 4525940"/>
              <a:gd name="connsiteX97" fmla="*/ 1890281 w 4545947"/>
              <a:gd name="connsiteY97" fmla="*/ 4038463 h 4525940"/>
              <a:gd name="connsiteX98" fmla="*/ 1903064 w 4545947"/>
              <a:gd name="connsiteY98" fmla="*/ 4057456 h 4525940"/>
              <a:gd name="connsiteX99" fmla="*/ 1908851 w 4545947"/>
              <a:gd name="connsiteY99" fmla="*/ 4075870 h 4525940"/>
              <a:gd name="connsiteX100" fmla="*/ 1896075 w 4545947"/>
              <a:gd name="connsiteY100" fmla="*/ 4064790 h 4525940"/>
              <a:gd name="connsiteX101" fmla="*/ 1890281 w 4545947"/>
              <a:gd name="connsiteY101" fmla="*/ 4038463 h 4525940"/>
              <a:gd name="connsiteX102" fmla="*/ 1534930 w 4545947"/>
              <a:gd name="connsiteY102" fmla="*/ 4031057 h 4525940"/>
              <a:gd name="connsiteX103" fmla="*/ 1547326 w 4545947"/>
              <a:gd name="connsiteY103" fmla="*/ 4034071 h 4525940"/>
              <a:gd name="connsiteX104" fmla="*/ 1556559 w 4545947"/>
              <a:gd name="connsiteY104" fmla="*/ 4057456 h 4525940"/>
              <a:gd name="connsiteX105" fmla="*/ 1556072 w 4545947"/>
              <a:gd name="connsiteY105" fmla="*/ 4082779 h 4525940"/>
              <a:gd name="connsiteX106" fmla="*/ 1569191 w 4545947"/>
              <a:gd name="connsiteY106" fmla="*/ 4122875 h 4525940"/>
              <a:gd name="connsiteX107" fmla="*/ 1577937 w 4545947"/>
              <a:gd name="connsiteY107" fmla="*/ 4146088 h 4525940"/>
              <a:gd name="connsiteX108" fmla="*/ 1586682 w 4545947"/>
              <a:gd name="connsiteY108" fmla="*/ 4168537 h 4525940"/>
              <a:gd name="connsiteX109" fmla="*/ 1593242 w 4545947"/>
              <a:gd name="connsiteY109" fmla="*/ 4180031 h 4525940"/>
              <a:gd name="connsiteX110" fmla="*/ 1596521 w 4545947"/>
              <a:gd name="connsiteY110" fmla="*/ 4203041 h 4525940"/>
              <a:gd name="connsiteX111" fmla="*/ 1561308 w 4545947"/>
              <a:gd name="connsiteY111" fmla="*/ 4157141 h 4525940"/>
              <a:gd name="connsiteX112" fmla="*/ 1521156 w 4545947"/>
              <a:gd name="connsiteY112" fmla="*/ 4087528 h 4525940"/>
              <a:gd name="connsiteX113" fmla="*/ 1535320 w 4545947"/>
              <a:gd name="connsiteY113" fmla="*/ 4090693 h 4525940"/>
              <a:gd name="connsiteX114" fmla="*/ 1540362 w 4545947"/>
              <a:gd name="connsiteY114" fmla="*/ 4074041 h 4525940"/>
              <a:gd name="connsiteX115" fmla="*/ 1538885 w 4545947"/>
              <a:gd name="connsiteY115" fmla="*/ 4042703 h 4525940"/>
              <a:gd name="connsiteX116" fmla="*/ 1534930 w 4545947"/>
              <a:gd name="connsiteY116" fmla="*/ 4031057 h 4525940"/>
              <a:gd name="connsiteX117" fmla="*/ 843613 w 4545947"/>
              <a:gd name="connsiteY117" fmla="*/ 4027015 h 4525940"/>
              <a:gd name="connsiteX118" fmla="*/ 848314 w 4545947"/>
              <a:gd name="connsiteY118" fmla="*/ 4035298 h 4525940"/>
              <a:gd name="connsiteX119" fmla="*/ 843613 w 4545947"/>
              <a:gd name="connsiteY119" fmla="*/ 4043581 h 4525940"/>
              <a:gd name="connsiteX120" fmla="*/ 838912 w 4545947"/>
              <a:gd name="connsiteY120" fmla="*/ 4035298 h 4525940"/>
              <a:gd name="connsiteX121" fmla="*/ 843613 w 4545947"/>
              <a:gd name="connsiteY121" fmla="*/ 4027015 h 4525940"/>
              <a:gd name="connsiteX122" fmla="*/ 2342527 w 4545947"/>
              <a:gd name="connsiteY122" fmla="*/ 4008437 h 4525940"/>
              <a:gd name="connsiteX123" fmla="*/ 2347571 w 4545947"/>
              <a:gd name="connsiteY123" fmla="*/ 4015778 h 4525940"/>
              <a:gd name="connsiteX124" fmla="*/ 2340648 w 4545947"/>
              <a:gd name="connsiteY124" fmla="*/ 4025802 h 4525940"/>
              <a:gd name="connsiteX125" fmla="*/ 2335455 w 4545947"/>
              <a:gd name="connsiteY125" fmla="*/ 4018284 h 4525940"/>
              <a:gd name="connsiteX126" fmla="*/ 2342527 w 4545947"/>
              <a:gd name="connsiteY126" fmla="*/ 4008437 h 4525940"/>
              <a:gd name="connsiteX127" fmla="*/ 3724941 w 4545947"/>
              <a:gd name="connsiteY127" fmla="*/ 4000570 h 4525940"/>
              <a:gd name="connsiteX128" fmla="*/ 3742535 w 4545947"/>
              <a:gd name="connsiteY128" fmla="*/ 4019019 h 4525940"/>
              <a:gd name="connsiteX129" fmla="*/ 3724767 w 4545947"/>
              <a:gd name="connsiteY129" fmla="*/ 4015823 h 4525940"/>
              <a:gd name="connsiteX130" fmla="*/ 3724941 w 4545947"/>
              <a:gd name="connsiteY130" fmla="*/ 4000570 h 4525940"/>
              <a:gd name="connsiteX131" fmla="*/ 1367217 w 4545947"/>
              <a:gd name="connsiteY131" fmla="*/ 3939176 h 4525940"/>
              <a:gd name="connsiteX132" fmla="*/ 1375598 w 4545947"/>
              <a:gd name="connsiteY132" fmla="*/ 3939675 h 4525940"/>
              <a:gd name="connsiteX133" fmla="*/ 1369858 w 4545947"/>
              <a:gd name="connsiteY133" fmla="*/ 3943001 h 4525940"/>
              <a:gd name="connsiteX134" fmla="*/ 1367216 w 4545947"/>
              <a:gd name="connsiteY134" fmla="*/ 3939176 h 4525940"/>
              <a:gd name="connsiteX135" fmla="*/ 1367217 w 4545947"/>
              <a:gd name="connsiteY135" fmla="*/ 3939176 h 4525940"/>
              <a:gd name="connsiteX136" fmla="*/ 1367216 w 4545947"/>
              <a:gd name="connsiteY136" fmla="*/ 3939176 h 4525940"/>
              <a:gd name="connsiteX137" fmla="*/ 2495323 w 4545947"/>
              <a:gd name="connsiteY137" fmla="*/ 3937371 h 4525940"/>
              <a:gd name="connsiteX138" fmla="*/ 2506090 w 4545947"/>
              <a:gd name="connsiteY138" fmla="*/ 3945983 h 4525940"/>
              <a:gd name="connsiteX139" fmla="*/ 2508860 w 4545947"/>
              <a:gd name="connsiteY139" fmla="*/ 3987817 h 4525940"/>
              <a:gd name="connsiteX140" fmla="*/ 2506067 w 4545947"/>
              <a:gd name="connsiteY140" fmla="*/ 4003644 h 4525940"/>
              <a:gd name="connsiteX141" fmla="*/ 2494768 w 4545947"/>
              <a:gd name="connsiteY141" fmla="*/ 4014723 h 4525940"/>
              <a:gd name="connsiteX142" fmla="*/ 2495323 w 4545947"/>
              <a:gd name="connsiteY142" fmla="*/ 3937371 h 4525940"/>
              <a:gd name="connsiteX143" fmla="*/ 3895920 w 4545947"/>
              <a:gd name="connsiteY143" fmla="*/ 3935463 h 4525940"/>
              <a:gd name="connsiteX144" fmla="*/ 3899960 w 4545947"/>
              <a:gd name="connsiteY144" fmla="*/ 3959837 h 4525940"/>
              <a:gd name="connsiteX145" fmla="*/ 3911406 w 4545947"/>
              <a:gd name="connsiteY145" fmla="*/ 3989307 h 4525940"/>
              <a:gd name="connsiteX146" fmla="*/ 3930692 w 4545947"/>
              <a:gd name="connsiteY146" fmla="*/ 3982841 h 4525940"/>
              <a:gd name="connsiteX147" fmla="*/ 3949909 w 4545947"/>
              <a:gd name="connsiteY147" fmla="*/ 3984943 h 4525940"/>
              <a:gd name="connsiteX148" fmla="*/ 3939464 w 4545947"/>
              <a:gd name="connsiteY148" fmla="*/ 4010043 h 4525940"/>
              <a:gd name="connsiteX149" fmla="*/ 3929769 w 4545947"/>
              <a:gd name="connsiteY149" fmla="*/ 4024499 h 4525940"/>
              <a:gd name="connsiteX150" fmla="*/ 3933346 w 4545947"/>
              <a:gd name="connsiteY150" fmla="*/ 4049881 h 4525940"/>
              <a:gd name="connsiteX151" fmla="*/ 3940956 w 4545947"/>
              <a:gd name="connsiteY151" fmla="*/ 4120846 h 4525940"/>
              <a:gd name="connsiteX152" fmla="*/ 3929478 w 4545947"/>
              <a:gd name="connsiteY152" fmla="*/ 4120056 h 4525940"/>
              <a:gd name="connsiteX153" fmla="*/ 3921825 w 4545947"/>
              <a:gd name="connsiteY153" fmla="*/ 4086004 h 4525940"/>
              <a:gd name="connsiteX154" fmla="*/ 3917386 w 4545947"/>
              <a:gd name="connsiteY154" fmla="*/ 4054232 h 4525940"/>
              <a:gd name="connsiteX155" fmla="*/ 3906676 w 4545947"/>
              <a:gd name="connsiteY155" fmla="*/ 4028534 h 4525940"/>
              <a:gd name="connsiteX156" fmla="*/ 3891911 w 4545947"/>
              <a:gd name="connsiteY156" fmla="*/ 4006809 h 4525940"/>
              <a:gd name="connsiteX157" fmla="*/ 3885345 w 4545947"/>
              <a:gd name="connsiteY157" fmla="*/ 3953575 h 4525940"/>
              <a:gd name="connsiteX158" fmla="*/ 3895920 w 4545947"/>
              <a:gd name="connsiteY158" fmla="*/ 3935463 h 4525940"/>
              <a:gd name="connsiteX159" fmla="*/ 2337188 w 4545947"/>
              <a:gd name="connsiteY159" fmla="*/ 3930839 h 4525940"/>
              <a:gd name="connsiteX160" fmla="*/ 2342396 w 4545947"/>
              <a:gd name="connsiteY160" fmla="*/ 3947761 h 4525940"/>
              <a:gd name="connsiteX161" fmla="*/ 2327982 w 4545947"/>
              <a:gd name="connsiteY161" fmla="*/ 3956568 h 4525940"/>
              <a:gd name="connsiteX162" fmla="*/ 2337188 w 4545947"/>
              <a:gd name="connsiteY162" fmla="*/ 3930839 h 4525940"/>
              <a:gd name="connsiteX163" fmla="*/ 2224989 w 4545947"/>
              <a:gd name="connsiteY163" fmla="*/ 3912997 h 4525940"/>
              <a:gd name="connsiteX164" fmla="*/ 2230083 w 4545947"/>
              <a:gd name="connsiteY164" fmla="*/ 3916486 h 4525940"/>
              <a:gd name="connsiteX165" fmla="*/ 2225735 w 4545947"/>
              <a:gd name="connsiteY165" fmla="*/ 3943501 h 4525940"/>
              <a:gd name="connsiteX166" fmla="*/ 2218895 w 4545947"/>
              <a:gd name="connsiteY166" fmla="*/ 3932946 h 4525940"/>
              <a:gd name="connsiteX167" fmla="*/ 2224989 w 4545947"/>
              <a:gd name="connsiteY167" fmla="*/ 3912997 h 4525940"/>
              <a:gd name="connsiteX168" fmla="*/ 1388112 w 4545947"/>
              <a:gd name="connsiteY168" fmla="*/ 3908577 h 4525940"/>
              <a:gd name="connsiteX169" fmla="*/ 1380454 w 4545947"/>
              <a:gd name="connsiteY169" fmla="*/ 3917982 h 4525940"/>
              <a:gd name="connsiteX170" fmla="*/ 1363663 w 4545947"/>
              <a:gd name="connsiteY170" fmla="*/ 3924107 h 4525940"/>
              <a:gd name="connsiteX171" fmla="*/ 1349452 w 4545947"/>
              <a:gd name="connsiteY171" fmla="*/ 3919359 h 4525940"/>
              <a:gd name="connsiteX172" fmla="*/ 1335239 w 4545947"/>
              <a:gd name="connsiteY172" fmla="*/ 3936885 h 4525940"/>
              <a:gd name="connsiteX173" fmla="*/ 1346172 w 4545947"/>
              <a:gd name="connsiteY173" fmla="*/ 3956132 h 4525940"/>
              <a:gd name="connsiteX174" fmla="*/ 1361141 w 4545947"/>
              <a:gd name="connsiteY174" fmla="*/ 3983244 h 4525940"/>
              <a:gd name="connsiteX175" fmla="*/ 1390289 w 4545947"/>
              <a:gd name="connsiteY175" fmla="*/ 3999733 h 4525940"/>
              <a:gd name="connsiteX176" fmla="*/ 1400728 w 4545947"/>
              <a:gd name="connsiteY176" fmla="*/ 4011262 h 4525940"/>
              <a:gd name="connsiteX177" fmla="*/ 1410270 w 4545947"/>
              <a:gd name="connsiteY177" fmla="*/ 4087809 h 4525940"/>
              <a:gd name="connsiteX178" fmla="*/ 1426873 w 4545947"/>
              <a:gd name="connsiteY178" fmla="*/ 4091597 h 4525940"/>
              <a:gd name="connsiteX179" fmla="*/ 1435407 w 4545947"/>
              <a:gd name="connsiteY179" fmla="*/ 4088151 h 4525940"/>
              <a:gd name="connsiteX180" fmla="*/ 1458399 w 4545947"/>
              <a:gd name="connsiteY180" fmla="*/ 4085520 h 4525940"/>
              <a:gd name="connsiteX181" fmla="*/ 1456075 w 4545947"/>
              <a:gd name="connsiteY181" fmla="*/ 4068426 h 4525940"/>
              <a:gd name="connsiteX182" fmla="*/ 1451122 w 4545947"/>
              <a:gd name="connsiteY182" fmla="*/ 4049797 h 4525940"/>
              <a:gd name="connsiteX183" fmla="*/ 1442376 w 4545947"/>
              <a:gd name="connsiteY183" fmla="*/ 4027499 h 4525940"/>
              <a:gd name="connsiteX184" fmla="*/ 1433630 w 4545947"/>
              <a:gd name="connsiteY184" fmla="*/ 4008506 h 4525940"/>
              <a:gd name="connsiteX185" fmla="*/ 1425108 w 4545947"/>
              <a:gd name="connsiteY185" fmla="*/ 3989791 h 4525940"/>
              <a:gd name="connsiteX186" fmla="*/ 1418520 w 4545947"/>
              <a:gd name="connsiteY186" fmla="*/ 3974698 h 4525940"/>
              <a:gd name="connsiteX187" fmla="*/ 1397617 w 4545947"/>
              <a:gd name="connsiteY187" fmla="*/ 3915240 h 4525940"/>
              <a:gd name="connsiteX188" fmla="*/ 1388112 w 4545947"/>
              <a:gd name="connsiteY188" fmla="*/ 3908577 h 4525940"/>
              <a:gd name="connsiteX189" fmla="*/ 523559 w 4545947"/>
              <a:gd name="connsiteY189" fmla="*/ 3899185 h 4525940"/>
              <a:gd name="connsiteX190" fmla="*/ 543663 w 4545947"/>
              <a:gd name="connsiteY190" fmla="*/ 3937349 h 4525940"/>
              <a:gd name="connsiteX191" fmla="*/ 526248 w 4545947"/>
              <a:gd name="connsiteY191" fmla="*/ 3930839 h 4525940"/>
              <a:gd name="connsiteX192" fmla="*/ 519394 w 4545947"/>
              <a:gd name="connsiteY192" fmla="*/ 3918177 h 4525940"/>
              <a:gd name="connsiteX193" fmla="*/ 515316 w 4545947"/>
              <a:gd name="connsiteY193" fmla="*/ 3908681 h 4525940"/>
              <a:gd name="connsiteX194" fmla="*/ 523559 w 4545947"/>
              <a:gd name="connsiteY194" fmla="*/ 3899185 h 4525940"/>
              <a:gd name="connsiteX195" fmla="*/ 4105488 w 4545947"/>
              <a:gd name="connsiteY195" fmla="*/ 3892854 h 4525940"/>
              <a:gd name="connsiteX196" fmla="*/ 4109861 w 4545947"/>
              <a:gd name="connsiteY196" fmla="*/ 3899185 h 4525940"/>
              <a:gd name="connsiteX197" fmla="*/ 4105488 w 4545947"/>
              <a:gd name="connsiteY197" fmla="*/ 3905515 h 4525940"/>
              <a:gd name="connsiteX198" fmla="*/ 4101115 w 4545947"/>
              <a:gd name="connsiteY198" fmla="*/ 3899185 h 4525940"/>
              <a:gd name="connsiteX199" fmla="*/ 4105488 w 4545947"/>
              <a:gd name="connsiteY199" fmla="*/ 3892854 h 4525940"/>
              <a:gd name="connsiteX200" fmla="*/ 2909492 w 4545947"/>
              <a:gd name="connsiteY200" fmla="*/ 3892854 h 4525940"/>
              <a:gd name="connsiteX201" fmla="*/ 2916052 w 4545947"/>
              <a:gd name="connsiteY201" fmla="*/ 3908681 h 4525940"/>
              <a:gd name="connsiteX202" fmla="*/ 2909492 w 4545947"/>
              <a:gd name="connsiteY202" fmla="*/ 3924508 h 4525940"/>
              <a:gd name="connsiteX203" fmla="*/ 2902933 w 4545947"/>
              <a:gd name="connsiteY203" fmla="*/ 3908681 h 4525940"/>
              <a:gd name="connsiteX204" fmla="*/ 2909492 w 4545947"/>
              <a:gd name="connsiteY204" fmla="*/ 3892854 h 4525940"/>
              <a:gd name="connsiteX205" fmla="*/ 2655863 w 4545947"/>
              <a:gd name="connsiteY205" fmla="*/ 3892854 h 4525940"/>
              <a:gd name="connsiteX206" fmla="*/ 2662423 w 4545947"/>
              <a:gd name="connsiteY206" fmla="*/ 3898811 h 4525940"/>
              <a:gd name="connsiteX207" fmla="*/ 2652101 w 4545947"/>
              <a:gd name="connsiteY207" fmla="*/ 3907454 h 4525940"/>
              <a:gd name="connsiteX208" fmla="*/ 2655863 w 4545947"/>
              <a:gd name="connsiteY208" fmla="*/ 3892854 h 4525940"/>
              <a:gd name="connsiteX209" fmla="*/ 2015126 w 4545947"/>
              <a:gd name="connsiteY209" fmla="*/ 3890471 h 4525940"/>
              <a:gd name="connsiteX210" fmla="*/ 2024850 w 4545947"/>
              <a:gd name="connsiteY210" fmla="*/ 3891588 h 4525940"/>
              <a:gd name="connsiteX211" fmla="*/ 2042341 w 4545947"/>
              <a:gd name="connsiteY211" fmla="*/ 3899185 h 4525940"/>
              <a:gd name="connsiteX212" fmla="*/ 2054585 w 4545947"/>
              <a:gd name="connsiteY212" fmla="*/ 3909307 h 4525940"/>
              <a:gd name="connsiteX213" fmla="*/ 2071849 w 4545947"/>
              <a:gd name="connsiteY213" fmla="*/ 3968824 h 4525940"/>
              <a:gd name="connsiteX214" fmla="*/ 2091632 w 4545947"/>
              <a:gd name="connsiteY214" fmla="*/ 4018461 h 4525940"/>
              <a:gd name="connsiteX215" fmla="*/ 2093696 w 4545947"/>
              <a:gd name="connsiteY215" fmla="*/ 4051792 h 4525940"/>
              <a:gd name="connsiteX216" fmla="*/ 2096463 w 4545947"/>
              <a:gd name="connsiteY216" fmla="*/ 4068015 h 4525940"/>
              <a:gd name="connsiteX217" fmla="*/ 2100916 w 4545947"/>
              <a:gd name="connsiteY217" fmla="*/ 4106782 h 4525940"/>
              <a:gd name="connsiteX218" fmla="*/ 2106951 w 4545947"/>
              <a:gd name="connsiteY218" fmla="*/ 4150489 h 4525940"/>
              <a:gd name="connsiteX219" fmla="*/ 2115806 w 4545947"/>
              <a:gd name="connsiteY219" fmla="*/ 4170504 h 4525940"/>
              <a:gd name="connsiteX220" fmla="*/ 2120728 w 4545947"/>
              <a:gd name="connsiteY220" fmla="*/ 4188665 h 4525940"/>
              <a:gd name="connsiteX221" fmla="*/ 2116702 w 4545947"/>
              <a:gd name="connsiteY221" fmla="*/ 4240650 h 4525940"/>
              <a:gd name="connsiteX222" fmla="*/ 2103781 w 4545947"/>
              <a:gd name="connsiteY222" fmla="*/ 4234523 h 4525940"/>
              <a:gd name="connsiteX223" fmla="*/ 2103781 w 4545947"/>
              <a:gd name="connsiteY223" fmla="*/ 4234523 h 4525940"/>
              <a:gd name="connsiteX224" fmla="*/ 2093194 w 4545947"/>
              <a:gd name="connsiteY224" fmla="*/ 4217514 h 4525940"/>
              <a:gd name="connsiteX225" fmla="*/ 2091953 w 4545947"/>
              <a:gd name="connsiteY225" fmla="*/ 4196119 h 4525940"/>
              <a:gd name="connsiteX226" fmla="*/ 2062695 w 4545947"/>
              <a:gd name="connsiteY226" fmla="*/ 4151056 h 4525940"/>
              <a:gd name="connsiteX227" fmla="*/ 2063875 w 4545947"/>
              <a:gd name="connsiteY227" fmla="*/ 4119655 h 4525940"/>
              <a:gd name="connsiteX228" fmla="*/ 2063743 w 4545947"/>
              <a:gd name="connsiteY228" fmla="*/ 4053303 h 4525940"/>
              <a:gd name="connsiteX229" fmla="*/ 2054756 w 4545947"/>
              <a:gd name="connsiteY229" fmla="*/ 4006601 h 4525940"/>
              <a:gd name="connsiteX230" fmla="*/ 2048334 w 4545947"/>
              <a:gd name="connsiteY230" fmla="*/ 3977186 h 4525940"/>
              <a:gd name="connsiteX231" fmla="*/ 2036846 w 4545947"/>
              <a:gd name="connsiteY231" fmla="*/ 3946341 h 4525940"/>
              <a:gd name="connsiteX232" fmla="*/ 2028348 w 4545947"/>
              <a:gd name="connsiteY232" fmla="*/ 3927674 h 4525940"/>
              <a:gd name="connsiteX233" fmla="*/ 2019499 w 4545947"/>
              <a:gd name="connsiteY233" fmla="*/ 3908546 h 4525940"/>
              <a:gd name="connsiteX234" fmla="*/ 2015126 w 4545947"/>
              <a:gd name="connsiteY234" fmla="*/ 3890471 h 4525940"/>
              <a:gd name="connsiteX235" fmla="*/ 3762359 w 4545947"/>
              <a:gd name="connsiteY235" fmla="*/ 3882921 h 4525940"/>
              <a:gd name="connsiteX236" fmla="*/ 3771539 w 4545947"/>
              <a:gd name="connsiteY236" fmla="*/ 3895761 h 4525940"/>
              <a:gd name="connsiteX237" fmla="*/ 3763380 w 4545947"/>
              <a:gd name="connsiteY237" fmla="*/ 3918177 h 4525940"/>
              <a:gd name="connsiteX238" fmla="*/ 3756456 w 4545947"/>
              <a:gd name="connsiteY238" fmla="*/ 3901256 h 4525940"/>
              <a:gd name="connsiteX239" fmla="*/ 3762359 w 4545947"/>
              <a:gd name="connsiteY239" fmla="*/ 3882921 h 4525940"/>
              <a:gd name="connsiteX240" fmla="*/ 4054105 w 4545947"/>
              <a:gd name="connsiteY240" fmla="*/ 3868673 h 4525940"/>
              <a:gd name="connsiteX241" fmla="*/ 4064349 w 4545947"/>
              <a:gd name="connsiteY241" fmla="*/ 3897845 h 4525940"/>
              <a:gd name="connsiteX242" fmla="*/ 4062113 w 4545947"/>
              <a:gd name="connsiteY242" fmla="*/ 3927356 h 4525940"/>
              <a:gd name="connsiteX243" fmla="*/ 4047496 w 4545947"/>
              <a:gd name="connsiteY243" fmla="*/ 3917089 h 4525940"/>
              <a:gd name="connsiteX244" fmla="*/ 4039894 w 4545947"/>
              <a:gd name="connsiteY244" fmla="*/ 3886523 h 4525940"/>
              <a:gd name="connsiteX245" fmla="*/ 4044267 w 4545947"/>
              <a:gd name="connsiteY245" fmla="*/ 3876586 h 4525940"/>
              <a:gd name="connsiteX246" fmla="*/ 4054105 w 4545947"/>
              <a:gd name="connsiteY246" fmla="*/ 3868673 h 4525940"/>
              <a:gd name="connsiteX247" fmla="*/ 2218103 w 4545947"/>
              <a:gd name="connsiteY247" fmla="*/ 3867530 h 4525940"/>
              <a:gd name="connsiteX248" fmla="*/ 2226711 w 4545947"/>
              <a:gd name="connsiteY248" fmla="*/ 3877027 h 4525940"/>
              <a:gd name="connsiteX249" fmla="*/ 2220619 w 4545947"/>
              <a:gd name="connsiteY249" fmla="*/ 3886523 h 4525940"/>
              <a:gd name="connsiteX250" fmla="*/ 2212011 w 4545947"/>
              <a:gd name="connsiteY250" fmla="*/ 3877027 h 4525940"/>
              <a:gd name="connsiteX251" fmla="*/ 2218103 w 4545947"/>
              <a:gd name="connsiteY251" fmla="*/ 3867530 h 4525940"/>
              <a:gd name="connsiteX252" fmla="*/ 1971688 w 4545947"/>
              <a:gd name="connsiteY252" fmla="*/ 3857866 h 4525940"/>
              <a:gd name="connsiteX253" fmla="*/ 1986087 w 4545947"/>
              <a:gd name="connsiteY253" fmla="*/ 3910735 h 4525940"/>
              <a:gd name="connsiteX254" fmla="*/ 1988610 w 4545947"/>
              <a:gd name="connsiteY254" fmla="*/ 3927333 h 4525940"/>
              <a:gd name="connsiteX255" fmla="*/ 1993364 w 4545947"/>
              <a:gd name="connsiteY255" fmla="*/ 3952596 h 4525940"/>
              <a:gd name="connsiteX256" fmla="*/ 1999487 w 4545947"/>
              <a:gd name="connsiteY256" fmla="*/ 3980960 h 4525940"/>
              <a:gd name="connsiteX257" fmla="*/ 2005609 w 4545947"/>
              <a:gd name="connsiteY257" fmla="*/ 4011042 h 4525940"/>
              <a:gd name="connsiteX258" fmla="*/ 2009731 w 4545947"/>
              <a:gd name="connsiteY258" fmla="*/ 4037699 h 4525940"/>
              <a:gd name="connsiteX259" fmla="*/ 2016619 w 4545947"/>
              <a:gd name="connsiteY259" fmla="*/ 4062204 h 4525940"/>
              <a:gd name="connsiteX260" fmla="*/ 2002084 w 4545947"/>
              <a:gd name="connsiteY260" fmla="*/ 4070047 h 4525940"/>
              <a:gd name="connsiteX261" fmla="*/ 1998475 w 4545947"/>
              <a:gd name="connsiteY261" fmla="*/ 4049471 h 4525940"/>
              <a:gd name="connsiteX262" fmla="*/ 1980092 w 4545947"/>
              <a:gd name="connsiteY262" fmla="*/ 4013140 h 4525940"/>
              <a:gd name="connsiteX263" fmla="*/ 1971500 w 4545947"/>
              <a:gd name="connsiteY263" fmla="*/ 4003644 h 4525940"/>
              <a:gd name="connsiteX264" fmla="*/ 1975873 w 4545947"/>
              <a:gd name="connsiteY264" fmla="*/ 3994147 h 4525940"/>
              <a:gd name="connsiteX265" fmla="*/ 1976112 w 4545947"/>
              <a:gd name="connsiteY265" fmla="*/ 3967769 h 4525940"/>
              <a:gd name="connsiteX266" fmla="*/ 1971688 w 4545947"/>
              <a:gd name="connsiteY266" fmla="*/ 3857866 h 4525940"/>
              <a:gd name="connsiteX267" fmla="*/ 502197 w 4545947"/>
              <a:gd name="connsiteY267" fmla="*/ 3851703 h 4525940"/>
              <a:gd name="connsiteX268" fmla="*/ 506570 w 4545947"/>
              <a:gd name="connsiteY268" fmla="*/ 3857660 h 4525940"/>
              <a:gd name="connsiteX269" fmla="*/ 502197 w 4545947"/>
              <a:gd name="connsiteY269" fmla="*/ 3867530 h 4525940"/>
              <a:gd name="connsiteX270" fmla="*/ 497824 w 4545947"/>
              <a:gd name="connsiteY270" fmla="*/ 3861573 h 4525940"/>
              <a:gd name="connsiteX271" fmla="*/ 502197 w 4545947"/>
              <a:gd name="connsiteY271" fmla="*/ 3851703 h 4525940"/>
              <a:gd name="connsiteX272" fmla="*/ 2255504 w 4545947"/>
              <a:gd name="connsiteY272" fmla="*/ 3849289 h 4525940"/>
              <a:gd name="connsiteX273" fmla="*/ 2260113 w 4545947"/>
              <a:gd name="connsiteY273" fmla="*/ 3867157 h 4525940"/>
              <a:gd name="connsiteX274" fmla="*/ 2245726 w 4545947"/>
              <a:gd name="connsiteY274" fmla="*/ 3881626 h 4525940"/>
              <a:gd name="connsiteX275" fmla="*/ 2244530 w 4545947"/>
              <a:gd name="connsiteY275" fmla="*/ 3859617 h 4525940"/>
              <a:gd name="connsiteX276" fmla="*/ 2255504 w 4545947"/>
              <a:gd name="connsiteY276" fmla="*/ 3849289 h 4525940"/>
              <a:gd name="connsiteX277" fmla="*/ 3417010 w 4545947"/>
              <a:gd name="connsiteY277" fmla="*/ 3829545 h 4525940"/>
              <a:gd name="connsiteX278" fmla="*/ 3423312 w 4545947"/>
              <a:gd name="connsiteY278" fmla="*/ 3839042 h 4525940"/>
              <a:gd name="connsiteX279" fmla="*/ 3408853 w 4545947"/>
              <a:gd name="connsiteY279" fmla="*/ 3844489 h 4525940"/>
              <a:gd name="connsiteX280" fmla="*/ 3417010 w 4545947"/>
              <a:gd name="connsiteY280" fmla="*/ 3829545 h 4525940"/>
              <a:gd name="connsiteX281" fmla="*/ 2738431 w 4545947"/>
              <a:gd name="connsiteY281" fmla="*/ 3824454 h 4525940"/>
              <a:gd name="connsiteX282" fmla="*/ 2750318 w 4545947"/>
              <a:gd name="connsiteY282" fmla="*/ 3826407 h 4525940"/>
              <a:gd name="connsiteX283" fmla="*/ 2765687 w 4545947"/>
              <a:gd name="connsiteY283" fmla="*/ 3831867 h 4525940"/>
              <a:gd name="connsiteX284" fmla="*/ 2769047 w 4545947"/>
              <a:gd name="connsiteY284" fmla="*/ 3865187 h 4525940"/>
              <a:gd name="connsiteX285" fmla="*/ 2760550 w 4545947"/>
              <a:gd name="connsiteY285" fmla="*/ 3900807 h 4525940"/>
              <a:gd name="connsiteX286" fmla="*/ 2747649 w 4545947"/>
              <a:gd name="connsiteY286" fmla="*/ 3896820 h 4525940"/>
              <a:gd name="connsiteX287" fmla="*/ 2744287 w 4545947"/>
              <a:gd name="connsiteY287" fmla="*/ 3867530 h 4525940"/>
              <a:gd name="connsiteX288" fmla="*/ 2738958 w 4545947"/>
              <a:gd name="connsiteY288" fmla="*/ 3833582 h 4525940"/>
              <a:gd name="connsiteX289" fmla="*/ 2738431 w 4545947"/>
              <a:gd name="connsiteY289" fmla="*/ 3824454 h 4525940"/>
              <a:gd name="connsiteX290" fmla="*/ 1314629 w 4545947"/>
              <a:gd name="connsiteY290" fmla="*/ 3823496 h 4525940"/>
              <a:gd name="connsiteX291" fmla="*/ 1304002 w 4545947"/>
              <a:gd name="connsiteY291" fmla="*/ 3832791 h 4525940"/>
              <a:gd name="connsiteX292" fmla="*/ 1306949 w 4545947"/>
              <a:gd name="connsiteY292" fmla="*/ 3851937 h 4525940"/>
              <a:gd name="connsiteX293" fmla="*/ 1311067 w 4545947"/>
              <a:gd name="connsiteY293" fmla="*/ 3841880 h 4525940"/>
              <a:gd name="connsiteX294" fmla="*/ 1317140 w 4545947"/>
              <a:gd name="connsiteY294" fmla="*/ 3830926 h 4525940"/>
              <a:gd name="connsiteX295" fmla="*/ 1326103 w 4545947"/>
              <a:gd name="connsiteY295" fmla="*/ 3828631 h 4525940"/>
              <a:gd name="connsiteX296" fmla="*/ 1314629 w 4545947"/>
              <a:gd name="connsiteY296" fmla="*/ 3823496 h 4525940"/>
              <a:gd name="connsiteX297" fmla="*/ 3892163 w 4545947"/>
              <a:gd name="connsiteY297" fmla="*/ 3819903 h 4525940"/>
              <a:gd name="connsiteX298" fmla="*/ 3911267 w 4545947"/>
              <a:gd name="connsiteY298" fmla="*/ 3821285 h 4525940"/>
              <a:gd name="connsiteX299" fmla="*/ 3924522 w 4545947"/>
              <a:gd name="connsiteY299" fmla="*/ 3853537 h 4525940"/>
              <a:gd name="connsiteX300" fmla="*/ 3917443 w 4545947"/>
              <a:gd name="connsiteY300" fmla="*/ 3880192 h 4525940"/>
              <a:gd name="connsiteX301" fmla="*/ 3908706 w 4545947"/>
              <a:gd name="connsiteY301" fmla="*/ 3864893 h 4525940"/>
              <a:gd name="connsiteX302" fmla="*/ 3896680 w 4545947"/>
              <a:gd name="connsiteY302" fmla="*/ 3836855 h 4525940"/>
              <a:gd name="connsiteX303" fmla="*/ 3892163 w 4545947"/>
              <a:gd name="connsiteY303" fmla="*/ 3819903 h 4525940"/>
              <a:gd name="connsiteX304" fmla="*/ 1959090 w 4545947"/>
              <a:gd name="connsiteY304" fmla="*/ 3812273 h 4525940"/>
              <a:gd name="connsiteX305" fmla="*/ 1968903 w 4545947"/>
              <a:gd name="connsiteY305" fmla="*/ 3825000 h 4525940"/>
              <a:gd name="connsiteX306" fmla="*/ 1968122 w 4545947"/>
              <a:gd name="connsiteY306" fmla="*/ 3843299 h 4525940"/>
              <a:gd name="connsiteX307" fmla="*/ 1962236 w 4545947"/>
              <a:gd name="connsiteY307" fmla="*/ 3845056 h 4525940"/>
              <a:gd name="connsiteX308" fmla="*/ 1962236 w 4545947"/>
              <a:gd name="connsiteY308" fmla="*/ 3834293 h 4525940"/>
              <a:gd name="connsiteX309" fmla="*/ 1958381 w 4545947"/>
              <a:gd name="connsiteY309" fmla="*/ 3829545 h 4525940"/>
              <a:gd name="connsiteX310" fmla="*/ 1954008 w 4545947"/>
              <a:gd name="connsiteY310" fmla="*/ 3819521 h 4525940"/>
              <a:gd name="connsiteX311" fmla="*/ 1959090 w 4545947"/>
              <a:gd name="connsiteY311" fmla="*/ 3812273 h 4525940"/>
              <a:gd name="connsiteX312" fmla="*/ 486892 w 4545947"/>
              <a:gd name="connsiteY312" fmla="*/ 3810553 h 4525940"/>
              <a:gd name="connsiteX313" fmla="*/ 493451 w 4545947"/>
              <a:gd name="connsiteY313" fmla="*/ 3820049 h 4525940"/>
              <a:gd name="connsiteX314" fmla="*/ 486892 w 4545947"/>
              <a:gd name="connsiteY314" fmla="*/ 3829545 h 4525940"/>
              <a:gd name="connsiteX315" fmla="*/ 480332 w 4545947"/>
              <a:gd name="connsiteY315" fmla="*/ 3820049 h 4525940"/>
              <a:gd name="connsiteX316" fmla="*/ 486892 w 4545947"/>
              <a:gd name="connsiteY316" fmla="*/ 3810553 h 4525940"/>
              <a:gd name="connsiteX317" fmla="*/ 4113305 w 4545947"/>
              <a:gd name="connsiteY317" fmla="*/ 3809050 h 4525940"/>
              <a:gd name="connsiteX318" fmla="*/ 4110156 w 4545947"/>
              <a:gd name="connsiteY318" fmla="*/ 3823215 h 4525940"/>
              <a:gd name="connsiteX319" fmla="*/ 4098927 w 4545947"/>
              <a:gd name="connsiteY319" fmla="*/ 3835877 h 4525940"/>
              <a:gd name="connsiteX320" fmla="*/ 4087996 w 4545947"/>
              <a:gd name="connsiteY320" fmla="*/ 3830284 h 4525940"/>
              <a:gd name="connsiteX321" fmla="*/ 4098000 w 4545947"/>
              <a:gd name="connsiteY321" fmla="*/ 3809260 h 4525940"/>
              <a:gd name="connsiteX322" fmla="*/ 4113305 w 4545947"/>
              <a:gd name="connsiteY322" fmla="*/ 3809050 h 4525940"/>
              <a:gd name="connsiteX323" fmla="*/ 2043084 w 4545947"/>
              <a:gd name="connsiteY323" fmla="*/ 3794750 h 4525940"/>
              <a:gd name="connsiteX324" fmla="*/ 2041467 w 4545947"/>
              <a:gd name="connsiteY324" fmla="*/ 3801376 h 4525940"/>
              <a:gd name="connsiteX325" fmla="*/ 2045840 w 4545947"/>
              <a:gd name="connsiteY325" fmla="*/ 3807387 h 4525940"/>
              <a:gd name="connsiteX326" fmla="*/ 2050212 w 4545947"/>
              <a:gd name="connsiteY326" fmla="*/ 3810179 h 4525940"/>
              <a:gd name="connsiteX327" fmla="*/ 2054585 w 4545947"/>
              <a:gd name="connsiteY327" fmla="*/ 3816883 h 4525940"/>
              <a:gd name="connsiteX328" fmla="*/ 2058958 w 4545947"/>
              <a:gd name="connsiteY328" fmla="*/ 3812075 h 4525940"/>
              <a:gd name="connsiteX329" fmla="*/ 2050212 w 4545947"/>
              <a:gd name="connsiteY329" fmla="*/ 3799360 h 4525940"/>
              <a:gd name="connsiteX330" fmla="*/ 2043084 w 4545947"/>
              <a:gd name="connsiteY330" fmla="*/ 3794750 h 4525940"/>
              <a:gd name="connsiteX331" fmla="*/ 1790937 w 4545947"/>
              <a:gd name="connsiteY331" fmla="*/ 3787564 h 4525940"/>
              <a:gd name="connsiteX332" fmla="*/ 1789378 w 4545947"/>
              <a:gd name="connsiteY332" fmla="*/ 3795919 h 4525940"/>
              <a:gd name="connsiteX333" fmla="*/ 1779916 w 4545947"/>
              <a:gd name="connsiteY333" fmla="*/ 3812965 h 4525940"/>
              <a:gd name="connsiteX334" fmla="*/ 1781278 w 4545947"/>
              <a:gd name="connsiteY334" fmla="*/ 3814873 h 4525940"/>
              <a:gd name="connsiteX335" fmla="*/ 1790740 w 4545947"/>
              <a:gd name="connsiteY335" fmla="*/ 3797826 h 4525940"/>
              <a:gd name="connsiteX336" fmla="*/ 1790937 w 4545947"/>
              <a:gd name="connsiteY336" fmla="*/ 3787564 h 4525940"/>
              <a:gd name="connsiteX337" fmla="*/ 2023582 w 4545947"/>
              <a:gd name="connsiteY337" fmla="*/ 3786360 h 4525940"/>
              <a:gd name="connsiteX338" fmla="*/ 2017887 w 4545947"/>
              <a:gd name="connsiteY338" fmla="*/ 3793139 h 4525940"/>
              <a:gd name="connsiteX339" fmla="*/ 2016323 w 4545947"/>
              <a:gd name="connsiteY339" fmla="*/ 3808973 h 4525940"/>
              <a:gd name="connsiteX340" fmla="*/ 2023354 w 4545947"/>
              <a:gd name="connsiteY340" fmla="*/ 3794649 h 4525940"/>
              <a:gd name="connsiteX341" fmla="*/ 2023582 w 4545947"/>
              <a:gd name="connsiteY341" fmla="*/ 3786360 h 4525940"/>
              <a:gd name="connsiteX342" fmla="*/ 2013093 w 4545947"/>
              <a:gd name="connsiteY342" fmla="*/ 3774587 h 4525940"/>
              <a:gd name="connsiteX343" fmla="*/ 2003926 w 4545947"/>
              <a:gd name="connsiteY343" fmla="*/ 3785302 h 4525940"/>
              <a:gd name="connsiteX344" fmla="*/ 2005238 w 4545947"/>
              <a:gd name="connsiteY344" fmla="*/ 3787201 h 4525940"/>
              <a:gd name="connsiteX345" fmla="*/ 2014405 w 4545947"/>
              <a:gd name="connsiteY345" fmla="*/ 3776486 h 4525940"/>
              <a:gd name="connsiteX346" fmla="*/ 2013093 w 4545947"/>
              <a:gd name="connsiteY346" fmla="*/ 3774587 h 4525940"/>
              <a:gd name="connsiteX347" fmla="*/ 2633998 w 4545947"/>
              <a:gd name="connsiteY347" fmla="*/ 3759906 h 4525940"/>
              <a:gd name="connsiteX348" fmla="*/ 2640558 w 4545947"/>
              <a:gd name="connsiteY348" fmla="*/ 3769402 h 4525940"/>
              <a:gd name="connsiteX349" fmla="*/ 2633998 w 4545947"/>
              <a:gd name="connsiteY349" fmla="*/ 3778898 h 4525940"/>
              <a:gd name="connsiteX350" fmla="*/ 2627439 w 4545947"/>
              <a:gd name="connsiteY350" fmla="*/ 3769402 h 4525940"/>
              <a:gd name="connsiteX351" fmla="*/ 2633998 w 4545947"/>
              <a:gd name="connsiteY351" fmla="*/ 3759906 h 4525940"/>
              <a:gd name="connsiteX352" fmla="*/ 4107673 w 4545947"/>
              <a:gd name="connsiteY352" fmla="*/ 3751286 h 4525940"/>
              <a:gd name="connsiteX353" fmla="*/ 4111580 w 4545947"/>
              <a:gd name="connsiteY353" fmla="*/ 3768885 h 4525940"/>
              <a:gd name="connsiteX354" fmla="*/ 4101115 w 4545947"/>
              <a:gd name="connsiteY354" fmla="*/ 3763270 h 4525940"/>
              <a:gd name="connsiteX355" fmla="*/ 4107673 w 4545947"/>
              <a:gd name="connsiteY355" fmla="*/ 3751286 h 4525940"/>
              <a:gd name="connsiteX356" fmla="*/ 1769471 w 4545947"/>
              <a:gd name="connsiteY356" fmla="*/ 3740913 h 4525940"/>
              <a:gd name="connsiteX357" fmla="*/ 1766156 w 4545947"/>
              <a:gd name="connsiteY357" fmla="*/ 3773065 h 4525940"/>
              <a:gd name="connsiteX358" fmla="*/ 1779275 w 4545947"/>
              <a:gd name="connsiteY358" fmla="*/ 3778756 h 4525940"/>
              <a:gd name="connsiteX359" fmla="*/ 1787837 w 4545947"/>
              <a:gd name="connsiteY359" fmla="*/ 3764115 h 4525940"/>
              <a:gd name="connsiteX360" fmla="*/ 1769471 w 4545947"/>
              <a:gd name="connsiteY360" fmla="*/ 3740913 h 4525940"/>
              <a:gd name="connsiteX361" fmla="*/ 2273182 w 4545947"/>
              <a:gd name="connsiteY361" fmla="*/ 3737793 h 4525940"/>
              <a:gd name="connsiteX362" fmla="*/ 2268859 w 4545947"/>
              <a:gd name="connsiteY362" fmla="*/ 3747618 h 4525940"/>
              <a:gd name="connsiteX363" fmla="*/ 2274901 w 4545947"/>
              <a:gd name="connsiteY363" fmla="*/ 3743750 h 4525940"/>
              <a:gd name="connsiteX364" fmla="*/ 2273182 w 4545947"/>
              <a:gd name="connsiteY364" fmla="*/ 3737793 h 4525940"/>
              <a:gd name="connsiteX365" fmla="*/ 2067015 w 4545947"/>
              <a:gd name="connsiteY365" fmla="*/ 3729938 h 4525940"/>
              <a:gd name="connsiteX366" fmla="*/ 2060477 w 4545947"/>
              <a:gd name="connsiteY366" fmla="*/ 3736003 h 4525940"/>
              <a:gd name="connsiteX367" fmla="*/ 2067999 w 4545947"/>
              <a:gd name="connsiteY367" fmla="*/ 3772567 h 4525940"/>
              <a:gd name="connsiteX368" fmla="*/ 2076450 w 4545947"/>
              <a:gd name="connsiteY368" fmla="*/ 3778898 h 4525940"/>
              <a:gd name="connsiteX369" fmla="*/ 2091750 w 4545947"/>
              <a:gd name="connsiteY369" fmla="*/ 3777750 h 4525940"/>
              <a:gd name="connsiteX370" fmla="*/ 2089569 w 4545947"/>
              <a:gd name="connsiteY370" fmla="*/ 3741890 h 4525940"/>
              <a:gd name="connsiteX371" fmla="*/ 2072951 w 4545947"/>
              <a:gd name="connsiteY371" fmla="*/ 3732937 h 4525940"/>
              <a:gd name="connsiteX372" fmla="*/ 2067015 w 4545947"/>
              <a:gd name="connsiteY372" fmla="*/ 3729938 h 4525940"/>
              <a:gd name="connsiteX373" fmla="*/ 1479546 w 4545947"/>
              <a:gd name="connsiteY373" fmla="*/ 3728251 h 4525940"/>
              <a:gd name="connsiteX374" fmla="*/ 1486105 w 4545947"/>
              <a:gd name="connsiteY374" fmla="*/ 3737748 h 4525940"/>
              <a:gd name="connsiteX375" fmla="*/ 1479546 w 4545947"/>
              <a:gd name="connsiteY375" fmla="*/ 3747244 h 4525940"/>
              <a:gd name="connsiteX376" fmla="*/ 1472986 w 4545947"/>
              <a:gd name="connsiteY376" fmla="*/ 3737748 h 4525940"/>
              <a:gd name="connsiteX377" fmla="*/ 1479546 w 4545947"/>
              <a:gd name="connsiteY377" fmla="*/ 3728251 h 4525940"/>
              <a:gd name="connsiteX378" fmla="*/ 2608904 w 4545947"/>
              <a:gd name="connsiteY378" fmla="*/ 3725099 h 4525940"/>
              <a:gd name="connsiteX379" fmla="*/ 2607432 w 4545947"/>
              <a:gd name="connsiteY379" fmla="*/ 3734424 h 4525940"/>
              <a:gd name="connsiteX380" fmla="*/ 2597518 w 4545947"/>
              <a:gd name="connsiteY380" fmla="*/ 3735200 h 4525940"/>
              <a:gd name="connsiteX381" fmla="*/ 2599274 w 4545947"/>
              <a:gd name="connsiteY381" fmla="*/ 3725818 h 4525940"/>
              <a:gd name="connsiteX382" fmla="*/ 2608904 w 4545947"/>
              <a:gd name="connsiteY382" fmla="*/ 3725099 h 4525940"/>
              <a:gd name="connsiteX383" fmla="*/ 2581523 w 4545947"/>
              <a:gd name="connsiteY383" fmla="*/ 3714641 h 4525940"/>
              <a:gd name="connsiteX384" fmla="*/ 2587244 w 4545947"/>
              <a:gd name="connsiteY384" fmla="*/ 3721446 h 4525940"/>
              <a:gd name="connsiteX385" fmla="*/ 2581523 w 4545947"/>
              <a:gd name="connsiteY385" fmla="*/ 3728251 h 4525940"/>
              <a:gd name="connsiteX386" fmla="*/ 2575802 w 4545947"/>
              <a:gd name="connsiteY386" fmla="*/ 3721446 h 4525940"/>
              <a:gd name="connsiteX387" fmla="*/ 2581523 w 4545947"/>
              <a:gd name="connsiteY387" fmla="*/ 3714641 h 4525940"/>
              <a:gd name="connsiteX388" fmla="*/ 1636912 w 4545947"/>
              <a:gd name="connsiteY388" fmla="*/ 3707003 h 4525940"/>
              <a:gd name="connsiteX389" fmla="*/ 1641308 w 4545947"/>
              <a:gd name="connsiteY389" fmla="*/ 3709343 h 4525940"/>
              <a:gd name="connsiteX390" fmla="*/ 1649617 w 4545947"/>
              <a:gd name="connsiteY390" fmla="*/ 3721661 h 4525940"/>
              <a:gd name="connsiteX391" fmla="*/ 1666924 w 4545947"/>
              <a:gd name="connsiteY391" fmla="*/ 3745404 h 4525940"/>
              <a:gd name="connsiteX392" fmla="*/ 1682439 w 4545947"/>
              <a:gd name="connsiteY392" fmla="*/ 3775146 h 4525940"/>
              <a:gd name="connsiteX393" fmla="*/ 1691633 w 4545947"/>
              <a:gd name="connsiteY393" fmla="*/ 3798355 h 4525940"/>
              <a:gd name="connsiteX394" fmla="*/ 1707406 w 4545947"/>
              <a:gd name="connsiteY394" fmla="*/ 3829545 h 4525940"/>
              <a:gd name="connsiteX395" fmla="*/ 1705845 w 4545947"/>
              <a:gd name="connsiteY395" fmla="*/ 3849700 h 4525940"/>
              <a:gd name="connsiteX396" fmla="*/ 1692422 w 4545947"/>
              <a:gd name="connsiteY396" fmla="*/ 3865948 h 4525940"/>
              <a:gd name="connsiteX397" fmla="*/ 1670861 w 4545947"/>
              <a:gd name="connsiteY397" fmla="*/ 3868731 h 4525940"/>
              <a:gd name="connsiteX398" fmla="*/ 1656649 w 4545947"/>
              <a:gd name="connsiteY398" fmla="*/ 3850875 h 4525940"/>
              <a:gd name="connsiteX399" fmla="*/ 1648997 w 4545947"/>
              <a:gd name="connsiteY399" fmla="*/ 3835823 h 4525940"/>
              <a:gd name="connsiteX400" fmla="*/ 1646810 w 4545947"/>
              <a:gd name="connsiteY400" fmla="*/ 3825485 h 4525940"/>
              <a:gd name="connsiteX401" fmla="*/ 1652276 w 4545947"/>
              <a:gd name="connsiteY401" fmla="*/ 3810800 h 4525940"/>
              <a:gd name="connsiteX402" fmla="*/ 1632598 w 4545947"/>
              <a:gd name="connsiteY402" fmla="*/ 3791898 h 4525940"/>
              <a:gd name="connsiteX403" fmla="*/ 1617293 w 4545947"/>
              <a:gd name="connsiteY403" fmla="*/ 3788754 h 4525940"/>
              <a:gd name="connsiteX404" fmla="*/ 1626485 w 4545947"/>
              <a:gd name="connsiteY404" fmla="*/ 3770295 h 4525940"/>
              <a:gd name="connsiteX405" fmla="*/ 1632758 w 4545947"/>
              <a:gd name="connsiteY405" fmla="*/ 3735953 h 4525940"/>
              <a:gd name="connsiteX406" fmla="*/ 1636912 w 4545947"/>
              <a:gd name="connsiteY406" fmla="*/ 3707003 h 4525940"/>
              <a:gd name="connsiteX407" fmla="*/ 777691 w 4545947"/>
              <a:gd name="connsiteY407" fmla="*/ 3702928 h 4525940"/>
              <a:gd name="connsiteX408" fmla="*/ 786437 w 4545947"/>
              <a:gd name="connsiteY408" fmla="*/ 3715590 h 4525940"/>
              <a:gd name="connsiteX409" fmla="*/ 774193 w 4545947"/>
              <a:gd name="connsiteY409" fmla="*/ 3720654 h 4525940"/>
              <a:gd name="connsiteX410" fmla="*/ 777691 w 4545947"/>
              <a:gd name="connsiteY410" fmla="*/ 3702928 h 4525940"/>
              <a:gd name="connsiteX411" fmla="*/ 2265717 w 4545947"/>
              <a:gd name="connsiteY411" fmla="*/ 3690468 h 4525940"/>
              <a:gd name="connsiteX412" fmla="*/ 2265579 w 4545947"/>
              <a:gd name="connsiteY412" fmla="*/ 3699080 h 4525940"/>
              <a:gd name="connsiteX413" fmla="*/ 2273577 w 4545947"/>
              <a:gd name="connsiteY413" fmla="*/ 3716288 h 4525940"/>
              <a:gd name="connsiteX414" fmla="*/ 2276176 w 4545947"/>
              <a:gd name="connsiteY414" fmla="*/ 3716964 h 4525940"/>
              <a:gd name="connsiteX415" fmla="*/ 2275968 w 4545947"/>
              <a:gd name="connsiteY415" fmla="*/ 3699554 h 4525940"/>
              <a:gd name="connsiteX416" fmla="*/ 2265717 w 4545947"/>
              <a:gd name="connsiteY416" fmla="*/ 3690468 h 4525940"/>
              <a:gd name="connsiteX417" fmla="*/ 4393541 w 4545947"/>
              <a:gd name="connsiteY417" fmla="*/ 3685390 h 4525940"/>
              <a:gd name="connsiteX418" fmla="*/ 4405396 w 4545947"/>
              <a:gd name="connsiteY418" fmla="*/ 3698051 h 4525940"/>
              <a:gd name="connsiteX419" fmla="*/ 4406971 w 4545947"/>
              <a:gd name="connsiteY419" fmla="*/ 3759714 h 4525940"/>
              <a:gd name="connsiteX420" fmla="*/ 4415127 w 4545947"/>
              <a:gd name="connsiteY420" fmla="*/ 3786745 h 4525940"/>
              <a:gd name="connsiteX421" fmla="*/ 4401479 w 4545947"/>
              <a:gd name="connsiteY421" fmla="*/ 3806464 h 4525940"/>
              <a:gd name="connsiteX422" fmla="*/ 4398473 w 4545947"/>
              <a:gd name="connsiteY422" fmla="*/ 3784626 h 4525940"/>
              <a:gd name="connsiteX423" fmla="*/ 4391914 w 4545947"/>
              <a:gd name="connsiteY423" fmla="*/ 3757645 h 4525940"/>
              <a:gd name="connsiteX424" fmla="*/ 4385355 w 4545947"/>
              <a:gd name="connsiteY424" fmla="*/ 3728704 h 4525940"/>
              <a:gd name="connsiteX425" fmla="*/ 4378795 w 4545947"/>
              <a:gd name="connsiteY425" fmla="*/ 3709259 h 4525940"/>
              <a:gd name="connsiteX426" fmla="*/ 4372303 w 4545947"/>
              <a:gd name="connsiteY426" fmla="*/ 3704511 h 4525940"/>
              <a:gd name="connsiteX427" fmla="*/ 4393541 w 4545947"/>
              <a:gd name="connsiteY427" fmla="*/ 3685390 h 4525940"/>
              <a:gd name="connsiteX428" fmla="*/ 444041 w 4545947"/>
              <a:gd name="connsiteY428" fmla="*/ 3678411 h 4525940"/>
              <a:gd name="connsiteX429" fmla="*/ 453220 w 4545947"/>
              <a:gd name="connsiteY429" fmla="*/ 3685202 h 4525940"/>
              <a:gd name="connsiteX430" fmla="*/ 449722 w 4545947"/>
              <a:gd name="connsiteY430" fmla="*/ 3709259 h 4525940"/>
              <a:gd name="connsiteX431" fmla="*/ 440976 w 4545947"/>
              <a:gd name="connsiteY431" fmla="*/ 3693432 h 4525940"/>
              <a:gd name="connsiteX432" fmla="*/ 444041 w 4545947"/>
              <a:gd name="connsiteY432" fmla="*/ 3678411 h 4525940"/>
              <a:gd name="connsiteX433" fmla="*/ 4470885 w 4545947"/>
              <a:gd name="connsiteY433" fmla="*/ 3671274 h 4525940"/>
              <a:gd name="connsiteX434" fmla="*/ 4472813 w 4545947"/>
              <a:gd name="connsiteY434" fmla="*/ 3677605 h 4525940"/>
              <a:gd name="connsiteX435" fmla="*/ 4468182 w 4545947"/>
              <a:gd name="connsiteY435" fmla="*/ 3683935 h 4525940"/>
              <a:gd name="connsiteX436" fmla="*/ 4466253 w 4545947"/>
              <a:gd name="connsiteY436" fmla="*/ 3677605 h 4525940"/>
              <a:gd name="connsiteX437" fmla="*/ 4470885 w 4545947"/>
              <a:gd name="connsiteY437" fmla="*/ 3671274 h 4525940"/>
              <a:gd name="connsiteX438" fmla="*/ 4171728 w 4545947"/>
              <a:gd name="connsiteY438" fmla="*/ 3669684 h 4525940"/>
              <a:gd name="connsiteX439" fmla="*/ 4194226 w 4545947"/>
              <a:gd name="connsiteY439" fmla="*/ 3722097 h 4525940"/>
              <a:gd name="connsiteX440" fmla="*/ 4198412 w 4545947"/>
              <a:gd name="connsiteY440" fmla="*/ 3740901 h 4525940"/>
              <a:gd name="connsiteX441" fmla="*/ 4201692 w 4545947"/>
              <a:gd name="connsiteY441" fmla="*/ 3750410 h 4525940"/>
              <a:gd name="connsiteX442" fmla="*/ 4195132 w 4545947"/>
              <a:gd name="connsiteY442" fmla="*/ 3759906 h 4525940"/>
              <a:gd name="connsiteX443" fmla="*/ 4188573 w 4545947"/>
              <a:gd name="connsiteY443" fmla="*/ 3750410 h 4525940"/>
              <a:gd name="connsiteX444" fmla="*/ 4183725 w 4545947"/>
              <a:gd name="connsiteY444" fmla="*/ 3740913 h 4525940"/>
              <a:gd name="connsiteX445" fmla="*/ 4181714 w 4545947"/>
              <a:gd name="connsiteY445" fmla="*/ 3724559 h 4525940"/>
              <a:gd name="connsiteX446" fmla="*/ 4176068 w 4545947"/>
              <a:gd name="connsiteY446" fmla="*/ 3704994 h 4525940"/>
              <a:gd name="connsiteX447" fmla="*/ 4165810 w 4545947"/>
              <a:gd name="connsiteY447" fmla="*/ 3684278 h 4525940"/>
              <a:gd name="connsiteX448" fmla="*/ 4171728 w 4545947"/>
              <a:gd name="connsiteY448" fmla="*/ 3669684 h 4525940"/>
              <a:gd name="connsiteX449" fmla="*/ 3781533 w 4545947"/>
              <a:gd name="connsiteY449" fmla="*/ 3666259 h 4525940"/>
              <a:gd name="connsiteX450" fmla="*/ 3772184 w 4545947"/>
              <a:gd name="connsiteY450" fmla="*/ 3676181 h 4525940"/>
              <a:gd name="connsiteX451" fmla="*/ 3767900 w 4545947"/>
              <a:gd name="connsiteY451" fmla="*/ 3703257 h 4525940"/>
              <a:gd name="connsiteX452" fmla="*/ 3770849 w 4545947"/>
              <a:gd name="connsiteY452" fmla="*/ 3722178 h 4525940"/>
              <a:gd name="connsiteX453" fmla="*/ 3772888 w 4545947"/>
              <a:gd name="connsiteY453" fmla="*/ 3728251 h 4525940"/>
              <a:gd name="connsiteX454" fmla="*/ 3777518 w 4545947"/>
              <a:gd name="connsiteY454" fmla="*/ 3735634 h 4525940"/>
              <a:gd name="connsiteX455" fmla="*/ 3797197 w 4545947"/>
              <a:gd name="connsiteY455" fmla="*/ 3763763 h 4525940"/>
              <a:gd name="connsiteX456" fmla="*/ 3802839 w 4545947"/>
              <a:gd name="connsiteY456" fmla="*/ 3743591 h 4525940"/>
              <a:gd name="connsiteX457" fmla="*/ 3789493 w 4545947"/>
              <a:gd name="connsiteY457" fmla="*/ 3668785 h 4525940"/>
              <a:gd name="connsiteX458" fmla="*/ 3781533 w 4545947"/>
              <a:gd name="connsiteY458" fmla="*/ 3666259 h 4525940"/>
              <a:gd name="connsiteX459" fmla="*/ 440976 w 4545947"/>
              <a:gd name="connsiteY459" fmla="*/ 3652281 h 4525940"/>
              <a:gd name="connsiteX460" fmla="*/ 445349 w 4545947"/>
              <a:gd name="connsiteY460" fmla="*/ 3658238 h 4525940"/>
              <a:gd name="connsiteX461" fmla="*/ 440976 w 4545947"/>
              <a:gd name="connsiteY461" fmla="*/ 3668109 h 4525940"/>
              <a:gd name="connsiteX462" fmla="*/ 436603 w 4545947"/>
              <a:gd name="connsiteY462" fmla="*/ 3662151 h 4525940"/>
              <a:gd name="connsiteX463" fmla="*/ 440976 w 4545947"/>
              <a:gd name="connsiteY463" fmla="*/ 3652281 h 4525940"/>
              <a:gd name="connsiteX464" fmla="*/ 3171373 w 4545947"/>
              <a:gd name="connsiteY464" fmla="*/ 3641045 h 4525940"/>
              <a:gd name="connsiteX465" fmla="*/ 3181007 w 4545947"/>
              <a:gd name="connsiteY465" fmla="*/ 3687671 h 4525940"/>
              <a:gd name="connsiteX466" fmla="*/ 3187158 w 4545947"/>
              <a:gd name="connsiteY466" fmla="*/ 3730762 h 4525940"/>
              <a:gd name="connsiteX467" fmla="*/ 3183347 w 4545947"/>
              <a:gd name="connsiteY467" fmla="*/ 3759906 h 4525940"/>
              <a:gd name="connsiteX468" fmla="*/ 3172415 w 4545947"/>
              <a:gd name="connsiteY468" fmla="*/ 3740122 h 4525940"/>
              <a:gd name="connsiteX469" fmla="*/ 3169682 w 4545947"/>
              <a:gd name="connsiteY469" fmla="*/ 3702136 h 4525940"/>
              <a:gd name="connsiteX470" fmla="*/ 3165309 w 4545947"/>
              <a:gd name="connsiteY470" fmla="*/ 3683935 h 4525940"/>
              <a:gd name="connsiteX471" fmla="*/ 3165690 w 4545947"/>
              <a:gd name="connsiteY471" fmla="*/ 3642444 h 4525940"/>
              <a:gd name="connsiteX472" fmla="*/ 3171373 w 4545947"/>
              <a:gd name="connsiteY472" fmla="*/ 3641045 h 4525940"/>
              <a:gd name="connsiteX473" fmla="*/ 4333348 w 4545947"/>
              <a:gd name="connsiteY473" fmla="*/ 3639619 h 4525940"/>
              <a:gd name="connsiteX474" fmla="*/ 4337253 w 4545947"/>
              <a:gd name="connsiteY474" fmla="*/ 3655447 h 4525940"/>
              <a:gd name="connsiteX475" fmla="*/ 4326564 w 4545947"/>
              <a:gd name="connsiteY475" fmla="*/ 3665514 h 4525940"/>
              <a:gd name="connsiteX476" fmla="*/ 4333348 w 4545947"/>
              <a:gd name="connsiteY476" fmla="*/ 3639619 h 4525940"/>
              <a:gd name="connsiteX477" fmla="*/ 3189618 w 4545947"/>
              <a:gd name="connsiteY477" fmla="*/ 3639619 h 4525940"/>
              <a:gd name="connsiteX478" fmla="*/ 3191547 w 4545947"/>
              <a:gd name="connsiteY478" fmla="*/ 3645950 h 4525940"/>
              <a:gd name="connsiteX479" fmla="*/ 3186916 w 4545947"/>
              <a:gd name="connsiteY479" fmla="*/ 3652281 h 4525940"/>
              <a:gd name="connsiteX480" fmla="*/ 3184987 w 4545947"/>
              <a:gd name="connsiteY480" fmla="*/ 3645950 h 4525940"/>
              <a:gd name="connsiteX481" fmla="*/ 3189618 w 4545947"/>
              <a:gd name="connsiteY481" fmla="*/ 3639619 h 4525940"/>
              <a:gd name="connsiteX482" fmla="*/ 682150 w 4545947"/>
              <a:gd name="connsiteY482" fmla="*/ 3636920 h 4525940"/>
              <a:gd name="connsiteX483" fmla="*/ 700310 w 4545947"/>
              <a:gd name="connsiteY483" fmla="*/ 3638085 h 4525940"/>
              <a:gd name="connsiteX484" fmla="*/ 715615 w 4545947"/>
              <a:gd name="connsiteY484" fmla="*/ 3654597 h 4525940"/>
              <a:gd name="connsiteX485" fmla="*/ 688710 w 4545947"/>
              <a:gd name="connsiteY485" fmla="*/ 3654982 h 4525940"/>
              <a:gd name="connsiteX486" fmla="*/ 682150 w 4545947"/>
              <a:gd name="connsiteY486" fmla="*/ 3636920 h 4525940"/>
              <a:gd name="connsiteX487" fmla="*/ 1590882 w 4545947"/>
              <a:gd name="connsiteY487" fmla="*/ 3636609 h 4525940"/>
              <a:gd name="connsiteX488" fmla="*/ 1604107 w 4545947"/>
              <a:gd name="connsiteY488" fmla="*/ 3653864 h 4525940"/>
              <a:gd name="connsiteX489" fmla="*/ 1593415 w 4545947"/>
              <a:gd name="connsiteY489" fmla="*/ 3650082 h 4525940"/>
              <a:gd name="connsiteX490" fmla="*/ 1590882 w 4545947"/>
              <a:gd name="connsiteY490" fmla="*/ 3636609 h 4525940"/>
              <a:gd name="connsiteX491" fmla="*/ 4351611 w 4545947"/>
              <a:gd name="connsiteY491" fmla="*/ 3620852 h 4525940"/>
              <a:gd name="connsiteX492" fmla="*/ 4353385 w 4545947"/>
              <a:gd name="connsiteY492" fmla="*/ 3628541 h 4525940"/>
              <a:gd name="connsiteX493" fmla="*/ 4363301 w 4545947"/>
              <a:gd name="connsiteY493" fmla="*/ 3639620 h 4525940"/>
              <a:gd name="connsiteX494" fmla="*/ 4372776 w 4545947"/>
              <a:gd name="connsiteY494" fmla="*/ 3671956 h 4525940"/>
              <a:gd name="connsiteX495" fmla="*/ 4370269 w 4545947"/>
              <a:gd name="connsiteY495" fmla="*/ 3673264 h 4525940"/>
              <a:gd name="connsiteX496" fmla="*/ 4360839 w 4545947"/>
              <a:gd name="connsiteY496" fmla="*/ 3655351 h 4525940"/>
              <a:gd name="connsiteX497" fmla="*/ 4350879 w 4545947"/>
              <a:gd name="connsiteY497" fmla="*/ 3628828 h 4525940"/>
              <a:gd name="connsiteX498" fmla="*/ 4351611 w 4545947"/>
              <a:gd name="connsiteY498" fmla="*/ 3620852 h 4525940"/>
              <a:gd name="connsiteX499" fmla="*/ 1737013 w 4545947"/>
              <a:gd name="connsiteY499" fmla="*/ 3614296 h 4525940"/>
              <a:gd name="connsiteX500" fmla="*/ 1726616 w 4545947"/>
              <a:gd name="connsiteY500" fmla="*/ 3629068 h 4525940"/>
              <a:gd name="connsiteX501" fmla="*/ 1751414 w 4545947"/>
              <a:gd name="connsiteY501" fmla="*/ 3642608 h 4525940"/>
              <a:gd name="connsiteX502" fmla="*/ 1737013 w 4545947"/>
              <a:gd name="connsiteY502" fmla="*/ 3614296 h 4525940"/>
              <a:gd name="connsiteX503" fmla="*/ 807126 w 4545947"/>
              <a:gd name="connsiteY503" fmla="*/ 3610806 h 4525940"/>
              <a:gd name="connsiteX504" fmla="*/ 805224 w 4545947"/>
              <a:gd name="connsiteY504" fmla="*/ 3621284 h 4525940"/>
              <a:gd name="connsiteX505" fmla="*/ 797792 w 4545947"/>
              <a:gd name="connsiteY505" fmla="*/ 3621616 h 4525940"/>
              <a:gd name="connsiteX506" fmla="*/ 799775 w 4545947"/>
              <a:gd name="connsiteY506" fmla="*/ 3610934 h 4525940"/>
              <a:gd name="connsiteX507" fmla="*/ 807126 w 4545947"/>
              <a:gd name="connsiteY507" fmla="*/ 3610806 h 4525940"/>
              <a:gd name="connsiteX508" fmla="*/ 2205452 w 4545947"/>
              <a:gd name="connsiteY508" fmla="*/ 3601634 h 4525940"/>
              <a:gd name="connsiteX509" fmla="*/ 2198892 w 4545947"/>
              <a:gd name="connsiteY509" fmla="*/ 3607965 h 4525940"/>
              <a:gd name="connsiteX510" fmla="*/ 2205452 w 4545947"/>
              <a:gd name="connsiteY510" fmla="*/ 3614296 h 4525940"/>
              <a:gd name="connsiteX511" fmla="*/ 2212011 w 4545947"/>
              <a:gd name="connsiteY511" fmla="*/ 3607965 h 4525940"/>
              <a:gd name="connsiteX512" fmla="*/ 2205452 w 4545947"/>
              <a:gd name="connsiteY512" fmla="*/ 3601634 h 4525940"/>
              <a:gd name="connsiteX513" fmla="*/ 2052748 w 4545947"/>
              <a:gd name="connsiteY513" fmla="*/ 3583925 h 4525940"/>
              <a:gd name="connsiteX514" fmla="*/ 2050662 w 4545947"/>
              <a:gd name="connsiteY514" fmla="*/ 3643478 h 4525940"/>
              <a:gd name="connsiteX515" fmla="*/ 2072077 w 4545947"/>
              <a:gd name="connsiteY515" fmla="*/ 3648742 h 4525940"/>
              <a:gd name="connsiteX516" fmla="*/ 2077017 w 4545947"/>
              <a:gd name="connsiteY516" fmla="*/ 3643293 h 4525940"/>
              <a:gd name="connsiteX517" fmla="*/ 2079985 w 4545947"/>
              <a:gd name="connsiteY517" fmla="*/ 3642083 h 4525940"/>
              <a:gd name="connsiteX518" fmla="*/ 2069928 w 4545947"/>
              <a:gd name="connsiteY518" fmla="*/ 3609249 h 4525940"/>
              <a:gd name="connsiteX519" fmla="*/ 2052748 w 4545947"/>
              <a:gd name="connsiteY519" fmla="*/ 3583925 h 4525940"/>
              <a:gd name="connsiteX520" fmla="*/ 2102688 w 4545947"/>
              <a:gd name="connsiteY520" fmla="*/ 3582642 h 4525940"/>
              <a:gd name="connsiteX521" fmla="*/ 2091367 w 4545947"/>
              <a:gd name="connsiteY521" fmla="*/ 3617476 h 4525940"/>
              <a:gd name="connsiteX522" fmla="*/ 2102688 w 4545947"/>
              <a:gd name="connsiteY522" fmla="*/ 3633289 h 4525940"/>
              <a:gd name="connsiteX523" fmla="*/ 2114008 w 4545947"/>
              <a:gd name="connsiteY523" fmla="*/ 3617476 h 4525940"/>
              <a:gd name="connsiteX524" fmla="*/ 2102688 w 4545947"/>
              <a:gd name="connsiteY524" fmla="*/ 3582642 h 4525940"/>
              <a:gd name="connsiteX525" fmla="*/ 2147146 w 4545947"/>
              <a:gd name="connsiteY525" fmla="*/ 3571020 h 4525940"/>
              <a:gd name="connsiteX526" fmla="*/ 2137738 w 4545947"/>
              <a:gd name="connsiteY526" fmla="*/ 3608493 h 4525940"/>
              <a:gd name="connsiteX527" fmla="*/ 2152797 w 4545947"/>
              <a:gd name="connsiteY527" fmla="*/ 3638304 h 4525940"/>
              <a:gd name="connsiteX528" fmla="*/ 2161723 w 4545947"/>
              <a:gd name="connsiteY528" fmla="*/ 3608655 h 4525940"/>
              <a:gd name="connsiteX529" fmla="*/ 2153945 w 4545947"/>
              <a:gd name="connsiteY529" fmla="*/ 3573836 h 4525940"/>
              <a:gd name="connsiteX530" fmla="*/ 2147146 w 4545947"/>
              <a:gd name="connsiteY530" fmla="*/ 3571020 h 4525940"/>
              <a:gd name="connsiteX531" fmla="*/ 1798001 w 4545947"/>
              <a:gd name="connsiteY531" fmla="*/ 3564738 h 4525940"/>
              <a:gd name="connsiteX532" fmla="*/ 1804404 w 4545947"/>
              <a:gd name="connsiteY532" fmla="*/ 3690298 h 4525940"/>
              <a:gd name="connsiteX533" fmla="*/ 1825007 w 4545947"/>
              <a:gd name="connsiteY533" fmla="*/ 3705989 h 4525940"/>
              <a:gd name="connsiteX534" fmla="*/ 1854833 w 4545947"/>
              <a:gd name="connsiteY534" fmla="*/ 3708350 h 4525940"/>
              <a:gd name="connsiteX535" fmla="*/ 1852022 w 4545947"/>
              <a:gd name="connsiteY535" fmla="*/ 3687323 h 4525940"/>
              <a:gd name="connsiteX536" fmla="*/ 1844685 w 4545947"/>
              <a:gd name="connsiteY536" fmla="*/ 3667656 h 4525940"/>
              <a:gd name="connsiteX537" fmla="*/ 1839844 w 4545947"/>
              <a:gd name="connsiteY537" fmla="*/ 3658612 h 4525940"/>
              <a:gd name="connsiteX538" fmla="*/ 1837584 w 4545947"/>
              <a:gd name="connsiteY538" fmla="*/ 3648876 h 4525940"/>
              <a:gd name="connsiteX539" fmla="*/ 1834195 w 4545947"/>
              <a:gd name="connsiteY539" fmla="*/ 3635824 h 4525940"/>
              <a:gd name="connsiteX540" fmla="*/ 1825589 w 4545947"/>
              <a:gd name="connsiteY540" fmla="*/ 3608642 h 4525940"/>
              <a:gd name="connsiteX541" fmla="*/ 1798001 w 4545947"/>
              <a:gd name="connsiteY541" fmla="*/ 3564738 h 4525940"/>
              <a:gd name="connsiteX542" fmla="*/ 4146521 w 4545947"/>
              <a:gd name="connsiteY542" fmla="*/ 3557318 h 4525940"/>
              <a:gd name="connsiteX543" fmla="*/ 4155093 w 4545947"/>
              <a:gd name="connsiteY543" fmla="*/ 3571287 h 4525940"/>
              <a:gd name="connsiteX544" fmla="*/ 4148124 w 4545947"/>
              <a:gd name="connsiteY544" fmla="*/ 3584178 h 4525940"/>
              <a:gd name="connsiteX545" fmla="*/ 4146521 w 4545947"/>
              <a:gd name="connsiteY545" fmla="*/ 3557318 h 4525940"/>
              <a:gd name="connsiteX546" fmla="*/ 1509191 w 4545947"/>
              <a:gd name="connsiteY546" fmla="*/ 3547053 h 4525940"/>
              <a:gd name="connsiteX547" fmla="*/ 1508315 w 4545947"/>
              <a:gd name="connsiteY547" fmla="*/ 3553625 h 4525940"/>
              <a:gd name="connsiteX548" fmla="*/ 1510612 w 4545947"/>
              <a:gd name="connsiteY548" fmla="*/ 3561935 h 4525940"/>
              <a:gd name="connsiteX549" fmla="*/ 1510957 w 4545947"/>
              <a:gd name="connsiteY549" fmla="*/ 3549800 h 4525940"/>
              <a:gd name="connsiteX550" fmla="*/ 1510957 w 4545947"/>
              <a:gd name="connsiteY550" fmla="*/ 3549800 h 4525940"/>
              <a:gd name="connsiteX551" fmla="*/ 1509191 w 4545947"/>
              <a:gd name="connsiteY551" fmla="*/ 3547053 h 4525940"/>
              <a:gd name="connsiteX552" fmla="*/ 4384535 w 4545947"/>
              <a:gd name="connsiteY552" fmla="*/ 3546663 h 4525940"/>
              <a:gd name="connsiteX553" fmla="*/ 4387177 w 4545947"/>
              <a:gd name="connsiteY553" fmla="*/ 3550488 h 4525940"/>
              <a:gd name="connsiteX554" fmla="*/ 4392916 w 4545947"/>
              <a:gd name="connsiteY554" fmla="*/ 3547163 h 4525940"/>
              <a:gd name="connsiteX555" fmla="*/ 4392916 w 4545947"/>
              <a:gd name="connsiteY555" fmla="*/ 3547162 h 4525940"/>
              <a:gd name="connsiteX556" fmla="*/ 4384535 w 4545947"/>
              <a:gd name="connsiteY556" fmla="*/ 3546663 h 4525940"/>
              <a:gd name="connsiteX557" fmla="*/ 2522488 w 4545947"/>
              <a:gd name="connsiteY557" fmla="*/ 3535161 h 4525940"/>
              <a:gd name="connsiteX558" fmla="*/ 2512028 w 4545947"/>
              <a:gd name="connsiteY558" fmla="*/ 3569062 h 4525940"/>
              <a:gd name="connsiteX559" fmla="*/ 2537303 w 4545947"/>
              <a:gd name="connsiteY559" fmla="*/ 3568397 h 4525940"/>
              <a:gd name="connsiteX560" fmla="*/ 2522488 w 4545947"/>
              <a:gd name="connsiteY560" fmla="*/ 3535161 h 4525940"/>
              <a:gd name="connsiteX561" fmla="*/ 4512472 w 4545947"/>
              <a:gd name="connsiteY561" fmla="*/ 3529100 h 4525940"/>
              <a:gd name="connsiteX562" fmla="*/ 4509725 w 4545947"/>
              <a:gd name="connsiteY562" fmla="*/ 3538326 h 4525940"/>
              <a:gd name="connsiteX563" fmla="*/ 4505654 w 4545947"/>
              <a:gd name="connsiteY563" fmla="*/ 3531892 h 4525940"/>
              <a:gd name="connsiteX564" fmla="*/ 4512472 w 4545947"/>
              <a:gd name="connsiteY564" fmla="*/ 3529100 h 4525940"/>
              <a:gd name="connsiteX565" fmla="*/ 1784685 w 4545947"/>
              <a:gd name="connsiteY565" fmla="*/ 3528061 h 4525940"/>
              <a:gd name="connsiteX566" fmla="*/ 1786451 w 4545947"/>
              <a:gd name="connsiteY566" fmla="*/ 3530808 h 4525940"/>
              <a:gd name="connsiteX567" fmla="*/ 1786106 w 4545947"/>
              <a:gd name="connsiteY567" fmla="*/ 3542942 h 4525940"/>
              <a:gd name="connsiteX568" fmla="*/ 1783809 w 4545947"/>
              <a:gd name="connsiteY568" fmla="*/ 3534633 h 4525940"/>
              <a:gd name="connsiteX569" fmla="*/ 1784685 w 4545947"/>
              <a:gd name="connsiteY569" fmla="*/ 3528061 h 4525940"/>
              <a:gd name="connsiteX570" fmla="*/ 2708921 w 4545947"/>
              <a:gd name="connsiteY570" fmla="*/ 3527919 h 4525940"/>
              <a:gd name="connsiteX571" fmla="*/ 2719644 w 4545947"/>
              <a:gd name="connsiteY571" fmla="*/ 3532655 h 4525940"/>
              <a:gd name="connsiteX572" fmla="*/ 2712711 w 4545947"/>
              <a:gd name="connsiteY572" fmla="*/ 3550987 h 4525940"/>
              <a:gd name="connsiteX573" fmla="*/ 2701779 w 4545947"/>
              <a:gd name="connsiteY573" fmla="*/ 3541293 h 4525940"/>
              <a:gd name="connsiteX574" fmla="*/ 2708921 w 4545947"/>
              <a:gd name="connsiteY574" fmla="*/ 3527919 h 4525940"/>
              <a:gd name="connsiteX575" fmla="*/ 4454649 w 4545947"/>
              <a:gd name="connsiteY575" fmla="*/ 3527292 h 4525940"/>
              <a:gd name="connsiteX576" fmla="*/ 4459694 w 4545947"/>
              <a:gd name="connsiteY576" fmla="*/ 3534633 h 4525940"/>
              <a:gd name="connsiteX577" fmla="*/ 4452770 w 4545947"/>
              <a:gd name="connsiteY577" fmla="*/ 3544657 h 4525940"/>
              <a:gd name="connsiteX578" fmla="*/ 4447578 w 4545947"/>
              <a:gd name="connsiteY578" fmla="*/ 3537139 h 4525940"/>
              <a:gd name="connsiteX579" fmla="*/ 4454649 w 4545947"/>
              <a:gd name="connsiteY579" fmla="*/ 3527292 h 4525940"/>
              <a:gd name="connsiteX580" fmla="*/ 4330693 w 4545947"/>
              <a:gd name="connsiteY580" fmla="*/ 3513002 h 4525940"/>
              <a:gd name="connsiteX581" fmla="*/ 4337253 w 4545947"/>
              <a:gd name="connsiteY581" fmla="*/ 3522872 h 4525940"/>
              <a:gd name="connsiteX582" fmla="*/ 4341625 w 4545947"/>
              <a:gd name="connsiteY582" fmla="*/ 3528830 h 4525940"/>
              <a:gd name="connsiteX583" fmla="*/ 4345998 w 4545947"/>
              <a:gd name="connsiteY583" fmla="*/ 3531621 h 4525940"/>
              <a:gd name="connsiteX584" fmla="*/ 4331787 w 4545947"/>
              <a:gd name="connsiteY584" fmla="*/ 3533962 h 4525940"/>
              <a:gd name="connsiteX585" fmla="*/ 4330693 w 4545947"/>
              <a:gd name="connsiteY585" fmla="*/ 3513002 h 4525940"/>
              <a:gd name="connsiteX586" fmla="*/ 1781278 w 4545947"/>
              <a:gd name="connsiteY586" fmla="*/ 3513002 h 4525940"/>
              <a:gd name="connsiteX587" fmla="*/ 1770345 w 4545947"/>
              <a:gd name="connsiteY587" fmla="*/ 3522499 h 4525940"/>
              <a:gd name="connsiteX588" fmla="*/ 1770345 w 4545947"/>
              <a:gd name="connsiteY588" fmla="*/ 3541491 h 4525940"/>
              <a:gd name="connsiteX589" fmla="*/ 1781278 w 4545947"/>
              <a:gd name="connsiteY589" fmla="*/ 3550987 h 4525940"/>
              <a:gd name="connsiteX590" fmla="*/ 1792210 w 4545947"/>
              <a:gd name="connsiteY590" fmla="*/ 3541491 h 4525940"/>
              <a:gd name="connsiteX591" fmla="*/ 1792210 w 4545947"/>
              <a:gd name="connsiteY591" fmla="*/ 3522499 h 4525940"/>
              <a:gd name="connsiteX592" fmla="*/ 1781278 w 4545947"/>
              <a:gd name="connsiteY592" fmla="*/ 3513002 h 4525940"/>
              <a:gd name="connsiteX593" fmla="*/ 2765727 w 4545947"/>
              <a:gd name="connsiteY593" fmla="*/ 3506671 h 4525940"/>
              <a:gd name="connsiteX594" fmla="*/ 2771915 w 4545947"/>
              <a:gd name="connsiteY594" fmla="*/ 3549820 h 4525940"/>
              <a:gd name="connsiteX595" fmla="*/ 2777517 w 4545947"/>
              <a:gd name="connsiteY595" fmla="*/ 3587805 h 4525940"/>
              <a:gd name="connsiteX596" fmla="*/ 2777592 w 4545947"/>
              <a:gd name="connsiteY596" fmla="*/ 3645950 h 4525940"/>
              <a:gd name="connsiteX597" fmla="*/ 2767140 w 4545947"/>
              <a:gd name="connsiteY597" fmla="*/ 3632658 h 4525940"/>
              <a:gd name="connsiteX598" fmla="*/ 2750756 w 4545947"/>
              <a:gd name="connsiteY598" fmla="*/ 3622540 h 4525940"/>
              <a:gd name="connsiteX599" fmla="*/ 2733789 w 4545947"/>
              <a:gd name="connsiteY599" fmla="*/ 3615257 h 4525940"/>
              <a:gd name="connsiteX600" fmla="*/ 2734887 w 4545947"/>
              <a:gd name="connsiteY600" fmla="*/ 3595303 h 4525940"/>
              <a:gd name="connsiteX601" fmla="*/ 2757753 w 4545947"/>
              <a:gd name="connsiteY601" fmla="*/ 3540827 h 4525940"/>
              <a:gd name="connsiteX602" fmla="*/ 2765727 w 4545947"/>
              <a:gd name="connsiteY602" fmla="*/ 3506671 h 4525940"/>
              <a:gd name="connsiteX603" fmla="*/ 740522 w 4545947"/>
              <a:gd name="connsiteY603" fmla="*/ 3475017 h 4525940"/>
              <a:gd name="connsiteX604" fmla="*/ 747081 w 4545947"/>
              <a:gd name="connsiteY604" fmla="*/ 3484514 h 4525940"/>
              <a:gd name="connsiteX605" fmla="*/ 740522 w 4545947"/>
              <a:gd name="connsiteY605" fmla="*/ 3494010 h 4525940"/>
              <a:gd name="connsiteX606" fmla="*/ 733962 w 4545947"/>
              <a:gd name="connsiteY606" fmla="*/ 3484514 h 4525940"/>
              <a:gd name="connsiteX607" fmla="*/ 740522 w 4545947"/>
              <a:gd name="connsiteY607" fmla="*/ 3475017 h 4525940"/>
              <a:gd name="connsiteX608" fmla="*/ 2881943 w 4545947"/>
              <a:gd name="connsiteY608" fmla="*/ 3462355 h 4525940"/>
              <a:gd name="connsiteX609" fmla="*/ 2878636 w 4545947"/>
              <a:gd name="connsiteY609" fmla="*/ 3495324 h 4525940"/>
              <a:gd name="connsiteX610" fmla="*/ 2869346 w 4545947"/>
              <a:gd name="connsiteY610" fmla="*/ 3523011 h 4525940"/>
              <a:gd name="connsiteX611" fmla="*/ 2885957 w 4545947"/>
              <a:gd name="connsiteY611" fmla="*/ 3557318 h 4525940"/>
              <a:gd name="connsiteX612" fmla="*/ 2892001 w 4545947"/>
              <a:gd name="connsiteY612" fmla="*/ 3550987 h 4525940"/>
              <a:gd name="connsiteX613" fmla="*/ 2898525 w 4545947"/>
              <a:gd name="connsiteY613" fmla="*/ 3544657 h 4525940"/>
              <a:gd name="connsiteX614" fmla="*/ 2906022 w 4545947"/>
              <a:gd name="connsiteY614" fmla="*/ 3571563 h 4525940"/>
              <a:gd name="connsiteX615" fmla="*/ 2895961 w 4545947"/>
              <a:gd name="connsiteY615" fmla="*/ 3600666 h 4525940"/>
              <a:gd name="connsiteX616" fmla="*/ 2883473 w 4545947"/>
              <a:gd name="connsiteY616" fmla="*/ 3608579 h 4525940"/>
              <a:gd name="connsiteX617" fmla="*/ 2866193 w 4545947"/>
              <a:gd name="connsiteY617" fmla="*/ 3600603 h 4525940"/>
              <a:gd name="connsiteX618" fmla="*/ 2861950 w 4545947"/>
              <a:gd name="connsiteY618" fmla="*/ 3581332 h 4525940"/>
              <a:gd name="connsiteX619" fmla="*/ 2859095 w 4545947"/>
              <a:gd name="connsiteY619" fmla="*/ 3566625 h 4525940"/>
              <a:gd name="connsiteX620" fmla="*/ 2855607 w 4545947"/>
              <a:gd name="connsiteY620" fmla="*/ 3535822 h 4525940"/>
              <a:gd name="connsiteX621" fmla="*/ 2845247 w 4545947"/>
              <a:gd name="connsiteY621" fmla="*/ 3503796 h 4525940"/>
              <a:gd name="connsiteX622" fmla="*/ 2838518 w 4545947"/>
              <a:gd name="connsiteY622" fmla="*/ 3479481 h 4525940"/>
              <a:gd name="connsiteX623" fmla="*/ 2844567 w 4545947"/>
              <a:gd name="connsiteY623" fmla="*/ 3463500 h 4525940"/>
              <a:gd name="connsiteX624" fmla="*/ 2854296 w 4545947"/>
              <a:gd name="connsiteY624" fmla="*/ 3469672 h 4525940"/>
              <a:gd name="connsiteX625" fmla="*/ 2868715 w 4545947"/>
              <a:gd name="connsiteY625" fmla="*/ 3470111 h 4525940"/>
              <a:gd name="connsiteX626" fmla="*/ 2881943 w 4545947"/>
              <a:gd name="connsiteY626" fmla="*/ 3462355 h 4525940"/>
              <a:gd name="connsiteX627" fmla="*/ 3212720 w 4545947"/>
              <a:gd name="connsiteY627" fmla="*/ 3424461 h 4525940"/>
              <a:gd name="connsiteX628" fmla="*/ 3204212 w 4545947"/>
              <a:gd name="connsiteY628" fmla="*/ 3429702 h 4525940"/>
              <a:gd name="connsiteX629" fmla="*/ 3191529 w 4545947"/>
              <a:gd name="connsiteY629" fmla="*/ 3430662 h 4525940"/>
              <a:gd name="connsiteX630" fmla="*/ 3172515 w 4545947"/>
              <a:gd name="connsiteY630" fmla="*/ 3443537 h 4525940"/>
              <a:gd name="connsiteX631" fmla="*/ 3184563 w 4545947"/>
              <a:gd name="connsiteY631" fmla="*/ 3508254 h 4525940"/>
              <a:gd name="connsiteX632" fmla="*/ 3208164 w 4545947"/>
              <a:gd name="connsiteY632" fmla="*/ 3511736 h 4525940"/>
              <a:gd name="connsiteX633" fmla="*/ 3209038 w 4545947"/>
              <a:gd name="connsiteY633" fmla="*/ 3481348 h 4525940"/>
              <a:gd name="connsiteX634" fmla="*/ 3213411 w 4545947"/>
              <a:gd name="connsiteY634" fmla="*/ 3460521 h 4525940"/>
              <a:gd name="connsiteX635" fmla="*/ 3217851 w 4545947"/>
              <a:gd name="connsiteY635" fmla="*/ 3430701 h 4525940"/>
              <a:gd name="connsiteX636" fmla="*/ 3212720 w 4545947"/>
              <a:gd name="connsiteY636" fmla="*/ 3424461 h 4525940"/>
              <a:gd name="connsiteX637" fmla="*/ 4431270 w 4545947"/>
              <a:gd name="connsiteY637" fmla="*/ 3405378 h 4525940"/>
              <a:gd name="connsiteX638" fmla="*/ 4442203 w 4545947"/>
              <a:gd name="connsiteY638" fmla="*/ 3417522 h 4525940"/>
              <a:gd name="connsiteX639" fmla="*/ 4444857 w 4545947"/>
              <a:gd name="connsiteY639" fmla="*/ 3439680 h 4525940"/>
              <a:gd name="connsiteX640" fmla="*/ 4430057 w 4545947"/>
              <a:gd name="connsiteY640" fmla="*/ 3439839 h 4525940"/>
              <a:gd name="connsiteX641" fmla="*/ 4431270 w 4545947"/>
              <a:gd name="connsiteY641" fmla="*/ 3405378 h 4525940"/>
              <a:gd name="connsiteX642" fmla="*/ 549890 w 4545947"/>
              <a:gd name="connsiteY642" fmla="*/ 3399047 h 4525940"/>
              <a:gd name="connsiteX643" fmla="*/ 548842 w 4545947"/>
              <a:gd name="connsiteY643" fmla="*/ 3426481 h 4525940"/>
              <a:gd name="connsiteX644" fmla="*/ 558681 w 4545947"/>
              <a:gd name="connsiteY644" fmla="*/ 3429967 h 4525940"/>
              <a:gd name="connsiteX645" fmla="*/ 557546 w 4545947"/>
              <a:gd name="connsiteY645" fmla="*/ 3426224 h 4525940"/>
              <a:gd name="connsiteX646" fmla="*/ 551671 w 4545947"/>
              <a:gd name="connsiteY646" fmla="*/ 3411132 h 4525940"/>
              <a:gd name="connsiteX647" fmla="*/ 549890 w 4545947"/>
              <a:gd name="connsiteY647" fmla="*/ 3399047 h 4525940"/>
              <a:gd name="connsiteX648" fmla="*/ 4493782 w 4545947"/>
              <a:gd name="connsiteY648" fmla="*/ 3361062 h 4525940"/>
              <a:gd name="connsiteX649" fmla="*/ 4515201 w 4545947"/>
              <a:gd name="connsiteY649" fmla="*/ 3429955 h 4525940"/>
              <a:gd name="connsiteX650" fmla="*/ 4510617 w 4545947"/>
              <a:gd name="connsiteY650" fmla="*/ 3475017 h 4525940"/>
              <a:gd name="connsiteX651" fmla="*/ 4503423 w 4545947"/>
              <a:gd name="connsiteY651" fmla="*/ 3459717 h 4525940"/>
              <a:gd name="connsiteX652" fmla="*/ 4499676 w 4545947"/>
              <a:gd name="connsiteY652" fmla="*/ 3442307 h 4525940"/>
              <a:gd name="connsiteX653" fmla="*/ 4493782 w 4545947"/>
              <a:gd name="connsiteY653" fmla="*/ 3361062 h 4525940"/>
              <a:gd name="connsiteX654" fmla="*/ 2909492 w 4545947"/>
              <a:gd name="connsiteY654" fmla="*/ 3361062 h 4525940"/>
              <a:gd name="connsiteX655" fmla="*/ 2916052 w 4545947"/>
              <a:gd name="connsiteY655" fmla="*/ 3376889 h 4525940"/>
              <a:gd name="connsiteX656" fmla="*/ 2914958 w 4545947"/>
              <a:gd name="connsiteY656" fmla="*/ 3392216 h 4525940"/>
              <a:gd name="connsiteX657" fmla="*/ 2908399 w 4545947"/>
              <a:gd name="connsiteY657" fmla="*/ 3388523 h 4525940"/>
              <a:gd name="connsiteX658" fmla="*/ 2909492 w 4545947"/>
              <a:gd name="connsiteY658" fmla="*/ 3361062 h 4525940"/>
              <a:gd name="connsiteX659" fmla="*/ 4276032 w 4545947"/>
              <a:gd name="connsiteY659" fmla="*/ 3354731 h 4525940"/>
              <a:gd name="connsiteX660" fmla="*/ 4265567 w 4545947"/>
              <a:gd name="connsiteY660" fmla="*/ 3364745 h 4525940"/>
              <a:gd name="connsiteX661" fmla="*/ 4267117 w 4545947"/>
              <a:gd name="connsiteY661" fmla="*/ 3405378 h 4525940"/>
              <a:gd name="connsiteX662" fmla="*/ 4276032 w 4545947"/>
              <a:gd name="connsiteY662" fmla="*/ 3430701 h 4525940"/>
              <a:gd name="connsiteX663" fmla="*/ 4302037 w 4545947"/>
              <a:gd name="connsiteY663" fmla="*/ 3446933 h 4525940"/>
              <a:gd name="connsiteX664" fmla="*/ 4293369 w 4545947"/>
              <a:gd name="connsiteY664" fmla="*/ 3411709 h 4525940"/>
              <a:gd name="connsiteX665" fmla="*/ 4289150 w 4545947"/>
              <a:gd name="connsiteY665" fmla="*/ 3393234 h 4525940"/>
              <a:gd name="connsiteX666" fmla="*/ 4276032 w 4545947"/>
              <a:gd name="connsiteY666" fmla="*/ 3354731 h 4525940"/>
              <a:gd name="connsiteX667" fmla="*/ 2669069 w 4545947"/>
              <a:gd name="connsiteY667" fmla="*/ 3336073 h 4525940"/>
              <a:gd name="connsiteX668" fmla="*/ 2661312 w 4545947"/>
              <a:gd name="connsiteY668" fmla="*/ 3343652 h 4525940"/>
              <a:gd name="connsiteX669" fmla="*/ 2652411 w 4545947"/>
              <a:gd name="connsiteY669" fmla="*/ 3343129 h 4525940"/>
              <a:gd name="connsiteX670" fmla="*/ 2636395 w 4545947"/>
              <a:gd name="connsiteY670" fmla="*/ 3338808 h 4525940"/>
              <a:gd name="connsiteX671" fmla="*/ 2627439 w 4545947"/>
              <a:gd name="connsiteY671" fmla="*/ 3373095 h 4525940"/>
              <a:gd name="connsiteX672" fmla="*/ 2630354 w 4545947"/>
              <a:gd name="connsiteY672" fmla="*/ 3407488 h 4525940"/>
              <a:gd name="connsiteX673" fmla="*/ 2652210 w 4545947"/>
              <a:gd name="connsiteY673" fmla="*/ 3403795 h 4525940"/>
              <a:gd name="connsiteX674" fmla="*/ 2655748 w 4545947"/>
              <a:gd name="connsiteY674" fmla="*/ 3386385 h 4525940"/>
              <a:gd name="connsiteX675" fmla="*/ 2665384 w 4545947"/>
              <a:gd name="connsiteY675" fmla="*/ 3374926 h 4525940"/>
              <a:gd name="connsiteX676" fmla="*/ 2679914 w 4545947"/>
              <a:gd name="connsiteY676" fmla="*/ 3345235 h 4525940"/>
              <a:gd name="connsiteX677" fmla="*/ 2669069 w 4545947"/>
              <a:gd name="connsiteY677" fmla="*/ 3336073 h 4525940"/>
              <a:gd name="connsiteX678" fmla="*/ 587549 w 4545947"/>
              <a:gd name="connsiteY678" fmla="*/ 3300251 h 4525940"/>
              <a:gd name="connsiteX679" fmla="*/ 574278 w 4545947"/>
              <a:gd name="connsiteY679" fmla="*/ 3300379 h 4525940"/>
              <a:gd name="connsiteX680" fmla="*/ 564236 w 4545947"/>
              <a:gd name="connsiteY680" fmla="*/ 3321715 h 4525940"/>
              <a:gd name="connsiteX681" fmla="*/ 575444 w 4545947"/>
              <a:gd name="connsiteY681" fmla="*/ 3340927 h 4525940"/>
              <a:gd name="connsiteX682" fmla="*/ 585283 w 4545947"/>
              <a:gd name="connsiteY682" fmla="*/ 3354654 h 4525940"/>
              <a:gd name="connsiteX683" fmla="*/ 606273 w 4545947"/>
              <a:gd name="connsiteY683" fmla="*/ 3378788 h 4525940"/>
              <a:gd name="connsiteX684" fmla="*/ 601264 w 4545947"/>
              <a:gd name="connsiteY684" fmla="*/ 3348772 h 4525940"/>
              <a:gd name="connsiteX685" fmla="*/ 590611 w 4545947"/>
              <a:gd name="connsiteY685" fmla="*/ 3322956 h 4525940"/>
              <a:gd name="connsiteX686" fmla="*/ 587549 w 4545947"/>
              <a:gd name="connsiteY686" fmla="*/ 3300251 h 4525940"/>
              <a:gd name="connsiteX687" fmla="*/ 4154664 w 4545947"/>
              <a:gd name="connsiteY687" fmla="*/ 3279903 h 4525940"/>
              <a:gd name="connsiteX688" fmla="*/ 4148160 w 4545947"/>
              <a:gd name="connsiteY688" fmla="*/ 3310449 h 4525940"/>
              <a:gd name="connsiteX689" fmla="*/ 4154873 w 4545947"/>
              <a:gd name="connsiteY689" fmla="*/ 3347448 h 4525940"/>
              <a:gd name="connsiteX690" fmla="*/ 4157387 w 4545947"/>
              <a:gd name="connsiteY690" fmla="*/ 3373723 h 4525940"/>
              <a:gd name="connsiteX691" fmla="*/ 4162336 w 4545947"/>
              <a:gd name="connsiteY691" fmla="*/ 3393890 h 4525940"/>
              <a:gd name="connsiteX692" fmla="*/ 4171844 w 4545947"/>
              <a:gd name="connsiteY692" fmla="*/ 3428710 h 4525940"/>
              <a:gd name="connsiteX693" fmla="*/ 4190840 w 4545947"/>
              <a:gd name="connsiteY693" fmla="*/ 3430334 h 4525940"/>
              <a:gd name="connsiteX694" fmla="*/ 4184264 w 4545947"/>
              <a:gd name="connsiteY694" fmla="*/ 3354731 h 4525940"/>
              <a:gd name="connsiteX695" fmla="*/ 4178032 w 4545947"/>
              <a:gd name="connsiteY695" fmla="*/ 3338904 h 4525940"/>
              <a:gd name="connsiteX696" fmla="*/ 4168795 w 4545947"/>
              <a:gd name="connsiteY696" fmla="*/ 3323077 h 4525940"/>
              <a:gd name="connsiteX697" fmla="*/ 4163412 w 4545947"/>
              <a:gd name="connsiteY697" fmla="*/ 3302505 h 4525940"/>
              <a:gd name="connsiteX698" fmla="*/ 4154664 w 4545947"/>
              <a:gd name="connsiteY698" fmla="*/ 3279903 h 4525940"/>
              <a:gd name="connsiteX699" fmla="*/ 3384462 w 4545947"/>
              <a:gd name="connsiteY699" fmla="*/ 3266400 h 4525940"/>
              <a:gd name="connsiteX700" fmla="*/ 3379525 w 4545947"/>
              <a:gd name="connsiteY700" fmla="*/ 3272430 h 4525940"/>
              <a:gd name="connsiteX701" fmla="*/ 3379925 w 4545947"/>
              <a:gd name="connsiteY701" fmla="*/ 3355951 h 4525940"/>
              <a:gd name="connsiteX702" fmla="*/ 3385390 w 4545947"/>
              <a:gd name="connsiteY702" fmla="*/ 3380219 h 4525940"/>
              <a:gd name="connsiteX703" fmla="*/ 3373548 w 4545947"/>
              <a:gd name="connsiteY703" fmla="*/ 3404295 h 4525940"/>
              <a:gd name="connsiteX704" fmla="*/ 3363543 w 4545947"/>
              <a:gd name="connsiteY704" fmla="*/ 3438014 h 4525940"/>
              <a:gd name="connsiteX705" fmla="*/ 3377229 w 4545947"/>
              <a:gd name="connsiteY705" fmla="*/ 3482289 h 4525940"/>
              <a:gd name="connsiteX706" fmla="*/ 3388329 w 4545947"/>
              <a:gd name="connsiteY706" fmla="*/ 3506757 h 4525940"/>
              <a:gd name="connsiteX707" fmla="*/ 3392701 w 4545947"/>
              <a:gd name="connsiteY707" fmla="*/ 3522499 h 4525940"/>
              <a:gd name="connsiteX708" fmla="*/ 3397074 w 4545947"/>
              <a:gd name="connsiteY708" fmla="*/ 3538273 h 4525940"/>
              <a:gd name="connsiteX709" fmla="*/ 3405820 w 4545947"/>
              <a:gd name="connsiteY709" fmla="*/ 3554153 h 4525940"/>
              <a:gd name="connsiteX710" fmla="*/ 3414566 w 4545947"/>
              <a:gd name="connsiteY710" fmla="*/ 3570407 h 4525940"/>
              <a:gd name="connsiteX711" fmla="*/ 3418939 w 4545947"/>
              <a:gd name="connsiteY711" fmla="*/ 3582642 h 4525940"/>
              <a:gd name="connsiteX712" fmla="*/ 3423312 w 4545947"/>
              <a:gd name="connsiteY712" fmla="*/ 3597414 h 4525940"/>
              <a:gd name="connsiteX713" fmla="*/ 3426227 w 4545947"/>
              <a:gd name="connsiteY713" fmla="*/ 3616406 h 4525940"/>
              <a:gd name="connsiteX714" fmla="*/ 3446895 w 4545947"/>
              <a:gd name="connsiteY714" fmla="*/ 3610613 h 4525940"/>
              <a:gd name="connsiteX715" fmla="*/ 3445741 w 4545947"/>
              <a:gd name="connsiteY715" fmla="*/ 3569980 h 4525940"/>
              <a:gd name="connsiteX716" fmla="*/ 3438964 w 4545947"/>
              <a:gd name="connsiteY716" fmla="*/ 3531995 h 4525940"/>
              <a:gd name="connsiteX717" fmla="*/ 3432296 w 4545947"/>
              <a:gd name="connsiteY717" fmla="*/ 3494010 h 4525940"/>
              <a:gd name="connsiteX718" fmla="*/ 3425497 w 4545947"/>
              <a:gd name="connsiteY718" fmla="*/ 3443363 h 4525940"/>
              <a:gd name="connsiteX719" fmla="*/ 3418484 w 4545947"/>
              <a:gd name="connsiteY719" fmla="*/ 3392716 h 4525940"/>
              <a:gd name="connsiteX720" fmla="*/ 3414566 w 4545947"/>
              <a:gd name="connsiteY720" fmla="*/ 3374498 h 4525940"/>
              <a:gd name="connsiteX721" fmla="*/ 3408222 w 4545947"/>
              <a:gd name="connsiteY721" fmla="*/ 3348660 h 4525940"/>
              <a:gd name="connsiteX722" fmla="*/ 3400570 w 4545947"/>
              <a:gd name="connsiteY722" fmla="*/ 3308969 h 4525940"/>
              <a:gd name="connsiteX723" fmla="*/ 3391484 w 4545947"/>
              <a:gd name="connsiteY723" fmla="*/ 3269917 h 4525940"/>
              <a:gd name="connsiteX724" fmla="*/ 3384462 w 4545947"/>
              <a:gd name="connsiteY724" fmla="*/ 3266400 h 4525940"/>
              <a:gd name="connsiteX725" fmla="*/ 3348864 w 4545947"/>
              <a:gd name="connsiteY725" fmla="*/ 3248793 h 4525940"/>
              <a:gd name="connsiteX726" fmla="*/ 3339131 w 4545947"/>
              <a:gd name="connsiteY726" fmla="*/ 3252124 h 4525940"/>
              <a:gd name="connsiteX727" fmla="*/ 3346508 w 4545947"/>
              <a:gd name="connsiteY727" fmla="*/ 3297753 h 4525940"/>
              <a:gd name="connsiteX728" fmla="*/ 3356934 w 4545947"/>
              <a:gd name="connsiteY728" fmla="*/ 3289624 h 4525940"/>
              <a:gd name="connsiteX729" fmla="*/ 3348864 w 4545947"/>
              <a:gd name="connsiteY729" fmla="*/ 3248793 h 4525940"/>
              <a:gd name="connsiteX730" fmla="*/ 313287 w 4545947"/>
              <a:gd name="connsiteY730" fmla="*/ 3234445 h 4525940"/>
              <a:gd name="connsiteX731" fmla="*/ 305415 w 4545947"/>
              <a:gd name="connsiteY731" fmla="*/ 3256085 h 4525940"/>
              <a:gd name="connsiteX732" fmla="*/ 318534 w 4545947"/>
              <a:gd name="connsiteY732" fmla="*/ 3297753 h 4525940"/>
              <a:gd name="connsiteX733" fmla="*/ 328998 w 4545947"/>
              <a:gd name="connsiteY733" fmla="*/ 3287739 h 4525940"/>
              <a:gd name="connsiteX734" fmla="*/ 313287 w 4545947"/>
              <a:gd name="connsiteY734" fmla="*/ 3234445 h 4525940"/>
              <a:gd name="connsiteX735" fmla="*/ 4380392 w 4545947"/>
              <a:gd name="connsiteY735" fmla="*/ 3159521 h 4525940"/>
              <a:gd name="connsiteX736" fmla="*/ 4371629 w 4545947"/>
              <a:gd name="connsiteY736" fmla="*/ 3212287 h 4525940"/>
              <a:gd name="connsiteX737" fmla="*/ 4377095 w 4545947"/>
              <a:gd name="connsiteY737" fmla="*/ 3265043 h 4525940"/>
              <a:gd name="connsiteX738" fmla="*/ 4380982 w 4545947"/>
              <a:gd name="connsiteY738" fmla="*/ 3275924 h 4525940"/>
              <a:gd name="connsiteX739" fmla="*/ 4396210 w 4545947"/>
              <a:gd name="connsiteY739" fmla="*/ 3266447 h 4525940"/>
              <a:gd name="connsiteX740" fmla="*/ 4395554 w 4545947"/>
              <a:gd name="connsiteY740" fmla="*/ 3164378 h 4525940"/>
              <a:gd name="connsiteX741" fmla="*/ 4380392 w 4545947"/>
              <a:gd name="connsiteY741" fmla="*/ 3159521 h 4525940"/>
              <a:gd name="connsiteX742" fmla="*/ 608431 w 4545947"/>
              <a:gd name="connsiteY742" fmla="*/ 3076110 h 4525940"/>
              <a:gd name="connsiteX743" fmla="*/ 602272 w 4545947"/>
              <a:gd name="connsiteY743" fmla="*/ 3083464 h 4525940"/>
              <a:gd name="connsiteX744" fmla="*/ 603005 w 4545947"/>
              <a:gd name="connsiteY744" fmla="*/ 3130192 h 4525940"/>
              <a:gd name="connsiteX745" fmla="*/ 605816 w 4545947"/>
              <a:gd name="connsiteY745" fmla="*/ 3141644 h 4525940"/>
              <a:gd name="connsiteX746" fmla="*/ 621984 w 4545947"/>
              <a:gd name="connsiteY746" fmla="*/ 3177467 h 4525940"/>
              <a:gd name="connsiteX747" fmla="*/ 639944 w 4545947"/>
              <a:gd name="connsiteY747" fmla="*/ 3205956 h 4525940"/>
              <a:gd name="connsiteX748" fmla="*/ 626855 w 4545947"/>
              <a:gd name="connsiteY748" fmla="*/ 3208107 h 4525940"/>
              <a:gd name="connsiteX749" fmla="*/ 601711 w 4545947"/>
              <a:gd name="connsiteY749" fmla="*/ 3189354 h 4525940"/>
              <a:gd name="connsiteX750" fmla="*/ 589378 w 4545947"/>
              <a:gd name="connsiteY750" fmla="*/ 3174540 h 4525940"/>
              <a:gd name="connsiteX751" fmla="*/ 585043 w 4545947"/>
              <a:gd name="connsiteY751" fmla="*/ 3165981 h 4525940"/>
              <a:gd name="connsiteX752" fmla="*/ 577206 w 4545947"/>
              <a:gd name="connsiteY752" fmla="*/ 3154710 h 4525940"/>
              <a:gd name="connsiteX753" fmla="*/ 575492 w 4545947"/>
              <a:gd name="connsiteY753" fmla="*/ 3142456 h 4525940"/>
              <a:gd name="connsiteX754" fmla="*/ 581420 w 4545947"/>
              <a:gd name="connsiteY754" fmla="*/ 3126820 h 4525940"/>
              <a:gd name="connsiteX755" fmla="*/ 574489 w 4545947"/>
              <a:gd name="connsiteY755" fmla="*/ 3102739 h 4525940"/>
              <a:gd name="connsiteX756" fmla="*/ 556997 w 4545947"/>
              <a:gd name="connsiteY756" fmla="*/ 3109463 h 4525940"/>
              <a:gd name="connsiteX757" fmla="*/ 556129 w 4545947"/>
              <a:gd name="connsiteY757" fmla="*/ 3135846 h 4525940"/>
              <a:gd name="connsiteX758" fmla="*/ 560000 w 4545947"/>
              <a:gd name="connsiteY758" fmla="*/ 3151929 h 4525940"/>
              <a:gd name="connsiteX759" fmla="*/ 563838 w 4545947"/>
              <a:gd name="connsiteY759" fmla="*/ 3181366 h 4525940"/>
              <a:gd name="connsiteX760" fmla="*/ 574180 w 4545947"/>
              <a:gd name="connsiteY760" fmla="*/ 3202392 h 4525940"/>
              <a:gd name="connsiteX761" fmla="*/ 600152 w 4545947"/>
              <a:gd name="connsiteY761" fmla="*/ 3246045 h 4525940"/>
              <a:gd name="connsiteX762" fmla="*/ 601046 w 4545947"/>
              <a:gd name="connsiteY762" fmla="*/ 3251855 h 4525940"/>
              <a:gd name="connsiteX763" fmla="*/ 603100 w 4545947"/>
              <a:gd name="connsiteY763" fmla="*/ 3266099 h 4525940"/>
              <a:gd name="connsiteX764" fmla="*/ 609854 w 4545947"/>
              <a:gd name="connsiteY764" fmla="*/ 3283509 h 4525940"/>
              <a:gd name="connsiteX765" fmla="*/ 617032 w 4545947"/>
              <a:gd name="connsiteY765" fmla="*/ 3308832 h 4525940"/>
              <a:gd name="connsiteX766" fmla="*/ 617946 w 4545947"/>
              <a:gd name="connsiteY766" fmla="*/ 3316746 h 4525940"/>
              <a:gd name="connsiteX767" fmla="*/ 623970 w 4545947"/>
              <a:gd name="connsiteY767" fmla="*/ 3328567 h 4525940"/>
              <a:gd name="connsiteX768" fmla="*/ 633385 w 4545947"/>
              <a:gd name="connsiteY768" fmla="*/ 3352836 h 4525940"/>
              <a:gd name="connsiteX769" fmla="*/ 658577 w 4545947"/>
              <a:gd name="connsiteY769" fmla="*/ 3369716 h 4525940"/>
              <a:gd name="connsiteX770" fmla="*/ 671077 w 4545947"/>
              <a:gd name="connsiteY770" fmla="*/ 3350809 h 4525940"/>
              <a:gd name="connsiteX771" fmla="*/ 690819 w 4545947"/>
              <a:gd name="connsiteY771" fmla="*/ 3346003 h 4525940"/>
              <a:gd name="connsiteX772" fmla="*/ 704860 w 4545947"/>
              <a:gd name="connsiteY772" fmla="*/ 3315662 h 4525940"/>
              <a:gd name="connsiteX773" fmla="*/ 683069 w 4545947"/>
              <a:gd name="connsiteY773" fmla="*/ 3313581 h 4525940"/>
              <a:gd name="connsiteX774" fmla="*/ 648396 w 4545947"/>
              <a:gd name="connsiteY774" fmla="*/ 3281551 h 4525940"/>
              <a:gd name="connsiteX775" fmla="*/ 638964 w 4545947"/>
              <a:gd name="connsiteY775" fmla="*/ 3252310 h 4525940"/>
              <a:gd name="connsiteX776" fmla="*/ 636844 w 4545947"/>
              <a:gd name="connsiteY776" fmla="*/ 3230703 h 4525940"/>
              <a:gd name="connsiteX777" fmla="*/ 644091 w 4545947"/>
              <a:gd name="connsiteY777" fmla="*/ 3233414 h 4525940"/>
              <a:gd name="connsiteX778" fmla="*/ 653357 w 4545947"/>
              <a:gd name="connsiteY778" fmla="*/ 3247106 h 4525940"/>
              <a:gd name="connsiteX779" fmla="*/ 659622 w 4545947"/>
              <a:gd name="connsiteY779" fmla="*/ 3255622 h 4525940"/>
              <a:gd name="connsiteX780" fmla="*/ 668613 w 4545947"/>
              <a:gd name="connsiteY780" fmla="*/ 3275916 h 4525940"/>
              <a:gd name="connsiteX781" fmla="*/ 686690 w 4545947"/>
              <a:gd name="connsiteY781" fmla="*/ 3279479 h 4525940"/>
              <a:gd name="connsiteX782" fmla="*/ 698996 w 4545947"/>
              <a:gd name="connsiteY782" fmla="*/ 3278800 h 4525940"/>
              <a:gd name="connsiteX783" fmla="*/ 718657 w 4545947"/>
              <a:gd name="connsiteY783" fmla="*/ 3266012 h 4525940"/>
              <a:gd name="connsiteX784" fmla="*/ 702258 w 4545947"/>
              <a:gd name="connsiteY784" fmla="*/ 3248307 h 4525940"/>
              <a:gd name="connsiteX785" fmla="*/ 685860 w 4545947"/>
              <a:gd name="connsiteY785" fmla="*/ 3218686 h 4525940"/>
              <a:gd name="connsiteX786" fmla="*/ 671132 w 4545947"/>
              <a:gd name="connsiteY786" fmla="*/ 3168421 h 4525940"/>
              <a:gd name="connsiteX787" fmla="*/ 649936 w 4545947"/>
              <a:gd name="connsiteY787" fmla="*/ 3145813 h 4525940"/>
              <a:gd name="connsiteX788" fmla="*/ 623889 w 4545947"/>
              <a:gd name="connsiteY788" fmla="*/ 3101236 h 4525940"/>
              <a:gd name="connsiteX789" fmla="*/ 608431 w 4545947"/>
              <a:gd name="connsiteY789" fmla="*/ 3076110 h 4525940"/>
              <a:gd name="connsiteX790" fmla="*/ 299116 w 4545947"/>
              <a:gd name="connsiteY790" fmla="*/ 2844933 h 4525940"/>
              <a:gd name="connsiteX791" fmla="*/ 305415 w 4545947"/>
              <a:gd name="connsiteY791" fmla="*/ 2859317 h 4525940"/>
              <a:gd name="connsiteX792" fmla="*/ 312354 w 4545947"/>
              <a:gd name="connsiteY792" fmla="*/ 2885111 h 4525940"/>
              <a:gd name="connsiteX793" fmla="*/ 314006 w 4545947"/>
              <a:gd name="connsiteY793" fmla="*/ 2908678 h 4525940"/>
              <a:gd name="connsiteX794" fmla="*/ 303161 w 4545947"/>
              <a:gd name="connsiteY794" fmla="*/ 2917902 h 4525940"/>
              <a:gd name="connsiteX795" fmla="*/ 295229 w 4545947"/>
              <a:gd name="connsiteY795" fmla="*/ 2926867 h 4525940"/>
              <a:gd name="connsiteX796" fmla="*/ 301032 w 4545947"/>
              <a:gd name="connsiteY796" fmla="*/ 3016030 h 4525940"/>
              <a:gd name="connsiteX797" fmla="*/ 307082 w 4545947"/>
              <a:gd name="connsiteY797" fmla="*/ 3039770 h 4525940"/>
              <a:gd name="connsiteX798" fmla="*/ 314244 w 4545947"/>
              <a:gd name="connsiteY798" fmla="*/ 3057181 h 4525940"/>
              <a:gd name="connsiteX799" fmla="*/ 311975 w 4545947"/>
              <a:gd name="connsiteY799" fmla="*/ 3120489 h 4525940"/>
              <a:gd name="connsiteX800" fmla="*/ 314431 w 4545947"/>
              <a:gd name="connsiteY800" fmla="*/ 3160411 h 4525940"/>
              <a:gd name="connsiteX801" fmla="*/ 322659 w 4545947"/>
              <a:gd name="connsiteY801" fmla="*/ 3172228 h 4525940"/>
              <a:gd name="connsiteX802" fmla="*/ 333101 w 4545947"/>
              <a:gd name="connsiteY802" fmla="*/ 3196459 h 4525940"/>
              <a:gd name="connsiteX803" fmla="*/ 351673 w 4545947"/>
              <a:gd name="connsiteY803" fmla="*/ 3244221 h 4525940"/>
              <a:gd name="connsiteX804" fmla="*/ 357674 w 4545947"/>
              <a:gd name="connsiteY804" fmla="*/ 3270391 h 4525940"/>
              <a:gd name="connsiteX805" fmla="*/ 360077 w 4545947"/>
              <a:gd name="connsiteY805" fmla="*/ 3300043 h 4525940"/>
              <a:gd name="connsiteX806" fmla="*/ 362263 w 4545947"/>
              <a:gd name="connsiteY806" fmla="*/ 3345235 h 4525940"/>
              <a:gd name="connsiteX807" fmla="*/ 371009 w 4545947"/>
              <a:gd name="connsiteY807" fmla="*/ 3371539 h 4525940"/>
              <a:gd name="connsiteX808" fmla="*/ 359940 w 4545947"/>
              <a:gd name="connsiteY808" fmla="*/ 3386385 h 4525940"/>
              <a:gd name="connsiteX809" fmla="*/ 348358 w 4545947"/>
              <a:gd name="connsiteY809" fmla="*/ 3410274 h 4525940"/>
              <a:gd name="connsiteX810" fmla="*/ 353518 w 4545947"/>
              <a:gd name="connsiteY810" fmla="*/ 3431779 h 4525940"/>
              <a:gd name="connsiteX811" fmla="*/ 366316 w 4545947"/>
              <a:gd name="connsiteY811" fmla="*/ 3457788 h 4525940"/>
              <a:gd name="connsiteX812" fmla="*/ 388501 w 4545947"/>
              <a:gd name="connsiteY812" fmla="*/ 3503581 h 4525940"/>
              <a:gd name="connsiteX813" fmla="*/ 397247 w 4545947"/>
              <a:gd name="connsiteY813" fmla="*/ 3519333 h 4525940"/>
              <a:gd name="connsiteX814" fmla="*/ 405993 w 4545947"/>
              <a:gd name="connsiteY814" fmla="*/ 3538971 h 4525940"/>
              <a:gd name="connsiteX815" fmla="*/ 416925 w 4545947"/>
              <a:gd name="connsiteY815" fmla="*/ 3572583 h 4525940"/>
              <a:gd name="connsiteX816" fmla="*/ 400289 w 4545947"/>
              <a:gd name="connsiteY816" fmla="*/ 3581960 h 4525940"/>
              <a:gd name="connsiteX817" fmla="*/ 374258 w 4545947"/>
              <a:gd name="connsiteY817" fmla="*/ 3529946 h 4525940"/>
              <a:gd name="connsiteX818" fmla="*/ 357004 w 4545947"/>
              <a:gd name="connsiteY818" fmla="*/ 3495233 h 4525940"/>
              <a:gd name="connsiteX819" fmla="*/ 349145 w 4545947"/>
              <a:gd name="connsiteY819" fmla="*/ 3472244 h 4525940"/>
              <a:gd name="connsiteX820" fmla="*/ 333840 w 4545947"/>
              <a:gd name="connsiteY820" fmla="*/ 3440626 h 4525940"/>
              <a:gd name="connsiteX821" fmla="*/ 318534 w 4545947"/>
              <a:gd name="connsiteY821" fmla="*/ 3411084 h 4525940"/>
              <a:gd name="connsiteX822" fmla="*/ 307602 w 4545947"/>
              <a:gd name="connsiteY822" fmla="*/ 3383774 h 4525940"/>
              <a:gd name="connsiteX823" fmla="*/ 296670 w 4545947"/>
              <a:gd name="connsiteY823" fmla="*/ 3361833 h 4525940"/>
              <a:gd name="connsiteX824" fmla="*/ 291204 w 4545947"/>
              <a:gd name="connsiteY824" fmla="*/ 3341156 h 4525940"/>
              <a:gd name="connsiteX825" fmla="*/ 291204 w 4545947"/>
              <a:gd name="connsiteY825" fmla="*/ 3324887 h 4525940"/>
              <a:gd name="connsiteX826" fmla="*/ 292297 w 4545947"/>
              <a:gd name="connsiteY826" fmla="*/ 3288257 h 4525940"/>
              <a:gd name="connsiteX827" fmla="*/ 287924 w 4545947"/>
              <a:gd name="connsiteY827" fmla="*/ 3268298 h 4525940"/>
              <a:gd name="connsiteX828" fmla="*/ 279316 w 4545947"/>
              <a:gd name="connsiteY828" fmla="*/ 3248993 h 4525940"/>
              <a:gd name="connsiteX829" fmla="*/ 271663 w 4545947"/>
              <a:gd name="connsiteY829" fmla="*/ 3209582 h 4525940"/>
              <a:gd name="connsiteX830" fmla="*/ 255824 w 4545947"/>
              <a:gd name="connsiteY830" fmla="*/ 3151135 h 4525940"/>
              <a:gd name="connsiteX831" fmla="*/ 240519 w 4545947"/>
              <a:gd name="connsiteY831" fmla="*/ 3114065 h 4525940"/>
              <a:gd name="connsiteX832" fmla="*/ 275363 w 4545947"/>
              <a:gd name="connsiteY832" fmla="*/ 3076636 h 4525940"/>
              <a:gd name="connsiteX833" fmla="*/ 287016 w 4545947"/>
              <a:gd name="connsiteY833" fmla="*/ 3068260 h 4525940"/>
              <a:gd name="connsiteX834" fmla="*/ 271736 w 4545947"/>
              <a:gd name="connsiteY834" fmla="*/ 3019134 h 4525940"/>
              <a:gd name="connsiteX835" fmla="*/ 248567 w 4545947"/>
              <a:gd name="connsiteY835" fmla="*/ 2993872 h 4525940"/>
              <a:gd name="connsiteX836" fmla="*/ 219553 w 4545947"/>
              <a:gd name="connsiteY836" fmla="*/ 2968611 h 4525940"/>
              <a:gd name="connsiteX837" fmla="*/ 198550 w 4545947"/>
              <a:gd name="connsiteY837" fmla="*/ 2952433 h 4525940"/>
              <a:gd name="connsiteX838" fmla="*/ 209422 w 4545947"/>
              <a:gd name="connsiteY838" fmla="*/ 2911571 h 4525940"/>
              <a:gd name="connsiteX839" fmla="*/ 225158 w 4545947"/>
              <a:gd name="connsiteY839" fmla="*/ 2894161 h 4525940"/>
              <a:gd name="connsiteX840" fmla="*/ 245762 w 4545947"/>
              <a:gd name="connsiteY840" fmla="*/ 2861125 h 4525940"/>
              <a:gd name="connsiteX841" fmla="*/ 247013 w 4545947"/>
              <a:gd name="connsiteY841" fmla="*/ 2875360 h 4525940"/>
              <a:gd name="connsiteX842" fmla="*/ 275118 w 4545947"/>
              <a:gd name="connsiteY842" fmla="*/ 2914326 h 4525940"/>
              <a:gd name="connsiteX843" fmla="*/ 276532 w 4545947"/>
              <a:gd name="connsiteY843" fmla="*/ 2870294 h 4525940"/>
              <a:gd name="connsiteX844" fmla="*/ 281659 w 4545947"/>
              <a:gd name="connsiteY844" fmla="*/ 2848100 h 4525940"/>
              <a:gd name="connsiteX845" fmla="*/ 299116 w 4545947"/>
              <a:gd name="connsiteY845" fmla="*/ 2844933 h 4525940"/>
              <a:gd name="connsiteX846" fmla="*/ 4347140 w 4545947"/>
              <a:gd name="connsiteY846" fmla="*/ 2808314 h 4525940"/>
              <a:gd name="connsiteX847" fmla="*/ 4335975 w 4545947"/>
              <a:gd name="connsiteY847" fmla="*/ 2820272 h 4525940"/>
              <a:gd name="connsiteX848" fmla="*/ 4313472 w 4545947"/>
              <a:gd name="connsiteY848" fmla="*/ 2830622 h 4525940"/>
              <a:gd name="connsiteX849" fmla="*/ 4287024 w 4545947"/>
              <a:gd name="connsiteY849" fmla="*/ 2841656 h 4525940"/>
              <a:gd name="connsiteX850" fmla="*/ 4290942 w 4545947"/>
              <a:gd name="connsiteY850" fmla="*/ 2866625 h 4525940"/>
              <a:gd name="connsiteX851" fmla="*/ 4293523 w 4545947"/>
              <a:gd name="connsiteY851" fmla="*/ 2892578 h 4525940"/>
              <a:gd name="connsiteX852" fmla="*/ 4298383 w 4545947"/>
              <a:gd name="connsiteY852" fmla="*/ 2914961 h 4525940"/>
              <a:gd name="connsiteX853" fmla="*/ 4316481 w 4545947"/>
              <a:gd name="connsiteY853" fmla="*/ 2894457 h 4525940"/>
              <a:gd name="connsiteX854" fmla="*/ 4322232 w 4545947"/>
              <a:gd name="connsiteY854" fmla="*/ 2867098 h 4525940"/>
              <a:gd name="connsiteX855" fmla="*/ 4344228 w 4545947"/>
              <a:gd name="connsiteY855" fmla="*/ 2883547 h 4525940"/>
              <a:gd name="connsiteX856" fmla="*/ 4341331 w 4545947"/>
              <a:gd name="connsiteY856" fmla="*/ 2930563 h 4525940"/>
              <a:gd name="connsiteX857" fmla="*/ 4341235 w 4545947"/>
              <a:gd name="connsiteY857" fmla="*/ 2950611 h 4525940"/>
              <a:gd name="connsiteX858" fmla="*/ 4346422 w 4545947"/>
              <a:gd name="connsiteY858" fmla="*/ 2978045 h 4525940"/>
              <a:gd name="connsiteX859" fmla="*/ 4351599 w 4545947"/>
              <a:gd name="connsiteY859" fmla="*/ 3011069 h 4525940"/>
              <a:gd name="connsiteX860" fmla="*/ 4353681 w 4545947"/>
              <a:gd name="connsiteY860" fmla="*/ 3026896 h 4525940"/>
              <a:gd name="connsiteX861" fmla="*/ 4358733 w 4545947"/>
              <a:gd name="connsiteY861" fmla="*/ 3042735 h 4525940"/>
              <a:gd name="connsiteX862" fmla="*/ 4374735 w 4545947"/>
              <a:gd name="connsiteY862" fmla="*/ 3041806 h 4525940"/>
              <a:gd name="connsiteX863" fmla="*/ 4376609 w 4545947"/>
              <a:gd name="connsiteY863" fmla="*/ 3009699 h 4525940"/>
              <a:gd name="connsiteX864" fmla="*/ 4372236 w 4545947"/>
              <a:gd name="connsiteY864" fmla="*/ 2977671 h 4525940"/>
              <a:gd name="connsiteX865" fmla="*/ 4376609 w 4545947"/>
              <a:gd name="connsiteY865" fmla="*/ 2949556 h 4525940"/>
              <a:gd name="connsiteX866" fmla="*/ 4375625 w 4545947"/>
              <a:gd name="connsiteY866" fmla="*/ 2919010 h 4525940"/>
              <a:gd name="connsiteX867" fmla="*/ 4374793 w 4545947"/>
              <a:gd name="connsiteY867" fmla="*/ 2900334 h 4525940"/>
              <a:gd name="connsiteX868" fmla="*/ 4376745 w 4545947"/>
              <a:gd name="connsiteY868" fmla="*/ 2841931 h 4525940"/>
              <a:gd name="connsiteX869" fmla="*/ 4372236 w 4545947"/>
              <a:gd name="connsiteY869" fmla="*/ 2835149 h 4525940"/>
              <a:gd name="connsiteX870" fmla="*/ 4347140 w 4545947"/>
              <a:gd name="connsiteY870" fmla="*/ 2808314 h 4525940"/>
              <a:gd name="connsiteX871" fmla="*/ 185194 w 4545947"/>
              <a:gd name="connsiteY871" fmla="*/ 2800466 h 4525940"/>
              <a:gd name="connsiteX872" fmla="*/ 202843 w 4545947"/>
              <a:gd name="connsiteY872" fmla="*/ 2804051 h 4525940"/>
              <a:gd name="connsiteX873" fmla="*/ 209063 w 4545947"/>
              <a:gd name="connsiteY873" fmla="*/ 2816874 h 4525940"/>
              <a:gd name="connsiteX874" fmla="*/ 178601 w 4545947"/>
              <a:gd name="connsiteY874" fmla="*/ 2813244 h 4525940"/>
              <a:gd name="connsiteX875" fmla="*/ 185194 w 4545947"/>
              <a:gd name="connsiteY875" fmla="*/ 2800466 h 4525940"/>
              <a:gd name="connsiteX876" fmla="*/ 222256 w 4545947"/>
              <a:gd name="connsiteY876" fmla="*/ 2788186 h 4525940"/>
              <a:gd name="connsiteX877" fmla="*/ 241934 w 4545947"/>
              <a:gd name="connsiteY877" fmla="*/ 2788517 h 4525940"/>
              <a:gd name="connsiteX878" fmla="*/ 257313 w 4545947"/>
              <a:gd name="connsiteY878" fmla="*/ 2810982 h 4525940"/>
              <a:gd name="connsiteX879" fmla="*/ 249103 w 4545947"/>
              <a:gd name="connsiteY879" fmla="*/ 2829270 h 4525940"/>
              <a:gd name="connsiteX880" fmla="*/ 235449 w 4545947"/>
              <a:gd name="connsiteY880" fmla="*/ 2819774 h 4525940"/>
              <a:gd name="connsiteX881" fmla="*/ 223981 w 4545947"/>
              <a:gd name="connsiteY881" fmla="*/ 2810277 h 4525940"/>
              <a:gd name="connsiteX882" fmla="*/ 222256 w 4545947"/>
              <a:gd name="connsiteY882" fmla="*/ 2788186 h 4525940"/>
              <a:gd name="connsiteX883" fmla="*/ 4412081 w 4545947"/>
              <a:gd name="connsiteY883" fmla="*/ 2689991 h 4525940"/>
              <a:gd name="connsiteX884" fmla="*/ 4428685 w 4545947"/>
              <a:gd name="connsiteY884" fmla="*/ 2766566 h 4525940"/>
              <a:gd name="connsiteX885" fmla="*/ 4416240 w 4545947"/>
              <a:gd name="connsiteY885" fmla="*/ 2811021 h 4525940"/>
              <a:gd name="connsiteX886" fmla="*/ 4408816 w 4545947"/>
              <a:gd name="connsiteY886" fmla="*/ 2744370 h 4525940"/>
              <a:gd name="connsiteX887" fmla="*/ 4412081 w 4545947"/>
              <a:gd name="connsiteY887" fmla="*/ 2689991 h 4525940"/>
              <a:gd name="connsiteX888" fmla="*/ 127218 w 4545947"/>
              <a:gd name="connsiteY888" fmla="*/ 2621494 h 4525940"/>
              <a:gd name="connsiteX889" fmla="*/ 122846 w 4545947"/>
              <a:gd name="connsiteY889" fmla="*/ 2670901 h 4525940"/>
              <a:gd name="connsiteX890" fmla="*/ 117380 w 4545947"/>
              <a:gd name="connsiteY890" fmla="*/ 2645235 h 4525940"/>
              <a:gd name="connsiteX891" fmla="*/ 127218 w 4545947"/>
              <a:gd name="connsiteY891" fmla="*/ 2621494 h 4525940"/>
              <a:gd name="connsiteX892" fmla="*/ 202062 w 4545947"/>
              <a:gd name="connsiteY892" fmla="*/ 2494799 h 4525940"/>
              <a:gd name="connsiteX893" fmla="*/ 208469 w 4545947"/>
              <a:gd name="connsiteY893" fmla="*/ 2507415 h 4525940"/>
              <a:gd name="connsiteX894" fmla="*/ 216859 w 4545947"/>
              <a:gd name="connsiteY894" fmla="*/ 2533762 h 4525940"/>
              <a:gd name="connsiteX895" fmla="*/ 226703 w 4545947"/>
              <a:gd name="connsiteY895" fmla="*/ 2556236 h 4525940"/>
              <a:gd name="connsiteX896" fmla="*/ 231595 w 4545947"/>
              <a:gd name="connsiteY896" fmla="*/ 2574254 h 4525940"/>
              <a:gd name="connsiteX897" fmla="*/ 227222 w 4545947"/>
              <a:gd name="connsiteY897" fmla="*/ 2624068 h 4525940"/>
              <a:gd name="connsiteX898" fmla="*/ 224867 w 4545947"/>
              <a:gd name="connsiteY898" fmla="*/ 2696743 h 4525940"/>
              <a:gd name="connsiteX899" fmla="*/ 244545 w 4545947"/>
              <a:gd name="connsiteY899" fmla="*/ 2698068 h 4525940"/>
              <a:gd name="connsiteX900" fmla="*/ 257313 w 4545947"/>
              <a:gd name="connsiteY900" fmla="*/ 2706368 h 4525940"/>
              <a:gd name="connsiteX901" fmla="*/ 242983 w 4545947"/>
              <a:gd name="connsiteY901" fmla="*/ 2721645 h 4525940"/>
              <a:gd name="connsiteX902" fmla="*/ 214289 w 4545947"/>
              <a:gd name="connsiteY902" fmla="*/ 2740638 h 4525940"/>
              <a:gd name="connsiteX903" fmla="*/ 187346 w 4545947"/>
              <a:gd name="connsiteY903" fmla="*/ 2731669 h 4525940"/>
              <a:gd name="connsiteX904" fmla="*/ 182313 w 4545947"/>
              <a:gd name="connsiteY904" fmla="*/ 2701279 h 4525940"/>
              <a:gd name="connsiteX905" fmla="*/ 175205 w 4545947"/>
              <a:gd name="connsiteY905" fmla="*/ 2662649 h 4525940"/>
              <a:gd name="connsiteX906" fmla="*/ 169307 w 4545947"/>
              <a:gd name="connsiteY906" fmla="*/ 2623027 h 4525940"/>
              <a:gd name="connsiteX907" fmla="*/ 165482 w 4545947"/>
              <a:gd name="connsiteY907" fmla="*/ 2600985 h 4525940"/>
              <a:gd name="connsiteX908" fmla="*/ 176156 w 4545947"/>
              <a:gd name="connsiteY908" fmla="*/ 2582366 h 4525940"/>
              <a:gd name="connsiteX909" fmla="*/ 193816 w 4545947"/>
              <a:gd name="connsiteY909" fmla="*/ 2531949 h 4525940"/>
              <a:gd name="connsiteX910" fmla="*/ 202062 w 4545947"/>
              <a:gd name="connsiteY910" fmla="*/ 2494799 h 4525940"/>
              <a:gd name="connsiteX911" fmla="*/ 154003 w 4545947"/>
              <a:gd name="connsiteY911" fmla="*/ 2487403 h 4525940"/>
              <a:gd name="connsiteX912" fmla="*/ 165482 w 4545947"/>
              <a:gd name="connsiteY912" fmla="*/ 2545173 h 4525940"/>
              <a:gd name="connsiteX913" fmla="*/ 140337 w 4545947"/>
              <a:gd name="connsiteY913" fmla="*/ 2556845 h 4525940"/>
              <a:gd name="connsiteX914" fmla="*/ 139428 w 4545947"/>
              <a:gd name="connsiteY914" fmla="*/ 2529713 h 4525940"/>
              <a:gd name="connsiteX915" fmla="*/ 147656 w 4545947"/>
              <a:gd name="connsiteY915" fmla="*/ 2515110 h 4525940"/>
              <a:gd name="connsiteX916" fmla="*/ 154003 w 4545947"/>
              <a:gd name="connsiteY916" fmla="*/ 2487403 h 4525940"/>
              <a:gd name="connsiteX917" fmla="*/ 4489212 w 4545947"/>
              <a:gd name="connsiteY917" fmla="*/ 2459669 h 4525940"/>
              <a:gd name="connsiteX918" fmla="*/ 4507796 w 4545947"/>
              <a:gd name="connsiteY918" fmla="*/ 2490415 h 4525940"/>
              <a:gd name="connsiteX919" fmla="*/ 4512956 w 4545947"/>
              <a:gd name="connsiteY919" fmla="*/ 2514162 h 4525940"/>
              <a:gd name="connsiteX920" fmla="*/ 4514448 w 4545947"/>
              <a:gd name="connsiteY920" fmla="*/ 2528934 h 4525940"/>
              <a:gd name="connsiteX921" fmla="*/ 4511569 w 4545947"/>
              <a:gd name="connsiteY921" fmla="*/ 2546369 h 4525940"/>
              <a:gd name="connsiteX922" fmla="*/ 4507545 w 4545947"/>
              <a:gd name="connsiteY922" fmla="*/ 2577386 h 4525940"/>
              <a:gd name="connsiteX923" fmla="*/ 4513150 w 4545947"/>
              <a:gd name="connsiteY923" fmla="*/ 2616549 h 4525940"/>
              <a:gd name="connsiteX924" fmla="*/ 4531819 w 4545947"/>
              <a:gd name="connsiteY924" fmla="*/ 2636631 h 4525940"/>
              <a:gd name="connsiteX925" fmla="*/ 4544130 w 4545947"/>
              <a:gd name="connsiteY925" fmla="*/ 2661031 h 4525940"/>
              <a:gd name="connsiteX926" fmla="*/ 4539364 w 4545947"/>
              <a:gd name="connsiteY926" fmla="*/ 2691419 h 4525940"/>
              <a:gd name="connsiteX927" fmla="*/ 4520915 w 4545947"/>
              <a:gd name="connsiteY927" fmla="*/ 2683088 h 4525940"/>
              <a:gd name="connsiteX928" fmla="*/ 4514355 w 4545947"/>
              <a:gd name="connsiteY928" fmla="*/ 2666957 h 4525940"/>
              <a:gd name="connsiteX929" fmla="*/ 4507796 w 4545947"/>
              <a:gd name="connsiteY929" fmla="*/ 2648681 h 4525940"/>
              <a:gd name="connsiteX930" fmla="*/ 4476606 w 4545947"/>
              <a:gd name="connsiteY930" fmla="*/ 2627651 h 4525940"/>
              <a:gd name="connsiteX931" fmla="*/ 4472248 w 4545947"/>
              <a:gd name="connsiteY931" fmla="*/ 2654666 h 4525940"/>
              <a:gd name="connsiteX932" fmla="*/ 4478572 w 4545947"/>
              <a:gd name="connsiteY932" fmla="*/ 2676289 h 4525940"/>
              <a:gd name="connsiteX933" fmla="*/ 4516779 w 4545947"/>
              <a:gd name="connsiteY933" fmla="*/ 2707060 h 4525940"/>
              <a:gd name="connsiteX934" fmla="*/ 4523632 w 4545947"/>
              <a:gd name="connsiteY934" fmla="*/ 2733459 h 4525940"/>
              <a:gd name="connsiteX935" fmla="*/ 4516542 w 4545947"/>
              <a:gd name="connsiteY935" fmla="*/ 2777165 h 4525940"/>
              <a:gd name="connsiteX936" fmla="*/ 4500806 w 4545947"/>
              <a:gd name="connsiteY936" fmla="*/ 2805311 h 4525940"/>
              <a:gd name="connsiteX937" fmla="*/ 4500806 w 4545947"/>
              <a:gd name="connsiteY937" fmla="*/ 2805310 h 4525940"/>
              <a:gd name="connsiteX938" fmla="*/ 4487024 w 4545947"/>
              <a:gd name="connsiteY938" fmla="*/ 2793817 h 4525940"/>
              <a:gd name="connsiteX939" fmla="*/ 4475000 w 4545947"/>
              <a:gd name="connsiteY939" fmla="*/ 2792234 h 4525940"/>
              <a:gd name="connsiteX940" fmla="*/ 4468440 w 4545947"/>
              <a:gd name="connsiteY940" fmla="*/ 2775457 h 4525940"/>
              <a:gd name="connsiteX941" fmla="*/ 4464067 w 4545947"/>
              <a:gd name="connsiteY941" fmla="*/ 2759630 h 4525940"/>
              <a:gd name="connsiteX942" fmla="*/ 4459694 w 4545947"/>
              <a:gd name="connsiteY942" fmla="*/ 2747342 h 4525940"/>
              <a:gd name="connsiteX943" fmla="*/ 4464067 w 4545947"/>
              <a:gd name="connsiteY943" fmla="*/ 2731141 h 4525940"/>
              <a:gd name="connsiteX944" fmla="*/ 4463558 w 4545947"/>
              <a:gd name="connsiteY944" fmla="*/ 2689991 h 4525940"/>
              <a:gd name="connsiteX945" fmla="*/ 4460961 w 4545947"/>
              <a:gd name="connsiteY945" fmla="*/ 2677329 h 4525940"/>
              <a:gd name="connsiteX946" fmla="*/ 4459285 w 4545947"/>
              <a:gd name="connsiteY946" fmla="*/ 2664667 h 4525940"/>
              <a:gd name="connsiteX947" fmla="*/ 4455321 w 4545947"/>
              <a:gd name="connsiteY947" fmla="*/ 2629110 h 4525940"/>
              <a:gd name="connsiteX948" fmla="*/ 4464775 w 4545947"/>
              <a:gd name="connsiteY948" fmla="*/ 2597130 h 4525940"/>
              <a:gd name="connsiteX949" fmla="*/ 4484058 w 4545947"/>
              <a:gd name="connsiteY949" fmla="*/ 2553425 h 4525940"/>
              <a:gd name="connsiteX950" fmla="*/ 4463930 w 4545947"/>
              <a:gd name="connsiteY950" fmla="*/ 2554058 h 4525940"/>
              <a:gd name="connsiteX951" fmla="*/ 4417058 w 4545947"/>
              <a:gd name="connsiteY951" fmla="*/ 2525589 h 4525940"/>
              <a:gd name="connsiteX952" fmla="*/ 4398473 w 4545947"/>
              <a:gd name="connsiteY952" fmla="*/ 2483464 h 4525940"/>
              <a:gd name="connsiteX953" fmla="*/ 4413779 w 4545947"/>
              <a:gd name="connsiteY953" fmla="*/ 2471995 h 4525940"/>
              <a:gd name="connsiteX954" fmla="*/ 4429084 w 4545947"/>
              <a:gd name="connsiteY954" fmla="*/ 2469116 h 4525940"/>
              <a:gd name="connsiteX955" fmla="*/ 4451173 w 4545947"/>
              <a:gd name="connsiteY955" fmla="*/ 2475117 h 4525940"/>
              <a:gd name="connsiteX956" fmla="*/ 4468085 w 4545947"/>
              <a:gd name="connsiteY956" fmla="*/ 2479925 h 4525940"/>
              <a:gd name="connsiteX957" fmla="*/ 4477186 w 4545947"/>
              <a:gd name="connsiteY957" fmla="*/ 2463602 h 4525940"/>
              <a:gd name="connsiteX958" fmla="*/ 4489212 w 4545947"/>
              <a:gd name="connsiteY958" fmla="*/ 2459669 h 4525940"/>
              <a:gd name="connsiteX959" fmla="*/ 7746 w 4545947"/>
              <a:gd name="connsiteY959" fmla="*/ 2436756 h 4525940"/>
              <a:gd name="connsiteX960" fmla="*/ 15909 w 4545947"/>
              <a:gd name="connsiteY960" fmla="*/ 2478985 h 4525940"/>
              <a:gd name="connsiteX961" fmla="*/ 9149 w 4545947"/>
              <a:gd name="connsiteY961" fmla="*/ 2523829 h 4525940"/>
              <a:gd name="connsiteX962" fmla="*/ 3624 w 4545947"/>
              <a:gd name="connsiteY962" fmla="*/ 2495844 h 4525940"/>
              <a:gd name="connsiteX963" fmla="*/ 927 w 4545947"/>
              <a:gd name="connsiteY963" fmla="*/ 2451001 h 4525940"/>
              <a:gd name="connsiteX964" fmla="*/ 7746 w 4545947"/>
              <a:gd name="connsiteY964" fmla="*/ 2436756 h 4525940"/>
              <a:gd name="connsiteX965" fmla="*/ 4451449 w 4545947"/>
              <a:gd name="connsiteY965" fmla="*/ 2180169 h 4525940"/>
              <a:gd name="connsiteX966" fmla="*/ 4461168 w 4545947"/>
              <a:gd name="connsiteY966" fmla="*/ 2183599 h 4525940"/>
              <a:gd name="connsiteX967" fmla="*/ 4460788 w 4545947"/>
              <a:gd name="connsiteY967" fmla="*/ 2194337 h 4525940"/>
              <a:gd name="connsiteX968" fmla="*/ 4455322 w 4545947"/>
              <a:gd name="connsiteY968" fmla="*/ 2218869 h 4525940"/>
              <a:gd name="connsiteX969" fmla="*/ 4450949 w 4545947"/>
              <a:gd name="connsiteY969" fmla="*/ 2240500 h 4525940"/>
              <a:gd name="connsiteX970" fmla="*/ 4453135 w 4545947"/>
              <a:gd name="connsiteY970" fmla="*/ 2272154 h 4525940"/>
              <a:gd name="connsiteX971" fmla="*/ 4452776 w 4545947"/>
              <a:gd name="connsiteY971" fmla="*/ 2299966 h 4525940"/>
              <a:gd name="connsiteX972" fmla="*/ 4445124 w 4545947"/>
              <a:gd name="connsiteY972" fmla="*/ 2303309 h 4525940"/>
              <a:gd name="connsiteX973" fmla="*/ 4438922 w 4545947"/>
              <a:gd name="connsiteY973" fmla="*/ 2299616 h 4525940"/>
              <a:gd name="connsiteX974" fmla="*/ 4438923 w 4545947"/>
              <a:gd name="connsiteY974" fmla="*/ 2299616 h 4525940"/>
              <a:gd name="connsiteX975" fmla="*/ 4438704 w 4545947"/>
              <a:gd name="connsiteY975" fmla="*/ 2248097 h 4525940"/>
              <a:gd name="connsiteX976" fmla="*/ 4438704 w 4545947"/>
              <a:gd name="connsiteY976" fmla="*/ 2240500 h 4525940"/>
              <a:gd name="connsiteX977" fmla="*/ 4433457 w 4545947"/>
              <a:gd name="connsiteY977" fmla="*/ 2227838 h 4525940"/>
              <a:gd name="connsiteX978" fmla="*/ 4437830 w 4545947"/>
              <a:gd name="connsiteY978" fmla="*/ 2215176 h 4525940"/>
              <a:gd name="connsiteX979" fmla="*/ 4442203 w 4545947"/>
              <a:gd name="connsiteY979" fmla="*/ 2205680 h 4525940"/>
              <a:gd name="connsiteX980" fmla="*/ 4446833 w 4545947"/>
              <a:gd name="connsiteY980" fmla="*/ 2196184 h 4525940"/>
              <a:gd name="connsiteX981" fmla="*/ 4448948 w 4545947"/>
              <a:gd name="connsiteY981" fmla="*/ 2190290 h 4525940"/>
              <a:gd name="connsiteX982" fmla="*/ 4451449 w 4545947"/>
              <a:gd name="connsiteY982" fmla="*/ 2180169 h 4525940"/>
              <a:gd name="connsiteX983" fmla="*/ 34606 w 4545947"/>
              <a:gd name="connsiteY983" fmla="*/ 2069567 h 4525940"/>
              <a:gd name="connsiteX984" fmla="*/ 53749 w 4545947"/>
              <a:gd name="connsiteY984" fmla="*/ 2077480 h 4525940"/>
              <a:gd name="connsiteX985" fmla="*/ 68742 w 4545947"/>
              <a:gd name="connsiteY985" fmla="*/ 2094705 h 4525940"/>
              <a:gd name="connsiteX986" fmla="*/ 78162 w 4545947"/>
              <a:gd name="connsiteY986" fmla="*/ 2113698 h 4525940"/>
              <a:gd name="connsiteX987" fmla="*/ 84722 w 4545947"/>
              <a:gd name="connsiteY987" fmla="*/ 2135668 h 4525940"/>
              <a:gd name="connsiteX988" fmla="*/ 91142 w 4545947"/>
              <a:gd name="connsiteY988" fmla="*/ 2159094 h 4525940"/>
              <a:gd name="connsiteX989" fmla="*/ 98649 w 4545947"/>
              <a:gd name="connsiteY989" fmla="*/ 2176313 h 4525940"/>
              <a:gd name="connsiteX990" fmla="*/ 100678 w 4545947"/>
              <a:gd name="connsiteY990" fmla="*/ 2197213 h 4525940"/>
              <a:gd name="connsiteX991" fmla="*/ 94264 w 4545947"/>
              <a:gd name="connsiteY991" fmla="*/ 2240455 h 4525940"/>
              <a:gd name="connsiteX992" fmla="*/ 103228 w 4545947"/>
              <a:gd name="connsiteY992" fmla="*/ 2275221 h 4525940"/>
              <a:gd name="connsiteX993" fmla="*/ 111157 w 4545947"/>
              <a:gd name="connsiteY993" fmla="*/ 2288996 h 4525940"/>
              <a:gd name="connsiteX994" fmla="*/ 115154 w 4545947"/>
              <a:gd name="connsiteY994" fmla="*/ 2299745 h 4525940"/>
              <a:gd name="connsiteX995" fmla="*/ 119839 w 4545947"/>
              <a:gd name="connsiteY995" fmla="*/ 2335089 h 4525940"/>
              <a:gd name="connsiteX996" fmla="*/ 121247 w 4545947"/>
              <a:gd name="connsiteY996" fmla="*/ 2367166 h 4525940"/>
              <a:gd name="connsiteX997" fmla="*/ 134871 w 4545947"/>
              <a:gd name="connsiteY997" fmla="*/ 2434853 h 4525940"/>
              <a:gd name="connsiteX998" fmla="*/ 105354 w 4545947"/>
              <a:gd name="connsiteY998" fmla="*/ 2463831 h 4525940"/>
              <a:gd name="connsiteX999" fmla="*/ 91142 w 4545947"/>
              <a:gd name="connsiteY999" fmla="*/ 2442687 h 4525940"/>
              <a:gd name="connsiteX1000" fmla="*/ 86424 w 4545947"/>
              <a:gd name="connsiteY1000" fmla="*/ 2424095 h 4525940"/>
              <a:gd name="connsiteX1001" fmla="*/ 83144 w 4545947"/>
              <a:gd name="connsiteY1001" fmla="*/ 2376598 h 4525940"/>
              <a:gd name="connsiteX1002" fmla="*/ 81303 w 4545947"/>
              <a:gd name="connsiteY1002" fmla="*/ 2329117 h 4525940"/>
              <a:gd name="connsiteX1003" fmla="*/ 78023 w 4545947"/>
              <a:gd name="connsiteY1003" fmla="*/ 2282860 h 4525940"/>
              <a:gd name="connsiteX1004" fmla="*/ 56084 w 4545947"/>
              <a:gd name="connsiteY1004" fmla="*/ 2206845 h 4525940"/>
              <a:gd name="connsiteX1005" fmla="*/ 43040 w 4545947"/>
              <a:gd name="connsiteY1005" fmla="*/ 2151714 h 4525940"/>
              <a:gd name="connsiteX1006" fmla="*/ 31014 w 4545947"/>
              <a:gd name="connsiteY1006" fmla="*/ 2102364 h 4525940"/>
              <a:gd name="connsiteX1007" fmla="*/ 21175 w 4545947"/>
              <a:gd name="connsiteY1007" fmla="*/ 2084954 h 4525940"/>
              <a:gd name="connsiteX1008" fmla="*/ 34606 w 4545947"/>
              <a:gd name="connsiteY1008" fmla="*/ 2069567 h 4525940"/>
              <a:gd name="connsiteX1009" fmla="*/ 4460614 w 4545947"/>
              <a:gd name="connsiteY1009" fmla="*/ 2037913 h 4525940"/>
              <a:gd name="connsiteX1010" fmla="*/ 4466134 w 4545947"/>
              <a:gd name="connsiteY1010" fmla="*/ 2064819 h 4525940"/>
              <a:gd name="connsiteX1011" fmla="*/ 4453412 w 4545947"/>
              <a:gd name="connsiteY1011" fmla="*/ 2101221 h 4525940"/>
              <a:gd name="connsiteX1012" fmla="*/ 4442203 w 4545947"/>
              <a:gd name="connsiteY1012" fmla="*/ 2110717 h 4525940"/>
              <a:gd name="connsiteX1013" fmla="*/ 4432921 w 4545947"/>
              <a:gd name="connsiteY1013" fmla="*/ 2120214 h 4525940"/>
              <a:gd name="connsiteX1014" fmla="*/ 4429084 w 4545947"/>
              <a:gd name="connsiteY1014" fmla="*/ 2110717 h 4525940"/>
              <a:gd name="connsiteX1015" fmla="*/ 4424711 w 4545947"/>
              <a:gd name="connsiteY1015" fmla="*/ 2101221 h 4525940"/>
              <a:gd name="connsiteX1016" fmla="*/ 4420338 w 4545947"/>
              <a:gd name="connsiteY1016" fmla="*/ 2092252 h 4525940"/>
              <a:gd name="connsiteX1017" fmla="*/ 4415178 w 4545947"/>
              <a:gd name="connsiteY1017" fmla="*/ 2080794 h 4525940"/>
              <a:gd name="connsiteX1018" fmla="*/ 4428412 w 4545947"/>
              <a:gd name="connsiteY1018" fmla="*/ 2056905 h 4525940"/>
              <a:gd name="connsiteX1019" fmla="*/ 4446576 w 4545947"/>
              <a:gd name="connsiteY1019" fmla="*/ 2047409 h 4525940"/>
              <a:gd name="connsiteX1020" fmla="*/ 4460614 w 4545947"/>
              <a:gd name="connsiteY1020" fmla="*/ 2037913 h 4525940"/>
              <a:gd name="connsiteX1021" fmla="*/ 103803 w 4545947"/>
              <a:gd name="connsiteY1021" fmla="*/ 1997172 h 4525940"/>
              <a:gd name="connsiteX1022" fmla="*/ 109790 w 4545947"/>
              <a:gd name="connsiteY1022" fmla="*/ 2015136 h 4525940"/>
              <a:gd name="connsiteX1023" fmla="*/ 99888 w 4545947"/>
              <a:gd name="connsiteY1023" fmla="*/ 2009798 h 4525940"/>
              <a:gd name="connsiteX1024" fmla="*/ 103803 w 4545947"/>
              <a:gd name="connsiteY1024" fmla="*/ 1997172 h 4525940"/>
              <a:gd name="connsiteX1025" fmla="*/ 4417411 w 4545947"/>
              <a:gd name="connsiteY1025" fmla="*/ 1842865 h 4525940"/>
              <a:gd name="connsiteX1026" fmla="*/ 4440321 w 4545947"/>
              <a:gd name="connsiteY1026" fmla="*/ 1848354 h 4525940"/>
              <a:gd name="connsiteX1027" fmla="*/ 4446576 w 4545947"/>
              <a:gd name="connsiteY1027" fmla="*/ 1896026 h 4525940"/>
              <a:gd name="connsiteX1028" fmla="*/ 4433604 w 4545947"/>
              <a:gd name="connsiteY1028" fmla="*/ 1955393 h 4525940"/>
              <a:gd name="connsiteX1029" fmla="*/ 4410134 w 4545947"/>
              <a:gd name="connsiteY1029" fmla="*/ 1970383 h 4525940"/>
              <a:gd name="connsiteX1030" fmla="*/ 4407219 w 4545947"/>
              <a:gd name="connsiteY1030" fmla="*/ 1948678 h 4525940"/>
              <a:gd name="connsiteX1031" fmla="*/ 4400659 w 4545947"/>
              <a:gd name="connsiteY1031" fmla="*/ 1921696 h 4525940"/>
              <a:gd name="connsiteX1032" fmla="*/ 4398473 w 4545947"/>
              <a:gd name="connsiteY1032" fmla="*/ 1860649 h 4525940"/>
              <a:gd name="connsiteX1033" fmla="*/ 4401754 w 4545947"/>
              <a:gd name="connsiteY1033" fmla="*/ 1852735 h 4525940"/>
              <a:gd name="connsiteX1034" fmla="*/ 4417411 w 4545947"/>
              <a:gd name="connsiteY1034" fmla="*/ 1842865 h 4525940"/>
              <a:gd name="connsiteX1035" fmla="*/ 4344905 w 4545947"/>
              <a:gd name="connsiteY1035" fmla="*/ 1614950 h 4525940"/>
              <a:gd name="connsiteX1036" fmla="*/ 4352557 w 4545947"/>
              <a:gd name="connsiteY1036" fmla="*/ 1626407 h 4525940"/>
              <a:gd name="connsiteX1037" fmla="*/ 4344905 w 4545947"/>
              <a:gd name="connsiteY1037" fmla="*/ 1637863 h 4525940"/>
              <a:gd name="connsiteX1038" fmla="*/ 4337253 w 4545947"/>
              <a:gd name="connsiteY1038" fmla="*/ 1626407 h 4525940"/>
              <a:gd name="connsiteX1039" fmla="*/ 4344905 w 4545947"/>
              <a:gd name="connsiteY1039" fmla="*/ 1614950 h 4525940"/>
              <a:gd name="connsiteX1040" fmla="*/ 4204363 w 4545947"/>
              <a:gd name="connsiteY1040" fmla="*/ 1582188 h 4525940"/>
              <a:gd name="connsiteX1041" fmla="*/ 4198605 w 4545947"/>
              <a:gd name="connsiteY1041" fmla="*/ 1612163 h 4525940"/>
              <a:gd name="connsiteX1042" fmla="*/ 4221888 w 4545947"/>
              <a:gd name="connsiteY1042" fmla="*/ 1704182 h 4525940"/>
              <a:gd name="connsiteX1043" fmla="*/ 4243234 w 4545947"/>
              <a:gd name="connsiteY1043" fmla="*/ 1696654 h 4525940"/>
              <a:gd name="connsiteX1044" fmla="*/ 4257843 w 4545947"/>
              <a:gd name="connsiteY1044" fmla="*/ 1674394 h 4525940"/>
              <a:gd name="connsiteX1045" fmla="*/ 4235464 w 4545947"/>
              <a:gd name="connsiteY1045" fmla="*/ 1634601 h 4525940"/>
              <a:gd name="connsiteX1046" fmla="*/ 4226892 w 4545947"/>
              <a:gd name="connsiteY1046" fmla="*/ 1613755 h 4525940"/>
              <a:gd name="connsiteX1047" fmla="*/ 4204363 w 4545947"/>
              <a:gd name="connsiteY1047" fmla="*/ 1582188 h 4525940"/>
              <a:gd name="connsiteX1048" fmla="*/ 4407219 w 4545947"/>
              <a:gd name="connsiteY1048" fmla="*/ 1487128 h 4525940"/>
              <a:gd name="connsiteX1049" fmla="*/ 4411592 w 4545947"/>
              <a:gd name="connsiteY1049" fmla="*/ 1496625 h 4525940"/>
              <a:gd name="connsiteX1050" fmla="*/ 4407219 w 4545947"/>
              <a:gd name="connsiteY1050" fmla="*/ 1506120 h 4525940"/>
              <a:gd name="connsiteX1051" fmla="*/ 4402846 w 4545947"/>
              <a:gd name="connsiteY1051" fmla="*/ 1496625 h 4525940"/>
              <a:gd name="connsiteX1052" fmla="*/ 4407219 w 4545947"/>
              <a:gd name="connsiteY1052" fmla="*/ 1487128 h 4525940"/>
              <a:gd name="connsiteX1053" fmla="*/ 4317718 w 4545947"/>
              <a:gd name="connsiteY1053" fmla="*/ 1474466 h 4525940"/>
              <a:gd name="connsiteX1054" fmla="*/ 4345998 w 4545947"/>
              <a:gd name="connsiteY1054" fmla="*/ 1518157 h 4525940"/>
              <a:gd name="connsiteX1055" fmla="*/ 4327663 w 4545947"/>
              <a:gd name="connsiteY1055" fmla="*/ 1517200 h 4525940"/>
              <a:gd name="connsiteX1056" fmla="*/ 4317718 w 4545947"/>
              <a:gd name="connsiteY1056" fmla="*/ 1474466 h 4525940"/>
              <a:gd name="connsiteX1057" fmla="*/ 4293987 w 4545947"/>
              <a:gd name="connsiteY1057" fmla="*/ 1306730 h 4525940"/>
              <a:gd name="connsiteX1058" fmla="*/ 4303395 w 4545947"/>
              <a:gd name="connsiteY1058" fmla="*/ 1311043 h 4525940"/>
              <a:gd name="connsiteX1059" fmla="*/ 4318980 w 4545947"/>
              <a:gd name="connsiteY1059" fmla="*/ 1376275 h 4525940"/>
              <a:gd name="connsiteX1060" fmla="*/ 4300491 w 4545947"/>
              <a:gd name="connsiteY1060" fmla="*/ 1383107 h 4525940"/>
              <a:gd name="connsiteX1061" fmla="*/ 4285001 w 4545947"/>
              <a:gd name="connsiteY1061" fmla="*/ 1360511 h 4525940"/>
              <a:gd name="connsiteX1062" fmla="*/ 4282590 w 4545947"/>
              <a:gd name="connsiteY1062" fmla="*/ 1335187 h 4525940"/>
              <a:gd name="connsiteX1063" fmla="*/ 4289150 w 4545947"/>
              <a:gd name="connsiteY1063" fmla="*/ 1318959 h 4525940"/>
              <a:gd name="connsiteX1064" fmla="*/ 4293987 w 4545947"/>
              <a:gd name="connsiteY1064" fmla="*/ 1306730 h 4525940"/>
              <a:gd name="connsiteX1065" fmla="*/ 4289150 w 4545947"/>
              <a:gd name="connsiteY1065" fmla="*/ 1180082 h 4525940"/>
              <a:gd name="connsiteX1066" fmla="*/ 4293523 w 4545947"/>
              <a:gd name="connsiteY1066" fmla="*/ 1186038 h 4525940"/>
              <a:gd name="connsiteX1067" fmla="*/ 4289150 w 4545947"/>
              <a:gd name="connsiteY1067" fmla="*/ 1195908 h 4525940"/>
              <a:gd name="connsiteX1068" fmla="*/ 4284778 w 4545947"/>
              <a:gd name="connsiteY1068" fmla="*/ 1189951 h 4525940"/>
              <a:gd name="connsiteX1069" fmla="*/ 4289150 w 4545947"/>
              <a:gd name="connsiteY1069" fmla="*/ 1180082 h 4525940"/>
              <a:gd name="connsiteX1070" fmla="*/ 4345236 w 4545947"/>
              <a:gd name="connsiteY1070" fmla="*/ 1176916 h 4525940"/>
              <a:gd name="connsiteX1071" fmla="*/ 4370740 w 4545947"/>
              <a:gd name="connsiteY1071" fmla="*/ 1217745 h 4525940"/>
              <a:gd name="connsiteX1072" fmla="*/ 4345998 w 4545947"/>
              <a:gd name="connsiteY1072" fmla="*/ 1218067 h 4525940"/>
              <a:gd name="connsiteX1073" fmla="*/ 4341625 w 4545947"/>
              <a:gd name="connsiteY1073" fmla="*/ 1208570 h 4525940"/>
              <a:gd name="connsiteX1074" fmla="*/ 4337253 w 4545947"/>
              <a:gd name="connsiteY1074" fmla="*/ 1192743 h 4525940"/>
              <a:gd name="connsiteX1075" fmla="*/ 4345236 w 4545947"/>
              <a:gd name="connsiteY1075" fmla="*/ 1176916 h 4525940"/>
              <a:gd name="connsiteX1076" fmla="*/ 4039894 w 4545947"/>
              <a:gd name="connsiteY1076" fmla="*/ 1107277 h 4525940"/>
              <a:gd name="connsiteX1077" fmla="*/ 4039019 w 4545947"/>
              <a:gd name="connsiteY1077" fmla="*/ 1162988 h 4525940"/>
              <a:gd name="connsiteX1078" fmla="*/ 4019800 w 4545947"/>
              <a:gd name="connsiteY1078" fmla="*/ 1156998 h 4525940"/>
              <a:gd name="connsiteX1079" fmla="*/ 4016936 w 4545947"/>
              <a:gd name="connsiteY1079" fmla="*/ 1140644 h 4525940"/>
              <a:gd name="connsiteX1080" fmla="*/ 4022402 w 4545947"/>
              <a:gd name="connsiteY1080" fmla="*/ 1128907 h 4525940"/>
              <a:gd name="connsiteX1081" fmla="*/ 4028961 w 4545947"/>
              <a:gd name="connsiteY1081" fmla="*/ 1119938 h 4525940"/>
              <a:gd name="connsiteX1082" fmla="*/ 4035521 w 4545947"/>
              <a:gd name="connsiteY1082" fmla="*/ 1113607 h 4525940"/>
              <a:gd name="connsiteX1083" fmla="*/ 4039894 w 4545947"/>
              <a:gd name="connsiteY1083" fmla="*/ 1107277 h 4525940"/>
              <a:gd name="connsiteX1084" fmla="*/ 4144916 w 4545947"/>
              <a:gd name="connsiteY1084" fmla="*/ 1053528 h 4525940"/>
              <a:gd name="connsiteX1085" fmla="*/ 4140471 w 4545947"/>
              <a:gd name="connsiteY1085" fmla="*/ 1069291 h 4525940"/>
              <a:gd name="connsiteX1086" fmla="*/ 4134098 w 4545947"/>
              <a:gd name="connsiteY1086" fmla="*/ 1063398 h 4525940"/>
              <a:gd name="connsiteX1087" fmla="*/ 4144916 w 4545947"/>
              <a:gd name="connsiteY1087" fmla="*/ 1053528 h 4525940"/>
              <a:gd name="connsiteX1088" fmla="*/ 3987419 w 4545947"/>
              <a:gd name="connsiteY1088" fmla="*/ 990156 h 4525940"/>
              <a:gd name="connsiteX1089" fmla="*/ 3983046 w 4545947"/>
              <a:gd name="connsiteY1089" fmla="*/ 992947 h 4525940"/>
              <a:gd name="connsiteX1090" fmla="*/ 3987419 w 4545947"/>
              <a:gd name="connsiteY1090" fmla="*/ 999652 h 4525940"/>
              <a:gd name="connsiteX1091" fmla="*/ 3991792 w 4545947"/>
              <a:gd name="connsiteY1091" fmla="*/ 996860 h 4525940"/>
              <a:gd name="connsiteX1092" fmla="*/ 3987419 w 4545947"/>
              <a:gd name="connsiteY1092" fmla="*/ 990156 h 4525940"/>
              <a:gd name="connsiteX1093" fmla="*/ 4173388 w 4545947"/>
              <a:gd name="connsiteY1093" fmla="*/ 892398 h 4525940"/>
              <a:gd name="connsiteX1094" fmla="*/ 4182372 w 4545947"/>
              <a:gd name="connsiteY1094" fmla="*/ 907667 h 4525940"/>
              <a:gd name="connsiteX1095" fmla="*/ 4178395 w 4545947"/>
              <a:gd name="connsiteY1095" fmla="*/ 932991 h 4525940"/>
              <a:gd name="connsiteX1096" fmla="*/ 4163952 w 4545947"/>
              <a:gd name="connsiteY1096" fmla="*/ 928430 h 4525940"/>
              <a:gd name="connsiteX1097" fmla="*/ 4166648 w 4545947"/>
              <a:gd name="connsiteY1097" fmla="*/ 903107 h 4525940"/>
              <a:gd name="connsiteX1098" fmla="*/ 4173388 w 4545947"/>
              <a:gd name="connsiteY1098" fmla="*/ 892398 h 4525940"/>
              <a:gd name="connsiteX1099" fmla="*/ 4006132 w 4545947"/>
              <a:gd name="connsiteY1099" fmla="*/ 869101 h 4525940"/>
              <a:gd name="connsiteX1100" fmla="*/ 4005256 w 4545947"/>
              <a:gd name="connsiteY1100" fmla="*/ 875673 h 4525940"/>
              <a:gd name="connsiteX1101" fmla="*/ 4007552 w 4545947"/>
              <a:gd name="connsiteY1101" fmla="*/ 883982 h 4525940"/>
              <a:gd name="connsiteX1102" fmla="*/ 4007897 w 4545947"/>
              <a:gd name="connsiteY1102" fmla="*/ 871848 h 4525940"/>
              <a:gd name="connsiteX1103" fmla="*/ 4007897 w 4545947"/>
              <a:gd name="connsiteY1103" fmla="*/ 871848 h 4525940"/>
              <a:gd name="connsiteX1104" fmla="*/ 4006132 w 4545947"/>
              <a:gd name="connsiteY1104" fmla="*/ 869101 h 4525940"/>
              <a:gd name="connsiteX1105" fmla="*/ 4268481 w 4545947"/>
              <a:gd name="connsiteY1105" fmla="*/ 836466 h 4525940"/>
              <a:gd name="connsiteX1106" fmla="*/ 4272461 w 4545947"/>
              <a:gd name="connsiteY1106" fmla="*/ 852405 h 4525940"/>
              <a:gd name="connsiteX1107" fmla="*/ 4298063 w 4545947"/>
              <a:gd name="connsiteY1107" fmla="*/ 860052 h 4525940"/>
              <a:gd name="connsiteX1108" fmla="*/ 4319761 w 4545947"/>
              <a:gd name="connsiteY1108" fmla="*/ 891455 h 4525940"/>
              <a:gd name="connsiteX1109" fmla="*/ 4315033 w 4545947"/>
              <a:gd name="connsiteY1109" fmla="*/ 933496 h 4525940"/>
              <a:gd name="connsiteX1110" fmla="*/ 4296867 w 4545947"/>
              <a:gd name="connsiteY1110" fmla="*/ 919625 h 4525940"/>
              <a:gd name="connsiteX1111" fmla="*/ 4286139 w 4545947"/>
              <a:gd name="connsiteY1111" fmla="*/ 912555 h 4525940"/>
              <a:gd name="connsiteX1112" fmla="*/ 4283218 w 4545947"/>
              <a:gd name="connsiteY1112" fmla="*/ 931206 h 4525940"/>
              <a:gd name="connsiteX1113" fmla="*/ 4284339 w 4545947"/>
              <a:gd name="connsiteY1113" fmla="*/ 950245 h 4525940"/>
              <a:gd name="connsiteX1114" fmla="*/ 4309434 w 4545947"/>
              <a:gd name="connsiteY1114" fmla="*/ 952171 h 4525940"/>
              <a:gd name="connsiteX1115" fmla="*/ 4324134 w 4545947"/>
              <a:gd name="connsiteY1115" fmla="*/ 948089 h 4525940"/>
              <a:gd name="connsiteX1116" fmla="*/ 4338345 w 4545947"/>
              <a:gd name="connsiteY1116" fmla="*/ 959380 h 4525940"/>
              <a:gd name="connsiteX1117" fmla="*/ 4353914 w 4545947"/>
              <a:gd name="connsiteY1117" fmla="*/ 978828 h 4525940"/>
              <a:gd name="connsiteX1118" fmla="*/ 4361566 w 4545947"/>
              <a:gd name="connsiteY1118" fmla="*/ 999968 h 4525940"/>
              <a:gd name="connsiteX1119" fmla="*/ 4367863 w 4545947"/>
              <a:gd name="connsiteY1119" fmla="*/ 1018968 h 4525940"/>
              <a:gd name="connsiteX1120" fmla="*/ 4374106 w 4545947"/>
              <a:gd name="connsiteY1120" fmla="*/ 1039440 h 4525940"/>
              <a:gd name="connsiteX1121" fmla="*/ 4381726 w 4545947"/>
              <a:gd name="connsiteY1121" fmla="*/ 1094615 h 4525940"/>
              <a:gd name="connsiteX1122" fmla="*/ 4374326 w 4545947"/>
              <a:gd name="connsiteY1122" fmla="*/ 1088058 h 4525940"/>
              <a:gd name="connsiteX1123" fmla="*/ 4355483 w 4545947"/>
              <a:gd name="connsiteY1123" fmla="*/ 1082503 h 4525940"/>
              <a:gd name="connsiteX1124" fmla="*/ 4304542 w 4545947"/>
              <a:gd name="connsiteY1124" fmla="*/ 1078559 h 4525940"/>
              <a:gd name="connsiteX1125" fmla="*/ 4277212 w 4545947"/>
              <a:gd name="connsiteY1125" fmla="*/ 1084565 h 4525940"/>
              <a:gd name="connsiteX1126" fmla="*/ 4284778 w 4545947"/>
              <a:gd name="connsiteY1126" fmla="*/ 1102482 h 4525940"/>
              <a:gd name="connsiteX1127" fmla="*/ 4292039 w 4545947"/>
              <a:gd name="connsiteY1127" fmla="*/ 1121061 h 4525940"/>
              <a:gd name="connsiteX1128" fmla="*/ 4280650 w 4545947"/>
              <a:gd name="connsiteY1128" fmla="*/ 1132702 h 4525940"/>
              <a:gd name="connsiteX1129" fmla="*/ 4258269 w 4545947"/>
              <a:gd name="connsiteY1129" fmla="*/ 1132810 h 4525940"/>
              <a:gd name="connsiteX1130" fmla="*/ 4239604 w 4545947"/>
              <a:gd name="connsiteY1130" fmla="*/ 1108859 h 4525940"/>
              <a:gd name="connsiteX1131" fmla="*/ 4238427 w 4545947"/>
              <a:gd name="connsiteY1131" fmla="*/ 1056630 h 4525940"/>
              <a:gd name="connsiteX1132" fmla="*/ 4236655 w 4545947"/>
              <a:gd name="connsiteY1132" fmla="*/ 986990 h 4525940"/>
              <a:gd name="connsiteX1133" fmla="*/ 4237269 w 4545947"/>
              <a:gd name="connsiteY1133" fmla="*/ 933495 h 4525940"/>
              <a:gd name="connsiteX1134" fmla="*/ 4241048 w 4545947"/>
              <a:gd name="connsiteY1134" fmla="*/ 916085 h 4525940"/>
              <a:gd name="connsiteX1135" fmla="*/ 4245421 w 4545947"/>
              <a:gd name="connsiteY1135" fmla="*/ 904689 h 4525940"/>
              <a:gd name="connsiteX1136" fmla="*/ 4249794 w 4545947"/>
              <a:gd name="connsiteY1136" fmla="*/ 873712 h 4525940"/>
              <a:gd name="connsiteX1137" fmla="*/ 4256711 w 4545947"/>
              <a:gd name="connsiteY1137" fmla="*/ 838893 h 4525940"/>
              <a:gd name="connsiteX1138" fmla="*/ 4268481 w 4545947"/>
              <a:gd name="connsiteY1138" fmla="*/ 836466 h 4525940"/>
              <a:gd name="connsiteX1139" fmla="*/ 1503102 w 4545947"/>
              <a:gd name="connsiteY1139" fmla="*/ 801258 h 4525940"/>
              <a:gd name="connsiteX1140" fmla="*/ 1489315 w 4545947"/>
              <a:gd name="connsiteY1140" fmla="*/ 822388 h 4525940"/>
              <a:gd name="connsiteX1141" fmla="*/ 1490647 w 4545947"/>
              <a:gd name="connsiteY1141" fmla="*/ 856262 h 4525940"/>
              <a:gd name="connsiteX1142" fmla="*/ 1530226 w 4545947"/>
              <a:gd name="connsiteY1142" fmla="*/ 866125 h 4525940"/>
              <a:gd name="connsiteX1143" fmla="*/ 1532021 w 4545947"/>
              <a:gd name="connsiteY1143" fmla="*/ 819901 h 4525940"/>
              <a:gd name="connsiteX1144" fmla="*/ 1520594 w 4545947"/>
              <a:gd name="connsiteY1144" fmla="*/ 807589 h 4525940"/>
              <a:gd name="connsiteX1145" fmla="*/ 1503102 w 4545947"/>
              <a:gd name="connsiteY1145" fmla="*/ 801258 h 4525940"/>
              <a:gd name="connsiteX1146" fmla="*/ 3729804 w 4545947"/>
              <a:gd name="connsiteY1146" fmla="*/ 798436 h 4525940"/>
              <a:gd name="connsiteX1147" fmla="*/ 3719615 w 4545947"/>
              <a:gd name="connsiteY1147" fmla="*/ 808547 h 4525940"/>
              <a:gd name="connsiteX1148" fmla="*/ 3717041 w 4545947"/>
              <a:gd name="connsiteY1148" fmla="*/ 813557 h 4525940"/>
              <a:gd name="connsiteX1149" fmla="*/ 3718483 w 4545947"/>
              <a:gd name="connsiteY1149" fmla="*/ 830980 h 4525940"/>
              <a:gd name="connsiteX1150" fmla="*/ 3721246 w 4545947"/>
              <a:gd name="connsiteY1150" fmla="*/ 854042 h 4525940"/>
              <a:gd name="connsiteX1151" fmla="*/ 3718912 w 4545947"/>
              <a:gd name="connsiteY1151" fmla="*/ 922278 h 4525940"/>
              <a:gd name="connsiteX1152" fmla="*/ 3722944 w 4545947"/>
              <a:gd name="connsiteY1152" fmla="*/ 942470 h 4525940"/>
              <a:gd name="connsiteX1153" fmla="*/ 3747598 w 4545947"/>
              <a:gd name="connsiteY1153" fmla="*/ 980659 h 4525940"/>
              <a:gd name="connsiteX1154" fmla="*/ 3757482 w 4545947"/>
              <a:gd name="connsiteY1154" fmla="*/ 976816 h 4525940"/>
              <a:gd name="connsiteX1155" fmla="*/ 3760153 w 4545947"/>
              <a:gd name="connsiteY1155" fmla="*/ 920630 h 4525940"/>
              <a:gd name="connsiteX1156" fmla="*/ 3753030 w 4545947"/>
              <a:gd name="connsiteY1156" fmla="*/ 885437 h 4525940"/>
              <a:gd name="connsiteX1157" fmla="*/ 3746345 w 4545947"/>
              <a:gd name="connsiteY1157" fmla="*/ 854042 h 4525940"/>
              <a:gd name="connsiteX1158" fmla="*/ 3742535 w 4545947"/>
              <a:gd name="connsiteY1158" fmla="*/ 825977 h 4525940"/>
              <a:gd name="connsiteX1159" fmla="*/ 3729804 w 4545947"/>
              <a:gd name="connsiteY1159" fmla="*/ 798436 h 4525940"/>
              <a:gd name="connsiteX1160" fmla="*/ 4044267 w 4545947"/>
              <a:gd name="connsiteY1160" fmla="*/ 755914 h 4525940"/>
              <a:gd name="connsiteX1161" fmla="*/ 4052223 w 4545947"/>
              <a:gd name="connsiteY1161" fmla="*/ 770158 h 4525940"/>
              <a:gd name="connsiteX1162" fmla="*/ 4044267 w 4545947"/>
              <a:gd name="connsiteY1162" fmla="*/ 784403 h 4525940"/>
              <a:gd name="connsiteX1163" fmla="*/ 4036310 w 4545947"/>
              <a:gd name="connsiteY1163" fmla="*/ 770158 h 4525940"/>
              <a:gd name="connsiteX1164" fmla="*/ 4044267 w 4545947"/>
              <a:gd name="connsiteY1164" fmla="*/ 755914 h 4525940"/>
              <a:gd name="connsiteX1165" fmla="*/ 4191963 w 4545947"/>
              <a:gd name="connsiteY1165" fmla="*/ 753633 h 4525940"/>
              <a:gd name="connsiteX1166" fmla="*/ 4213395 w 4545947"/>
              <a:gd name="connsiteY1166" fmla="*/ 793226 h 4525940"/>
              <a:gd name="connsiteX1167" fmla="*/ 4208313 w 4545947"/>
              <a:gd name="connsiteY1167" fmla="*/ 816057 h 4525940"/>
              <a:gd name="connsiteX1168" fmla="*/ 4202744 w 4545947"/>
              <a:gd name="connsiteY1168" fmla="*/ 800369 h 4525940"/>
              <a:gd name="connsiteX1169" fmla="*/ 4196694 w 4545947"/>
              <a:gd name="connsiteY1169" fmla="*/ 780951 h 4525940"/>
              <a:gd name="connsiteX1170" fmla="*/ 4188573 w 4545947"/>
              <a:gd name="connsiteY1170" fmla="*/ 764983 h 4525940"/>
              <a:gd name="connsiteX1171" fmla="*/ 4191963 w 4545947"/>
              <a:gd name="connsiteY1171" fmla="*/ 753633 h 4525940"/>
              <a:gd name="connsiteX1172" fmla="*/ 2207638 w 4545947"/>
              <a:gd name="connsiteY1172" fmla="*/ 740087 h 4525940"/>
              <a:gd name="connsiteX1173" fmla="*/ 2203265 w 4545947"/>
              <a:gd name="connsiteY1173" fmla="*/ 749119 h 4525940"/>
              <a:gd name="connsiteX1174" fmla="*/ 2195613 w 4545947"/>
              <a:gd name="connsiteY1174" fmla="*/ 761046 h 4525940"/>
              <a:gd name="connsiteX1175" fmla="*/ 2194738 w 4545947"/>
              <a:gd name="connsiteY1175" fmla="*/ 764676 h 4525940"/>
              <a:gd name="connsiteX1176" fmla="*/ 2206763 w 4545947"/>
              <a:gd name="connsiteY1176" fmla="*/ 757813 h 4525940"/>
              <a:gd name="connsiteX1177" fmla="*/ 2207638 w 4545947"/>
              <a:gd name="connsiteY1177" fmla="*/ 740087 h 4525940"/>
              <a:gd name="connsiteX1178" fmla="*/ 2492685 w 4545947"/>
              <a:gd name="connsiteY1178" fmla="*/ 661279 h 4525940"/>
              <a:gd name="connsiteX1179" fmla="*/ 2487033 w 4545947"/>
              <a:gd name="connsiteY1179" fmla="*/ 671621 h 4525940"/>
              <a:gd name="connsiteX1180" fmla="*/ 2481109 w 4545947"/>
              <a:gd name="connsiteY1180" fmla="*/ 700808 h 4525940"/>
              <a:gd name="connsiteX1181" fmla="*/ 2491725 w 4545947"/>
              <a:gd name="connsiteY1181" fmla="*/ 713470 h 4525940"/>
              <a:gd name="connsiteX1182" fmla="*/ 2504127 w 4545947"/>
              <a:gd name="connsiteY1182" fmla="*/ 692066 h 4525940"/>
              <a:gd name="connsiteX1183" fmla="*/ 2498966 w 4545947"/>
              <a:gd name="connsiteY1183" fmla="*/ 664751 h 4525940"/>
              <a:gd name="connsiteX1184" fmla="*/ 2492685 w 4545947"/>
              <a:gd name="connsiteY1184" fmla="*/ 661279 h 4525940"/>
              <a:gd name="connsiteX1185" fmla="*/ 1542281 w 4545947"/>
              <a:gd name="connsiteY1185" fmla="*/ 646751 h 4525940"/>
              <a:gd name="connsiteX1186" fmla="*/ 1547326 w 4545947"/>
              <a:gd name="connsiteY1186" fmla="*/ 654093 h 4525940"/>
              <a:gd name="connsiteX1187" fmla="*/ 1540402 w 4545947"/>
              <a:gd name="connsiteY1187" fmla="*/ 664117 h 4525940"/>
              <a:gd name="connsiteX1188" fmla="*/ 1535210 w 4545947"/>
              <a:gd name="connsiteY1188" fmla="*/ 656599 h 4525940"/>
              <a:gd name="connsiteX1189" fmla="*/ 1542281 w 4545947"/>
              <a:gd name="connsiteY1189" fmla="*/ 646751 h 4525940"/>
              <a:gd name="connsiteX1190" fmla="*/ 4233596 w 4545947"/>
              <a:gd name="connsiteY1190" fmla="*/ 626131 h 4525940"/>
              <a:gd name="connsiteX1191" fmla="*/ 4297896 w 4545947"/>
              <a:gd name="connsiteY1191" fmla="*/ 718993 h 4525940"/>
              <a:gd name="connsiteX1192" fmla="*/ 4291336 w 4545947"/>
              <a:gd name="connsiteY1192" fmla="*/ 729715 h 4525940"/>
              <a:gd name="connsiteX1193" fmla="*/ 4284778 w 4545947"/>
              <a:gd name="connsiteY1193" fmla="*/ 755341 h 4525940"/>
              <a:gd name="connsiteX1194" fmla="*/ 4266012 w 4545947"/>
              <a:gd name="connsiteY1194" fmla="*/ 772883 h 4525940"/>
              <a:gd name="connsiteX1195" fmla="*/ 4256152 w 4545947"/>
              <a:gd name="connsiteY1195" fmla="*/ 754391 h 4525940"/>
              <a:gd name="connsiteX1196" fmla="*/ 4254030 w 4545947"/>
              <a:gd name="connsiteY1196" fmla="*/ 746418 h 4525940"/>
              <a:gd name="connsiteX1197" fmla="*/ 4249794 w 4545947"/>
              <a:gd name="connsiteY1197" fmla="*/ 730392 h 4525940"/>
              <a:gd name="connsiteX1198" fmla="*/ 4242141 w 4545947"/>
              <a:gd name="connsiteY1198" fmla="*/ 710456 h 4525940"/>
              <a:gd name="connsiteX1199" fmla="*/ 4214811 w 4545947"/>
              <a:gd name="connsiteY1199" fmla="*/ 669344 h 4525940"/>
              <a:gd name="connsiteX1200" fmla="*/ 4218709 w 4545947"/>
              <a:gd name="connsiteY1200" fmla="*/ 657786 h 4525940"/>
              <a:gd name="connsiteX1201" fmla="*/ 4225352 w 4545947"/>
              <a:gd name="connsiteY1201" fmla="*/ 641959 h 4525940"/>
              <a:gd name="connsiteX1202" fmla="*/ 4233596 w 4545947"/>
              <a:gd name="connsiteY1202" fmla="*/ 626131 h 4525940"/>
              <a:gd name="connsiteX1203" fmla="*/ 2100311 w 4545947"/>
              <a:gd name="connsiteY1203" fmla="*/ 609600 h 4525940"/>
              <a:gd name="connsiteX1204" fmla="*/ 2108154 w 4545947"/>
              <a:gd name="connsiteY1204" fmla="*/ 610589 h 4525940"/>
              <a:gd name="connsiteX1205" fmla="*/ 2122602 w 4545947"/>
              <a:gd name="connsiteY1205" fmla="*/ 631911 h 4525940"/>
              <a:gd name="connsiteX1206" fmla="*/ 2101230 w 4545947"/>
              <a:gd name="connsiteY1206" fmla="*/ 634573 h 4525940"/>
              <a:gd name="connsiteX1207" fmla="*/ 2098315 w 4545947"/>
              <a:gd name="connsiteY1207" fmla="*/ 618319 h 4525940"/>
              <a:gd name="connsiteX1208" fmla="*/ 2100311 w 4545947"/>
              <a:gd name="connsiteY1208" fmla="*/ 609600 h 4525940"/>
              <a:gd name="connsiteX1209" fmla="*/ 4009611 w 4545947"/>
              <a:gd name="connsiteY1209" fmla="*/ 608352 h 4525940"/>
              <a:gd name="connsiteX1210" fmla="*/ 4014312 w 4545947"/>
              <a:gd name="connsiteY1210" fmla="*/ 616635 h 4525940"/>
              <a:gd name="connsiteX1211" fmla="*/ 4009611 w 4545947"/>
              <a:gd name="connsiteY1211" fmla="*/ 624918 h 4525940"/>
              <a:gd name="connsiteX1212" fmla="*/ 4004911 w 4545947"/>
              <a:gd name="connsiteY1212" fmla="*/ 616635 h 4525940"/>
              <a:gd name="connsiteX1213" fmla="*/ 4009611 w 4545947"/>
              <a:gd name="connsiteY1213" fmla="*/ 608352 h 4525940"/>
              <a:gd name="connsiteX1214" fmla="*/ 4096448 w 4545947"/>
              <a:gd name="connsiteY1214" fmla="*/ 583964 h 4525940"/>
              <a:gd name="connsiteX1215" fmla="*/ 4107195 w 4545947"/>
              <a:gd name="connsiteY1215" fmla="*/ 593827 h 4525940"/>
              <a:gd name="connsiteX1216" fmla="*/ 4128369 w 4545947"/>
              <a:gd name="connsiteY1216" fmla="*/ 607139 h 4525940"/>
              <a:gd name="connsiteX1217" fmla="*/ 4153590 w 4545947"/>
              <a:gd name="connsiteY1217" fmla="*/ 630348 h 4525940"/>
              <a:gd name="connsiteX1218" fmla="*/ 4149141 w 4545947"/>
              <a:gd name="connsiteY1218" fmla="*/ 641890 h 4525940"/>
              <a:gd name="connsiteX1219" fmla="*/ 4120525 w 4545947"/>
              <a:gd name="connsiteY1219" fmla="*/ 642281 h 4525940"/>
              <a:gd name="connsiteX1220" fmla="*/ 4067481 w 4545947"/>
              <a:gd name="connsiteY1220" fmla="*/ 703404 h 4525940"/>
              <a:gd name="connsiteX1221" fmla="*/ 4035521 w 4545947"/>
              <a:gd name="connsiteY1221" fmla="*/ 724260 h 4525940"/>
              <a:gd name="connsiteX1222" fmla="*/ 4039894 w 4545947"/>
              <a:gd name="connsiteY1222" fmla="*/ 714763 h 4525940"/>
              <a:gd name="connsiteX1223" fmla="*/ 4039254 w 4545947"/>
              <a:gd name="connsiteY1223" fmla="*/ 671317 h 4525940"/>
              <a:gd name="connsiteX1224" fmla="*/ 4044061 w 4545947"/>
              <a:gd name="connsiteY1224" fmla="*/ 629112 h 4525940"/>
              <a:gd name="connsiteX1225" fmla="*/ 4057125 w 4545947"/>
              <a:gd name="connsiteY1225" fmla="*/ 614000 h 4525940"/>
              <a:gd name="connsiteX1226" fmla="*/ 4081844 w 4545947"/>
              <a:gd name="connsiteY1226" fmla="*/ 587951 h 4525940"/>
              <a:gd name="connsiteX1227" fmla="*/ 4096448 w 4545947"/>
              <a:gd name="connsiteY1227" fmla="*/ 583964 h 4525940"/>
              <a:gd name="connsiteX1228" fmla="*/ 3399607 w 4545947"/>
              <a:gd name="connsiteY1228" fmla="*/ 565410 h 4525940"/>
              <a:gd name="connsiteX1229" fmla="*/ 3390710 w 4545947"/>
              <a:gd name="connsiteY1229" fmla="*/ 595369 h 4525940"/>
              <a:gd name="connsiteX1230" fmla="*/ 3412518 w 4545947"/>
              <a:gd name="connsiteY1230" fmla="*/ 593840 h 4525940"/>
              <a:gd name="connsiteX1231" fmla="*/ 3399607 w 4545947"/>
              <a:gd name="connsiteY1231" fmla="*/ 565410 h 4525940"/>
              <a:gd name="connsiteX1232" fmla="*/ 3753272 w 4545947"/>
              <a:gd name="connsiteY1232" fmla="*/ 543830 h 4525940"/>
              <a:gd name="connsiteX1233" fmla="*/ 3790519 w 4545947"/>
              <a:gd name="connsiteY1233" fmla="*/ 599225 h 4525940"/>
              <a:gd name="connsiteX1234" fmla="*/ 3794812 w 4545947"/>
              <a:gd name="connsiteY1234" fmla="*/ 607139 h 4525940"/>
              <a:gd name="connsiteX1235" fmla="*/ 3804642 w 4545947"/>
              <a:gd name="connsiteY1235" fmla="*/ 659368 h 4525940"/>
              <a:gd name="connsiteX1236" fmla="*/ 3808129 w 4545947"/>
              <a:gd name="connsiteY1236" fmla="*/ 664117 h 4525940"/>
              <a:gd name="connsiteX1237" fmla="*/ 3812502 w 4545947"/>
              <a:gd name="connsiteY1237" fmla="*/ 679944 h 4525940"/>
              <a:gd name="connsiteX1238" fmla="*/ 3805943 w 4545947"/>
              <a:gd name="connsiteY1238" fmla="*/ 695771 h 4525940"/>
              <a:gd name="connsiteX1239" fmla="*/ 3799383 w 4545947"/>
              <a:gd name="connsiteY1239" fmla="*/ 686189 h 4525940"/>
              <a:gd name="connsiteX1240" fmla="*/ 3795328 w 4545947"/>
              <a:gd name="connsiteY1240" fmla="*/ 665613 h 4525940"/>
              <a:gd name="connsiteX1241" fmla="*/ 3788882 w 4545947"/>
              <a:gd name="connsiteY1241" fmla="*/ 643446 h 4525940"/>
              <a:gd name="connsiteX1242" fmla="*/ 3776114 w 4545947"/>
              <a:gd name="connsiteY1242" fmla="*/ 626562 h 4525940"/>
              <a:gd name="connsiteX1243" fmla="*/ 3757864 w 4545947"/>
              <a:gd name="connsiteY1243" fmla="*/ 596585 h 4525940"/>
              <a:gd name="connsiteX1244" fmla="*/ 3745624 w 4545947"/>
              <a:gd name="connsiteY1244" fmla="*/ 568210 h 4525940"/>
              <a:gd name="connsiteX1245" fmla="*/ 3753272 w 4545947"/>
              <a:gd name="connsiteY1245" fmla="*/ 543830 h 4525940"/>
              <a:gd name="connsiteX1246" fmla="*/ 2508411 w 4545947"/>
              <a:gd name="connsiteY1246" fmla="*/ 515434 h 4525940"/>
              <a:gd name="connsiteX1247" fmla="*/ 2493352 w 4545947"/>
              <a:gd name="connsiteY1247" fmla="*/ 518847 h 4525940"/>
              <a:gd name="connsiteX1248" fmla="*/ 2472948 w 4545947"/>
              <a:gd name="connsiteY1248" fmla="*/ 519406 h 4525940"/>
              <a:gd name="connsiteX1249" fmla="*/ 2426655 w 4545947"/>
              <a:gd name="connsiteY1249" fmla="*/ 542091 h 4525940"/>
              <a:gd name="connsiteX1250" fmla="*/ 2421860 w 4545947"/>
              <a:gd name="connsiteY1250" fmla="*/ 628589 h 4525940"/>
              <a:gd name="connsiteX1251" fmla="*/ 2426284 w 4545947"/>
              <a:gd name="connsiteY1251" fmla="*/ 648832 h 4525940"/>
              <a:gd name="connsiteX1252" fmla="*/ 2440777 w 4545947"/>
              <a:gd name="connsiteY1252" fmla="*/ 700519 h 4525940"/>
              <a:gd name="connsiteX1253" fmla="*/ 2459393 w 4545947"/>
              <a:gd name="connsiteY1253" fmla="*/ 699389 h 4525940"/>
              <a:gd name="connsiteX1254" fmla="*/ 2459081 w 4545947"/>
              <a:gd name="connsiteY1254" fmla="*/ 657786 h 4525940"/>
              <a:gd name="connsiteX1255" fmla="*/ 2459470 w 4545947"/>
              <a:gd name="connsiteY1255" fmla="*/ 641298 h 4525940"/>
              <a:gd name="connsiteX1256" fmla="*/ 2477551 w 4545947"/>
              <a:gd name="connsiteY1256" fmla="*/ 632480 h 4525940"/>
              <a:gd name="connsiteX1257" fmla="*/ 2483722 w 4545947"/>
              <a:gd name="connsiteY1257" fmla="*/ 619800 h 4525940"/>
              <a:gd name="connsiteX1258" fmla="*/ 2478759 w 4545947"/>
              <a:gd name="connsiteY1258" fmla="*/ 588146 h 4525940"/>
              <a:gd name="connsiteX1259" fmla="*/ 2485319 w 4545947"/>
              <a:gd name="connsiteY1259" fmla="*/ 556492 h 4525940"/>
              <a:gd name="connsiteX1260" fmla="*/ 2491878 w 4545947"/>
              <a:gd name="connsiteY1260" fmla="*/ 564659 h 4525940"/>
              <a:gd name="connsiteX1261" fmla="*/ 2508588 w 4545947"/>
              <a:gd name="connsiteY1261" fmla="*/ 599558 h 4525940"/>
              <a:gd name="connsiteX1262" fmla="*/ 2525299 w 4545947"/>
              <a:gd name="connsiteY1262" fmla="*/ 626289 h 4525940"/>
              <a:gd name="connsiteX1263" fmla="*/ 2539199 w 4545947"/>
              <a:gd name="connsiteY1263" fmla="*/ 616250 h 4525940"/>
              <a:gd name="connsiteX1264" fmla="*/ 2548428 w 4545947"/>
              <a:gd name="connsiteY1264" fmla="*/ 572052 h 4525940"/>
              <a:gd name="connsiteX1265" fmla="*/ 2546291 w 4545947"/>
              <a:gd name="connsiteY1265" fmla="*/ 558312 h 4525940"/>
              <a:gd name="connsiteX1266" fmla="*/ 2542439 w 4545947"/>
              <a:gd name="connsiteY1266" fmla="*/ 552299 h 4525940"/>
              <a:gd name="connsiteX1267" fmla="*/ 2537847 w 4545947"/>
              <a:gd name="connsiteY1267" fmla="*/ 548256 h 4525940"/>
              <a:gd name="connsiteX1268" fmla="*/ 2523962 w 4545947"/>
              <a:gd name="connsiteY1268" fmla="*/ 526189 h 4525940"/>
              <a:gd name="connsiteX1269" fmla="*/ 2508411 w 4545947"/>
              <a:gd name="connsiteY1269" fmla="*/ 515434 h 4525940"/>
              <a:gd name="connsiteX1270" fmla="*/ 3394917 w 4545947"/>
              <a:gd name="connsiteY1270" fmla="*/ 499514 h 4525940"/>
              <a:gd name="connsiteX1271" fmla="*/ 3385075 w 4545947"/>
              <a:gd name="connsiteY1271" fmla="*/ 540733 h 4525940"/>
              <a:gd name="connsiteX1272" fmla="*/ 3404022 w 4545947"/>
              <a:gd name="connsiteY1272" fmla="*/ 534348 h 4525940"/>
              <a:gd name="connsiteX1273" fmla="*/ 3394917 w 4545947"/>
              <a:gd name="connsiteY1273" fmla="*/ 499514 h 4525940"/>
              <a:gd name="connsiteX1274" fmla="*/ 2473972 w 4545947"/>
              <a:gd name="connsiteY1274" fmla="*/ 490389 h 4525940"/>
              <a:gd name="connsiteX1275" fmla="*/ 2475523 w 4545947"/>
              <a:gd name="connsiteY1275" fmla="*/ 502376 h 4525940"/>
              <a:gd name="connsiteX1276" fmla="*/ 2480591 w 4545947"/>
              <a:gd name="connsiteY1276" fmla="*/ 497291 h 4525940"/>
              <a:gd name="connsiteX1277" fmla="*/ 2473972 w 4545947"/>
              <a:gd name="connsiteY1277" fmla="*/ 490389 h 4525940"/>
              <a:gd name="connsiteX1278" fmla="*/ 2576610 w 4545947"/>
              <a:gd name="connsiteY1278" fmla="*/ 482359 h 4525940"/>
              <a:gd name="connsiteX1279" fmla="*/ 2586852 w 4545947"/>
              <a:gd name="connsiteY1279" fmla="*/ 505111 h 4525940"/>
              <a:gd name="connsiteX1280" fmla="*/ 2586989 w 4545947"/>
              <a:gd name="connsiteY1280" fmla="*/ 501481 h 4525940"/>
              <a:gd name="connsiteX1281" fmla="*/ 2579336 w 4545947"/>
              <a:gd name="connsiteY1281" fmla="*/ 488499 h 4525940"/>
              <a:gd name="connsiteX1282" fmla="*/ 2576610 w 4545947"/>
              <a:gd name="connsiteY1282" fmla="*/ 482359 h 4525940"/>
              <a:gd name="connsiteX1283" fmla="*/ 2585636 w 4545947"/>
              <a:gd name="connsiteY1283" fmla="*/ 469292 h 4525940"/>
              <a:gd name="connsiteX1284" fmla="*/ 2590998 w 4545947"/>
              <a:gd name="connsiteY1284" fmla="*/ 485006 h 4525940"/>
              <a:gd name="connsiteX1285" fmla="*/ 2600616 w 4545947"/>
              <a:gd name="connsiteY1285" fmla="*/ 491243 h 4525940"/>
              <a:gd name="connsiteX1286" fmla="*/ 2595253 w 4545947"/>
              <a:gd name="connsiteY1286" fmla="*/ 475529 h 4525940"/>
              <a:gd name="connsiteX1287" fmla="*/ 2585636 w 4545947"/>
              <a:gd name="connsiteY1287" fmla="*/ 469292 h 4525940"/>
              <a:gd name="connsiteX1288" fmla="*/ 3422903 w 4545947"/>
              <a:gd name="connsiteY1288" fmla="*/ 465059 h 4525940"/>
              <a:gd name="connsiteX1289" fmla="*/ 3418939 w 4545947"/>
              <a:gd name="connsiteY1289" fmla="*/ 477730 h 4525940"/>
              <a:gd name="connsiteX1290" fmla="*/ 3424580 w 4545947"/>
              <a:gd name="connsiteY1290" fmla="*/ 474182 h 4525940"/>
              <a:gd name="connsiteX1291" fmla="*/ 3422903 w 4545947"/>
              <a:gd name="connsiteY1291" fmla="*/ 465059 h 4525940"/>
              <a:gd name="connsiteX1292" fmla="*/ 3788764 w 4545947"/>
              <a:gd name="connsiteY1292" fmla="*/ 436206 h 4525940"/>
              <a:gd name="connsiteX1293" fmla="*/ 3799916 w 4545947"/>
              <a:gd name="connsiteY1293" fmla="*/ 450450 h 4525940"/>
              <a:gd name="connsiteX1294" fmla="*/ 3813589 w 4545947"/>
              <a:gd name="connsiteY1294" fmla="*/ 475438 h 4525940"/>
              <a:gd name="connsiteX1295" fmla="*/ 3819205 w 4545947"/>
              <a:gd name="connsiteY1295" fmla="*/ 492847 h 4525940"/>
              <a:gd name="connsiteX1296" fmla="*/ 3796103 w 4545947"/>
              <a:gd name="connsiteY1296" fmla="*/ 490044 h 4525940"/>
              <a:gd name="connsiteX1297" fmla="*/ 3790637 w 4545947"/>
              <a:gd name="connsiteY1297" fmla="*/ 475233 h 4525940"/>
              <a:gd name="connsiteX1298" fmla="*/ 3784337 w 4545947"/>
              <a:gd name="connsiteY1298" fmla="*/ 461842 h 4525940"/>
              <a:gd name="connsiteX1299" fmla="*/ 3788764 w 4545947"/>
              <a:gd name="connsiteY1299" fmla="*/ 436206 h 4525940"/>
              <a:gd name="connsiteX1300" fmla="*/ 2416536 w 4545947"/>
              <a:gd name="connsiteY1300" fmla="*/ 393600 h 4525940"/>
              <a:gd name="connsiteX1301" fmla="*/ 2421911 w 4545947"/>
              <a:gd name="connsiteY1301" fmla="*/ 404024 h 4525940"/>
              <a:gd name="connsiteX1302" fmla="*/ 2415031 w 4545947"/>
              <a:gd name="connsiteY1302" fmla="*/ 417213 h 4525940"/>
              <a:gd name="connsiteX1303" fmla="*/ 2409565 w 4545947"/>
              <a:gd name="connsiteY1303" fmla="*/ 406659 h 4525940"/>
              <a:gd name="connsiteX1304" fmla="*/ 2416536 w 4545947"/>
              <a:gd name="connsiteY1304" fmla="*/ 393600 h 4525940"/>
              <a:gd name="connsiteX1305" fmla="*/ 3384911 w 4545947"/>
              <a:gd name="connsiteY1305" fmla="*/ 341340 h 4525940"/>
              <a:gd name="connsiteX1306" fmla="*/ 3372417 w 4545947"/>
              <a:gd name="connsiteY1306" fmla="*/ 369731 h 4525940"/>
              <a:gd name="connsiteX1307" fmla="*/ 3380538 w 4545947"/>
              <a:gd name="connsiteY1307" fmla="*/ 378728 h 4525940"/>
              <a:gd name="connsiteX1308" fmla="*/ 3380675 w 4545947"/>
              <a:gd name="connsiteY1308" fmla="*/ 375035 h 4525940"/>
              <a:gd name="connsiteX1309" fmla="*/ 3380675 w 4545947"/>
              <a:gd name="connsiteY1309" fmla="*/ 375035 h 4525940"/>
              <a:gd name="connsiteX1310" fmla="*/ 3375209 w 4545947"/>
              <a:gd name="connsiteY1310" fmla="*/ 359334 h 4525940"/>
              <a:gd name="connsiteX1311" fmla="*/ 3378698 w 4545947"/>
              <a:gd name="connsiteY1311" fmla="*/ 349948 h 4525940"/>
              <a:gd name="connsiteX1312" fmla="*/ 3388537 w 4545947"/>
              <a:gd name="connsiteY1312" fmla="*/ 347252 h 4525940"/>
              <a:gd name="connsiteX1313" fmla="*/ 3384911 w 4545947"/>
              <a:gd name="connsiteY1313" fmla="*/ 341340 h 4525940"/>
              <a:gd name="connsiteX1314" fmla="*/ 3481752 w 4545947"/>
              <a:gd name="connsiteY1314" fmla="*/ 328581 h 4525940"/>
              <a:gd name="connsiteX1315" fmla="*/ 3473209 w 4545947"/>
              <a:gd name="connsiteY1315" fmla="*/ 344408 h 4525940"/>
              <a:gd name="connsiteX1316" fmla="*/ 3451077 w 4545947"/>
              <a:gd name="connsiteY1316" fmla="*/ 360235 h 4525940"/>
              <a:gd name="connsiteX1317" fmla="*/ 3425989 w 4545947"/>
              <a:gd name="connsiteY1317" fmla="*/ 367943 h 4525940"/>
              <a:gd name="connsiteX1318" fmla="*/ 3435239 w 4545947"/>
              <a:gd name="connsiteY1318" fmla="*/ 429875 h 4525940"/>
              <a:gd name="connsiteX1319" fmla="*/ 3440516 w 4545947"/>
              <a:gd name="connsiteY1319" fmla="*/ 463112 h 4525940"/>
              <a:gd name="connsiteX1320" fmla="*/ 3443678 w 4545947"/>
              <a:gd name="connsiteY1320" fmla="*/ 486853 h 4525940"/>
              <a:gd name="connsiteX1321" fmla="*/ 3449549 w 4545947"/>
              <a:gd name="connsiteY1321" fmla="*/ 501624 h 4525940"/>
              <a:gd name="connsiteX1322" fmla="*/ 3464675 w 4545947"/>
              <a:gd name="connsiteY1322" fmla="*/ 523522 h 4525940"/>
              <a:gd name="connsiteX1323" fmla="*/ 3474924 w 4545947"/>
              <a:gd name="connsiteY1323" fmla="*/ 480522 h 4525940"/>
              <a:gd name="connsiteX1324" fmla="*/ 3480390 w 4545947"/>
              <a:gd name="connsiteY1324" fmla="*/ 433357 h 4525940"/>
              <a:gd name="connsiteX1325" fmla="*/ 3484532 w 4545947"/>
              <a:gd name="connsiteY1325" fmla="*/ 412781 h 4525940"/>
              <a:gd name="connsiteX1326" fmla="*/ 3490938 w 4545947"/>
              <a:gd name="connsiteY1326" fmla="*/ 398220 h 4525940"/>
              <a:gd name="connsiteX1327" fmla="*/ 3504808 w 4545947"/>
              <a:gd name="connsiteY1327" fmla="*/ 364853 h 4525940"/>
              <a:gd name="connsiteX1328" fmla="*/ 3481752 w 4545947"/>
              <a:gd name="connsiteY1328" fmla="*/ 328581 h 4525940"/>
              <a:gd name="connsiteX1329" fmla="*/ 3250209 w 4545947"/>
              <a:gd name="connsiteY1329" fmla="*/ 322250 h 4525940"/>
              <a:gd name="connsiteX1330" fmla="*/ 3218734 w 4545947"/>
              <a:gd name="connsiteY1330" fmla="*/ 345991 h 4525940"/>
              <a:gd name="connsiteX1331" fmla="*/ 3207511 w 4545947"/>
              <a:gd name="connsiteY1331" fmla="*/ 353905 h 4525940"/>
              <a:gd name="connsiteX1332" fmla="*/ 3185026 w 4545947"/>
              <a:gd name="connsiteY1332" fmla="*/ 391710 h 4525940"/>
              <a:gd name="connsiteX1333" fmla="*/ 3190049 w 4545947"/>
              <a:gd name="connsiteY1333" fmla="*/ 417333 h 4525940"/>
              <a:gd name="connsiteX1334" fmla="*/ 3209038 w 4545947"/>
              <a:gd name="connsiteY1334" fmla="*/ 423965 h 4525940"/>
              <a:gd name="connsiteX1335" fmla="*/ 3221064 w 4545947"/>
              <a:gd name="connsiteY1335" fmla="*/ 416051 h 4525940"/>
              <a:gd name="connsiteX1336" fmla="*/ 3234472 w 4545947"/>
              <a:gd name="connsiteY1336" fmla="*/ 396638 h 4525940"/>
              <a:gd name="connsiteX1337" fmla="*/ 3252767 w 4545947"/>
              <a:gd name="connsiteY1337" fmla="*/ 392871 h 4525940"/>
              <a:gd name="connsiteX1338" fmla="*/ 3261513 w 4545947"/>
              <a:gd name="connsiteY1338" fmla="*/ 395055 h 4525940"/>
              <a:gd name="connsiteX1339" fmla="*/ 3250209 w 4545947"/>
              <a:gd name="connsiteY1339" fmla="*/ 322250 h 4525940"/>
              <a:gd name="connsiteX1340" fmla="*/ 3735611 w 4545947"/>
              <a:gd name="connsiteY1340" fmla="*/ 303258 h 4525940"/>
              <a:gd name="connsiteX1341" fmla="*/ 3742535 w 4545947"/>
              <a:gd name="connsiteY1341" fmla="*/ 312227 h 4525940"/>
              <a:gd name="connsiteX1342" fmla="*/ 3747682 w 4545947"/>
              <a:gd name="connsiteY1342" fmla="*/ 323679 h 4525940"/>
              <a:gd name="connsiteX1343" fmla="*/ 3749611 w 4545947"/>
              <a:gd name="connsiteY1343" fmla="*/ 333703 h 4525940"/>
              <a:gd name="connsiteX1344" fmla="*/ 3736483 w 4545947"/>
              <a:gd name="connsiteY1344" fmla="*/ 330164 h 4525940"/>
              <a:gd name="connsiteX1345" fmla="*/ 3731235 w 4545947"/>
              <a:gd name="connsiteY1345" fmla="*/ 311171 h 4525940"/>
              <a:gd name="connsiteX1346" fmla="*/ 3735611 w 4545947"/>
              <a:gd name="connsiteY1346" fmla="*/ 303258 h 4525940"/>
              <a:gd name="connsiteX1347" fmla="*/ 2667524 w 4545947"/>
              <a:gd name="connsiteY1347" fmla="*/ 278974 h 4525940"/>
              <a:gd name="connsiteX1348" fmla="*/ 2658117 w 4545947"/>
              <a:gd name="connsiteY1348" fmla="*/ 316447 h 4525940"/>
              <a:gd name="connsiteX1349" fmla="*/ 2673175 w 4545947"/>
              <a:gd name="connsiteY1349" fmla="*/ 346258 h 4525940"/>
              <a:gd name="connsiteX1350" fmla="*/ 2682100 w 4545947"/>
              <a:gd name="connsiteY1350" fmla="*/ 316609 h 4525940"/>
              <a:gd name="connsiteX1351" fmla="*/ 2674323 w 4545947"/>
              <a:gd name="connsiteY1351" fmla="*/ 281790 h 4525940"/>
              <a:gd name="connsiteX1352" fmla="*/ 2667524 w 4545947"/>
              <a:gd name="connsiteY1352" fmla="*/ 278974 h 4525940"/>
              <a:gd name="connsiteX1353" fmla="*/ 2403748 w 4545947"/>
              <a:gd name="connsiteY1353" fmla="*/ 222584 h 4525940"/>
              <a:gd name="connsiteX1354" fmla="*/ 2408792 w 4545947"/>
              <a:gd name="connsiteY1354" fmla="*/ 229925 h 4525940"/>
              <a:gd name="connsiteX1355" fmla="*/ 2401869 w 4545947"/>
              <a:gd name="connsiteY1355" fmla="*/ 239949 h 4525940"/>
              <a:gd name="connsiteX1356" fmla="*/ 2396676 w 4545947"/>
              <a:gd name="connsiteY1356" fmla="*/ 232431 h 4525940"/>
              <a:gd name="connsiteX1357" fmla="*/ 2403748 w 4545947"/>
              <a:gd name="connsiteY1357" fmla="*/ 222584 h 4525940"/>
              <a:gd name="connsiteX1358" fmla="*/ 3661635 w 4545947"/>
              <a:gd name="connsiteY1358" fmla="*/ 214625 h 4525940"/>
              <a:gd name="connsiteX1359" fmla="*/ 3668195 w 4545947"/>
              <a:gd name="connsiteY1359" fmla="*/ 227287 h 4525940"/>
              <a:gd name="connsiteX1360" fmla="*/ 3661635 w 4545947"/>
              <a:gd name="connsiteY1360" fmla="*/ 239949 h 4525940"/>
              <a:gd name="connsiteX1361" fmla="*/ 3655077 w 4545947"/>
              <a:gd name="connsiteY1361" fmla="*/ 227287 h 4525940"/>
              <a:gd name="connsiteX1362" fmla="*/ 3661635 w 4545947"/>
              <a:gd name="connsiteY1362" fmla="*/ 214625 h 4525940"/>
              <a:gd name="connsiteX1363" fmla="*/ 2458546 w 4545947"/>
              <a:gd name="connsiteY1363" fmla="*/ 189624 h 4525940"/>
              <a:gd name="connsiteX1364" fmla="*/ 2468139 w 4545947"/>
              <a:gd name="connsiteY1364" fmla="*/ 196363 h 4525940"/>
              <a:gd name="connsiteX1365" fmla="*/ 2489869 w 4545947"/>
              <a:gd name="connsiteY1365" fmla="*/ 200371 h 4525940"/>
              <a:gd name="connsiteX1366" fmla="*/ 2518076 w 4545947"/>
              <a:gd name="connsiteY1366" fmla="*/ 215902 h 4525940"/>
              <a:gd name="connsiteX1367" fmla="*/ 2525165 w 4545947"/>
              <a:gd name="connsiteY1367" fmla="*/ 243549 h 4525940"/>
              <a:gd name="connsiteX1368" fmla="*/ 2511500 w 4545947"/>
              <a:gd name="connsiteY1368" fmla="*/ 238403 h 4525940"/>
              <a:gd name="connsiteX1369" fmla="*/ 2489102 w 4545947"/>
              <a:gd name="connsiteY1369" fmla="*/ 239473 h 4525940"/>
              <a:gd name="connsiteX1370" fmla="*/ 2470013 w 4545947"/>
              <a:gd name="connsiteY1370" fmla="*/ 246218 h 4525940"/>
              <a:gd name="connsiteX1371" fmla="*/ 2461268 w 4545947"/>
              <a:gd name="connsiteY1371" fmla="*/ 222653 h 4525940"/>
              <a:gd name="connsiteX1372" fmla="*/ 2452522 w 4545947"/>
              <a:gd name="connsiteY1372" fmla="*/ 200557 h 4525940"/>
              <a:gd name="connsiteX1373" fmla="*/ 2458546 w 4545947"/>
              <a:gd name="connsiteY1373" fmla="*/ 189624 h 4525940"/>
              <a:gd name="connsiteX1374" fmla="*/ 2511298 w 4545947"/>
              <a:gd name="connsiteY1374" fmla="*/ 176640 h 4525940"/>
              <a:gd name="connsiteX1375" fmla="*/ 2518116 w 4545947"/>
              <a:gd name="connsiteY1375" fmla="*/ 182971 h 4525940"/>
              <a:gd name="connsiteX1376" fmla="*/ 2514001 w 4545947"/>
              <a:gd name="connsiteY1376" fmla="*/ 189302 h 4525940"/>
              <a:gd name="connsiteX1377" fmla="*/ 2507183 w 4545947"/>
              <a:gd name="connsiteY1377" fmla="*/ 182971 h 4525940"/>
              <a:gd name="connsiteX1378" fmla="*/ 2511298 w 4545947"/>
              <a:gd name="connsiteY1378" fmla="*/ 176640 h 4525940"/>
              <a:gd name="connsiteX1379" fmla="*/ 2555929 w 4545947"/>
              <a:gd name="connsiteY1379" fmla="*/ 171777 h 4525940"/>
              <a:gd name="connsiteX1380" fmla="*/ 2582482 w 4545947"/>
              <a:gd name="connsiteY1380" fmla="*/ 177792 h 4525940"/>
              <a:gd name="connsiteX1381" fmla="*/ 2574699 w 4545947"/>
              <a:gd name="connsiteY1381" fmla="*/ 193528 h 4525940"/>
              <a:gd name="connsiteX1382" fmla="*/ 2555286 w 4545947"/>
              <a:gd name="connsiteY1382" fmla="*/ 195633 h 4525940"/>
              <a:gd name="connsiteX1383" fmla="*/ 2544095 w 4545947"/>
              <a:gd name="connsiteY1383" fmla="*/ 189302 h 4525940"/>
              <a:gd name="connsiteX1384" fmla="*/ 2535607 w 4545947"/>
              <a:gd name="connsiteY1384" fmla="*/ 181183 h 4525940"/>
              <a:gd name="connsiteX1385" fmla="*/ 2555929 w 4545947"/>
              <a:gd name="connsiteY1385" fmla="*/ 171777 h 4525940"/>
              <a:gd name="connsiteX1386" fmla="*/ 2651238 w 4545947"/>
              <a:gd name="connsiteY1386" fmla="*/ 166688 h 4525940"/>
              <a:gd name="connsiteX1387" fmla="*/ 2662423 w 4545947"/>
              <a:gd name="connsiteY1387" fmla="*/ 186823 h 4525940"/>
              <a:gd name="connsiteX1388" fmla="*/ 2658132 w 4545947"/>
              <a:gd name="connsiteY1388" fmla="*/ 201964 h 4525940"/>
              <a:gd name="connsiteX1389" fmla="*/ 2651099 w 4545947"/>
              <a:gd name="connsiteY1389" fmla="*/ 217791 h 4525940"/>
              <a:gd name="connsiteX1390" fmla="*/ 2631294 w 4545947"/>
              <a:gd name="connsiteY1390" fmla="*/ 228870 h 4525940"/>
              <a:gd name="connsiteX1391" fmla="*/ 2631294 w 4545947"/>
              <a:gd name="connsiteY1391" fmla="*/ 219374 h 4525940"/>
              <a:gd name="connsiteX1392" fmla="*/ 2627439 w 4545947"/>
              <a:gd name="connsiteY1392" fmla="*/ 214625 h 4525940"/>
              <a:gd name="connsiteX1393" fmla="*/ 2631687 w 4545947"/>
              <a:gd name="connsiteY1393" fmla="*/ 178004 h 4525940"/>
              <a:gd name="connsiteX1394" fmla="*/ 2651238 w 4545947"/>
              <a:gd name="connsiteY1394" fmla="*/ 166688 h 4525940"/>
              <a:gd name="connsiteX1395" fmla="*/ 3294675 w 4545947"/>
              <a:gd name="connsiteY1395" fmla="*/ 163979 h 4525940"/>
              <a:gd name="connsiteX1396" fmla="*/ 3292944 w 4545947"/>
              <a:gd name="connsiteY1396" fmla="*/ 181520 h 4525940"/>
              <a:gd name="connsiteX1397" fmla="*/ 3287751 w 4545947"/>
              <a:gd name="connsiteY1397" fmla="*/ 174003 h 4525940"/>
              <a:gd name="connsiteX1398" fmla="*/ 3294675 w 4545947"/>
              <a:gd name="connsiteY1398" fmla="*/ 163979 h 4525940"/>
              <a:gd name="connsiteX1399" fmla="*/ 3593184 w 4545947"/>
              <a:gd name="connsiteY1399" fmla="*/ 152944 h 4525940"/>
              <a:gd name="connsiteX1400" fmla="*/ 3598229 w 4545947"/>
              <a:gd name="connsiteY1400" fmla="*/ 160286 h 4525940"/>
              <a:gd name="connsiteX1401" fmla="*/ 3591305 w 4545947"/>
              <a:gd name="connsiteY1401" fmla="*/ 170310 h 4525940"/>
              <a:gd name="connsiteX1402" fmla="*/ 3586112 w 4545947"/>
              <a:gd name="connsiteY1402" fmla="*/ 162792 h 4525940"/>
              <a:gd name="connsiteX1403" fmla="*/ 3593184 w 4545947"/>
              <a:gd name="connsiteY1403" fmla="*/ 152944 h 4525940"/>
              <a:gd name="connsiteX1404" fmla="*/ 2447768 w 4545947"/>
              <a:gd name="connsiteY1404" fmla="*/ 122488 h 4525940"/>
              <a:gd name="connsiteX1405" fmla="*/ 2445825 w 4545947"/>
              <a:gd name="connsiteY1405" fmla="*/ 151317 h 4525940"/>
              <a:gd name="connsiteX1406" fmla="*/ 2436499 w 4545947"/>
              <a:gd name="connsiteY1406" fmla="*/ 141395 h 4525940"/>
              <a:gd name="connsiteX1407" fmla="*/ 2447768 w 4545947"/>
              <a:gd name="connsiteY1407" fmla="*/ 122488 h 4525940"/>
              <a:gd name="connsiteX1408" fmla="*/ 2758453 w 4545947"/>
              <a:gd name="connsiteY1408" fmla="*/ 113837 h 4525940"/>
              <a:gd name="connsiteX1409" fmla="*/ 2752343 w 4545947"/>
              <a:gd name="connsiteY1409" fmla="*/ 114355 h 4525940"/>
              <a:gd name="connsiteX1410" fmla="*/ 2739995 w 4545947"/>
              <a:gd name="connsiteY1410" fmla="*/ 163342 h 4525940"/>
              <a:gd name="connsiteX1411" fmla="*/ 2756797 w 4545947"/>
              <a:gd name="connsiteY1411" fmla="*/ 236783 h 4525940"/>
              <a:gd name="connsiteX1412" fmla="*/ 2776577 w 4545947"/>
              <a:gd name="connsiteY1412" fmla="*/ 277579 h 4525940"/>
              <a:gd name="connsiteX1413" fmla="*/ 2784864 w 4545947"/>
              <a:gd name="connsiteY1413" fmla="*/ 243265 h 4525940"/>
              <a:gd name="connsiteX1414" fmla="*/ 2789237 w 4545947"/>
              <a:gd name="connsiteY1414" fmla="*/ 211460 h 4525940"/>
              <a:gd name="connsiteX1415" fmla="*/ 2787050 w 4545947"/>
              <a:gd name="connsiteY1415" fmla="*/ 172599 h 4525940"/>
              <a:gd name="connsiteX1416" fmla="*/ 2780492 w 4545947"/>
              <a:gd name="connsiteY1416" fmla="*/ 159871 h 4525940"/>
              <a:gd name="connsiteX1417" fmla="*/ 2754010 w 4545947"/>
              <a:gd name="connsiteY1417" fmla="*/ 129045 h 4525940"/>
              <a:gd name="connsiteX1418" fmla="*/ 2752067 w 4545947"/>
              <a:gd name="connsiteY1418" fmla="*/ 122018 h 4525940"/>
              <a:gd name="connsiteX1419" fmla="*/ 2758453 w 4545947"/>
              <a:gd name="connsiteY1419" fmla="*/ 113837 h 4525940"/>
              <a:gd name="connsiteX1420" fmla="*/ 3208103 w 4545947"/>
              <a:gd name="connsiteY1420" fmla="*/ 91897 h 4525940"/>
              <a:gd name="connsiteX1421" fmla="*/ 3217784 w 4545947"/>
              <a:gd name="connsiteY1421" fmla="*/ 116250 h 4525940"/>
              <a:gd name="connsiteX1422" fmla="*/ 3224343 w 4545947"/>
              <a:gd name="connsiteY1422" fmla="*/ 144986 h 4525940"/>
              <a:gd name="connsiteX1423" fmla="*/ 3230903 w 4545947"/>
              <a:gd name="connsiteY1423" fmla="*/ 168372 h 4525940"/>
              <a:gd name="connsiteX1424" fmla="*/ 3237462 w 4545947"/>
              <a:gd name="connsiteY1424" fmla="*/ 193372 h 4525940"/>
              <a:gd name="connsiteX1425" fmla="*/ 3240742 w 4545947"/>
              <a:gd name="connsiteY1425" fmla="*/ 219944 h 4525940"/>
              <a:gd name="connsiteX1426" fmla="*/ 3223595 w 4545947"/>
              <a:gd name="connsiteY1426" fmla="*/ 216414 h 4525940"/>
              <a:gd name="connsiteX1427" fmla="*/ 3189004 w 4545947"/>
              <a:gd name="connsiteY1427" fmla="*/ 162600 h 4525940"/>
              <a:gd name="connsiteX1428" fmla="*/ 3194368 w 4545947"/>
              <a:gd name="connsiteY1428" fmla="*/ 124622 h 4525940"/>
              <a:gd name="connsiteX1429" fmla="*/ 3208103 w 4545947"/>
              <a:gd name="connsiteY1429" fmla="*/ 91897 h 4525940"/>
              <a:gd name="connsiteX1430" fmla="*/ 3421125 w 4545947"/>
              <a:gd name="connsiteY1430" fmla="*/ 62685 h 4525940"/>
              <a:gd name="connsiteX1431" fmla="*/ 3427684 w 4545947"/>
              <a:gd name="connsiteY1431" fmla="*/ 72181 h 4525940"/>
              <a:gd name="connsiteX1432" fmla="*/ 3431098 w 4545947"/>
              <a:gd name="connsiteY1432" fmla="*/ 81678 h 4525940"/>
              <a:gd name="connsiteX1433" fmla="*/ 3441509 w 4545947"/>
              <a:gd name="connsiteY1433" fmla="*/ 121946 h 4525940"/>
              <a:gd name="connsiteX1434" fmla="*/ 3433123 w 4545947"/>
              <a:gd name="connsiteY1434" fmla="*/ 121434 h 4525940"/>
              <a:gd name="connsiteX1435" fmla="*/ 3430102 w 4545947"/>
              <a:gd name="connsiteY1435" fmla="*/ 112791 h 4525940"/>
              <a:gd name="connsiteX1436" fmla="*/ 3427942 w 4545947"/>
              <a:gd name="connsiteY1436" fmla="*/ 107001 h 4525940"/>
              <a:gd name="connsiteX1437" fmla="*/ 3423312 w 4545947"/>
              <a:gd name="connsiteY1437" fmla="*/ 94339 h 4525940"/>
              <a:gd name="connsiteX1438" fmla="*/ 3418939 w 4545947"/>
              <a:gd name="connsiteY1438" fmla="*/ 81678 h 4525940"/>
              <a:gd name="connsiteX1439" fmla="*/ 3414566 w 4545947"/>
              <a:gd name="connsiteY1439" fmla="*/ 72181 h 4525940"/>
              <a:gd name="connsiteX1440" fmla="*/ 3421125 w 4545947"/>
              <a:gd name="connsiteY1440" fmla="*/ 62685 h 4525940"/>
              <a:gd name="connsiteX1441" fmla="*/ 3123228 w 4545947"/>
              <a:gd name="connsiteY1441" fmla="*/ 39762 h 4525940"/>
              <a:gd name="connsiteX1442" fmla="*/ 3129915 w 4545947"/>
              <a:gd name="connsiteY1442" fmla="*/ 46141 h 4525940"/>
              <a:gd name="connsiteX1443" fmla="*/ 3130996 w 4545947"/>
              <a:gd name="connsiteY1443" fmla="*/ 58920 h 4525940"/>
              <a:gd name="connsiteX1444" fmla="*/ 3124122 w 4545947"/>
              <a:gd name="connsiteY1444" fmla="*/ 52246 h 4525940"/>
              <a:gd name="connsiteX1445" fmla="*/ 3123228 w 4545947"/>
              <a:gd name="connsiteY1445" fmla="*/ 39762 h 4525940"/>
              <a:gd name="connsiteX1446" fmla="*/ 3491456 w 4545947"/>
              <a:gd name="connsiteY1446" fmla="*/ 6650 h 4525940"/>
              <a:gd name="connsiteX1447" fmla="*/ 3502024 w 4545947"/>
              <a:gd name="connsiteY1447" fmla="*/ 18369 h 4525940"/>
              <a:gd name="connsiteX1448" fmla="*/ 3517999 w 4545947"/>
              <a:gd name="connsiteY1448" fmla="*/ 31031 h 4525940"/>
              <a:gd name="connsiteX1449" fmla="*/ 3523889 w 4545947"/>
              <a:gd name="connsiteY1449" fmla="*/ 37362 h 4525940"/>
              <a:gd name="connsiteX1450" fmla="*/ 3530448 w 4545947"/>
              <a:gd name="connsiteY1450" fmla="*/ 43693 h 4525940"/>
              <a:gd name="connsiteX1451" fmla="*/ 3537008 w 4545947"/>
              <a:gd name="connsiteY1451" fmla="*/ 56677 h 4525940"/>
              <a:gd name="connsiteX1452" fmla="*/ 3573084 w 4545947"/>
              <a:gd name="connsiteY1452" fmla="*/ 113301 h 4525940"/>
              <a:gd name="connsiteX1453" fmla="*/ 3576364 w 4545947"/>
              <a:gd name="connsiteY1453" fmla="*/ 123514 h 4525940"/>
              <a:gd name="connsiteX1454" fmla="*/ 3565906 w 4545947"/>
              <a:gd name="connsiteY1454" fmla="*/ 129897 h 4525940"/>
              <a:gd name="connsiteX1455" fmla="*/ 3553610 w 4545947"/>
              <a:gd name="connsiteY1455" fmla="*/ 148893 h 4525940"/>
              <a:gd name="connsiteX1456" fmla="*/ 3559695 w 4545947"/>
              <a:gd name="connsiteY1456" fmla="*/ 178853 h 4525940"/>
              <a:gd name="connsiteX1457" fmla="*/ 3562664 w 4545947"/>
              <a:gd name="connsiteY1457" fmla="*/ 212934 h 4525940"/>
              <a:gd name="connsiteX1458" fmla="*/ 3570416 w 4545947"/>
              <a:gd name="connsiteY1458" fmla="*/ 239949 h 4525940"/>
              <a:gd name="connsiteX1459" fmla="*/ 3586126 w 4545947"/>
              <a:gd name="connsiteY1459" fmla="*/ 229122 h 4525940"/>
              <a:gd name="connsiteX1460" fmla="*/ 3598207 w 4545947"/>
              <a:gd name="connsiteY1460" fmla="*/ 227237 h 4525940"/>
              <a:gd name="connsiteX1461" fmla="*/ 3599566 w 4545947"/>
              <a:gd name="connsiteY1461" fmla="*/ 241937 h 4525940"/>
              <a:gd name="connsiteX1462" fmla="*/ 3618632 w 4545947"/>
              <a:gd name="connsiteY1462" fmla="*/ 258845 h 4525940"/>
              <a:gd name="connsiteX1463" fmla="*/ 3665357 w 4545947"/>
              <a:gd name="connsiteY1463" fmla="*/ 319085 h 4525940"/>
              <a:gd name="connsiteX1464" fmla="*/ 3664147 w 4545947"/>
              <a:gd name="connsiteY1464" fmla="*/ 355487 h 4525940"/>
              <a:gd name="connsiteX1465" fmla="*/ 3664283 w 4545947"/>
              <a:gd name="connsiteY1465" fmla="*/ 379228 h 4525940"/>
              <a:gd name="connsiteX1466" fmla="*/ 3668196 w 4545947"/>
              <a:gd name="connsiteY1466" fmla="*/ 388724 h 4525940"/>
              <a:gd name="connsiteX1467" fmla="*/ 3672568 w 4545947"/>
              <a:gd name="connsiteY1467" fmla="*/ 398220 h 4525940"/>
              <a:gd name="connsiteX1468" fmla="*/ 3676941 w 4545947"/>
              <a:gd name="connsiteY1468" fmla="*/ 421463 h 4525940"/>
              <a:gd name="connsiteX1469" fmla="*/ 3683014 w 4545947"/>
              <a:gd name="connsiteY1469" fmla="*/ 454700 h 4525940"/>
              <a:gd name="connsiteX1470" fmla="*/ 3692108 w 4545947"/>
              <a:gd name="connsiteY1470" fmla="*/ 485270 h 4525940"/>
              <a:gd name="connsiteX1471" fmla="*/ 3688220 w 4545947"/>
              <a:gd name="connsiteY1471" fmla="*/ 505845 h 4525940"/>
              <a:gd name="connsiteX1472" fmla="*/ 3682407 w 4545947"/>
              <a:gd name="connsiteY1472" fmla="*/ 498925 h 4525940"/>
              <a:gd name="connsiteX1473" fmla="*/ 3660542 w 4545947"/>
              <a:gd name="connsiteY1473" fmla="*/ 484398 h 4525940"/>
              <a:gd name="connsiteX1474" fmla="*/ 3656943 w 4545947"/>
              <a:gd name="connsiteY1474" fmla="*/ 532140 h 4525940"/>
              <a:gd name="connsiteX1475" fmla="*/ 3663823 w 4545947"/>
              <a:gd name="connsiteY1475" fmla="*/ 567545 h 4525940"/>
              <a:gd name="connsiteX1476" fmla="*/ 3672568 w 4545947"/>
              <a:gd name="connsiteY1476" fmla="*/ 599081 h 4525940"/>
              <a:gd name="connsiteX1477" fmla="*/ 3681314 w 4545947"/>
              <a:gd name="connsiteY1477" fmla="*/ 626611 h 4525940"/>
              <a:gd name="connsiteX1478" fmla="*/ 3685687 w 4545947"/>
              <a:gd name="connsiteY1478" fmla="*/ 641959 h 4525940"/>
              <a:gd name="connsiteX1479" fmla="*/ 3690060 w 4545947"/>
              <a:gd name="connsiteY1479" fmla="*/ 660343 h 4525940"/>
              <a:gd name="connsiteX1480" fmla="*/ 3714879 w 4545947"/>
              <a:gd name="connsiteY1480" fmla="*/ 694706 h 4525940"/>
              <a:gd name="connsiteX1481" fmla="*/ 3727174 w 4545947"/>
              <a:gd name="connsiteY1481" fmla="*/ 678324 h 4525940"/>
              <a:gd name="connsiteX1482" fmla="*/ 3741385 w 4545947"/>
              <a:gd name="connsiteY1482" fmla="*/ 664117 h 4525940"/>
              <a:gd name="connsiteX1483" fmla="*/ 3736264 w 4545947"/>
              <a:gd name="connsiteY1483" fmla="*/ 703575 h 4525940"/>
              <a:gd name="connsiteX1484" fmla="*/ 3721445 w 4545947"/>
              <a:gd name="connsiteY1484" fmla="*/ 766238 h 4525940"/>
              <a:gd name="connsiteX1485" fmla="*/ 3753209 w 4545947"/>
              <a:gd name="connsiteY1485" fmla="*/ 762044 h 4525940"/>
              <a:gd name="connsiteX1486" fmla="*/ 3792622 w 4545947"/>
              <a:gd name="connsiteY1486" fmla="*/ 783484 h 4525940"/>
              <a:gd name="connsiteX1487" fmla="*/ 3816087 w 4545947"/>
              <a:gd name="connsiteY1487" fmla="*/ 779639 h 4525940"/>
              <a:gd name="connsiteX1488" fmla="*/ 3832485 w 4545947"/>
              <a:gd name="connsiteY1488" fmla="*/ 748816 h 4525940"/>
              <a:gd name="connsiteX1489" fmla="*/ 3847425 w 4545947"/>
              <a:gd name="connsiteY1489" fmla="*/ 709264 h 4525940"/>
              <a:gd name="connsiteX1490" fmla="*/ 3839142 w 4545947"/>
              <a:gd name="connsiteY1490" fmla="*/ 660590 h 4525940"/>
              <a:gd name="connsiteX1491" fmla="*/ 3842989 w 4545947"/>
              <a:gd name="connsiteY1491" fmla="*/ 566799 h 4525940"/>
              <a:gd name="connsiteX1492" fmla="*/ 3847485 w 4545947"/>
              <a:gd name="connsiteY1492" fmla="*/ 549670 h 4525940"/>
              <a:gd name="connsiteX1493" fmla="*/ 3853517 w 4545947"/>
              <a:gd name="connsiteY1493" fmla="*/ 531802 h 4525940"/>
              <a:gd name="connsiteX1494" fmla="*/ 3861473 w 4545947"/>
              <a:gd name="connsiteY1494" fmla="*/ 472401 h 4525940"/>
              <a:gd name="connsiteX1495" fmla="*/ 3842299 w 4545947"/>
              <a:gd name="connsiteY1495" fmla="*/ 430355 h 4525940"/>
              <a:gd name="connsiteX1496" fmla="*/ 3823090 w 4545947"/>
              <a:gd name="connsiteY1496" fmla="*/ 390244 h 4525940"/>
              <a:gd name="connsiteX1497" fmla="*/ 3811876 w 4545947"/>
              <a:gd name="connsiteY1497" fmla="*/ 365824 h 4525940"/>
              <a:gd name="connsiteX1498" fmla="*/ 3803756 w 4545947"/>
              <a:gd name="connsiteY1498" fmla="*/ 345701 h 4525940"/>
              <a:gd name="connsiteX1499" fmla="*/ 3798290 w 4545947"/>
              <a:gd name="connsiteY1499" fmla="*/ 327206 h 4525940"/>
              <a:gd name="connsiteX1500" fmla="*/ 3783985 w 4545947"/>
              <a:gd name="connsiteY1500" fmla="*/ 271395 h 4525940"/>
              <a:gd name="connsiteX1501" fmla="*/ 3795958 w 4545947"/>
              <a:gd name="connsiteY1501" fmla="*/ 251450 h 4525940"/>
              <a:gd name="connsiteX1502" fmla="*/ 3811582 w 4545947"/>
              <a:gd name="connsiteY1502" fmla="*/ 258942 h 4525940"/>
              <a:gd name="connsiteX1503" fmla="*/ 3838594 w 4545947"/>
              <a:gd name="connsiteY1503" fmla="*/ 298509 h 4525940"/>
              <a:gd name="connsiteX1504" fmla="*/ 3843112 w 4545947"/>
              <a:gd name="connsiteY1504" fmla="*/ 309588 h 4525940"/>
              <a:gd name="connsiteX1505" fmla="*/ 3847485 w 4545947"/>
              <a:gd name="connsiteY1505" fmla="*/ 319315 h 4525940"/>
              <a:gd name="connsiteX1506" fmla="*/ 3880487 w 4545947"/>
              <a:gd name="connsiteY1506" fmla="*/ 375747 h 4525940"/>
              <a:gd name="connsiteX1507" fmla="*/ 3913488 w 4545947"/>
              <a:gd name="connsiteY1507" fmla="*/ 422452 h 4525940"/>
              <a:gd name="connsiteX1508" fmla="*/ 3912190 w 4545947"/>
              <a:gd name="connsiteY1508" fmla="*/ 462566 h 4525940"/>
              <a:gd name="connsiteX1509" fmla="*/ 3910892 w 4545947"/>
              <a:gd name="connsiteY1509" fmla="*/ 502680 h 4525940"/>
              <a:gd name="connsiteX1510" fmla="*/ 3924010 w 4545947"/>
              <a:gd name="connsiteY1510" fmla="*/ 504823 h 4525940"/>
              <a:gd name="connsiteX1511" fmla="*/ 3948063 w 4545947"/>
              <a:gd name="connsiteY1511" fmla="*/ 546577 h 4525940"/>
              <a:gd name="connsiteX1512" fmla="*/ 3957252 w 4545947"/>
              <a:gd name="connsiteY1512" fmla="*/ 587378 h 4525940"/>
              <a:gd name="connsiteX1513" fmla="*/ 3964689 w 4545947"/>
              <a:gd name="connsiteY1513" fmla="*/ 623392 h 4525940"/>
              <a:gd name="connsiteX1514" fmla="*/ 3966432 w 4545947"/>
              <a:gd name="connsiteY1514" fmla="*/ 645124 h 4525940"/>
              <a:gd name="connsiteX1515" fmla="*/ 3969927 w 4545947"/>
              <a:gd name="connsiteY1515" fmla="*/ 664117 h 4525940"/>
              <a:gd name="connsiteX1516" fmla="*/ 3961040 w 4545947"/>
              <a:gd name="connsiteY1516" fmla="*/ 683109 h 4525940"/>
              <a:gd name="connsiteX1517" fmla="*/ 3951373 w 4545947"/>
              <a:gd name="connsiteY1517" fmla="*/ 730591 h 4525940"/>
              <a:gd name="connsiteX1518" fmla="*/ 3961150 w 4545947"/>
              <a:gd name="connsiteY1518" fmla="*/ 759079 h 4525940"/>
              <a:gd name="connsiteX1519" fmla="*/ 3975786 w 4545947"/>
              <a:gd name="connsiteY1519" fmla="*/ 770572 h 4525940"/>
              <a:gd name="connsiteX1520" fmla="*/ 3993580 w 4545947"/>
              <a:gd name="connsiteY1520" fmla="*/ 785503 h 4525940"/>
              <a:gd name="connsiteX1521" fmla="*/ 4004560 w 4545947"/>
              <a:gd name="connsiteY1521" fmla="*/ 794212 h 4525940"/>
              <a:gd name="connsiteX1522" fmla="*/ 4011235 w 4545947"/>
              <a:gd name="connsiteY1522" fmla="*/ 814926 h 4525940"/>
              <a:gd name="connsiteX1523" fmla="*/ 4008872 w 4545947"/>
              <a:gd name="connsiteY1523" fmla="*/ 849310 h 4525940"/>
              <a:gd name="connsiteX1524" fmla="*/ 4041280 w 4545947"/>
              <a:gd name="connsiteY1524" fmla="*/ 845658 h 4525940"/>
              <a:gd name="connsiteX1525" fmla="*/ 4062851 w 4545947"/>
              <a:gd name="connsiteY1525" fmla="*/ 820534 h 4525940"/>
              <a:gd name="connsiteX1526" fmla="*/ 4070504 w 4545947"/>
              <a:gd name="connsiteY1526" fmla="*/ 803968 h 4525940"/>
              <a:gd name="connsiteX1527" fmla="*/ 4075068 w 4545947"/>
              <a:gd name="connsiteY1527" fmla="*/ 787397 h 4525940"/>
              <a:gd name="connsiteX1528" fmla="*/ 4092369 w 4545947"/>
              <a:gd name="connsiteY1528" fmla="*/ 816832 h 4525940"/>
              <a:gd name="connsiteX1529" fmla="*/ 4096742 w 4545947"/>
              <a:gd name="connsiteY1529" fmla="*/ 835050 h 4525940"/>
              <a:gd name="connsiteX1530" fmla="*/ 4101115 w 4545947"/>
              <a:gd name="connsiteY1530" fmla="*/ 843771 h 4525940"/>
              <a:gd name="connsiteX1531" fmla="*/ 4107393 w 4545947"/>
              <a:gd name="connsiteY1531" fmla="*/ 860036 h 4525940"/>
              <a:gd name="connsiteX1532" fmla="*/ 4116486 w 4545947"/>
              <a:gd name="connsiteY1532" fmla="*/ 886134 h 4525940"/>
              <a:gd name="connsiteX1533" fmla="*/ 4122859 w 4545947"/>
              <a:gd name="connsiteY1533" fmla="*/ 904689 h 4525940"/>
              <a:gd name="connsiteX1534" fmla="*/ 4126496 w 4545947"/>
              <a:gd name="connsiteY1534" fmla="*/ 933011 h 4525940"/>
              <a:gd name="connsiteX1535" fmla="*/ 4119395 w 4545947"/>
              <a:gd name="connsiteY1535" fmla="*/ 964833 h 4525940"/>
              <a:gd name="connsiteX1536" fmla="*/ 4109556 w 4545947"/>
              <a:gd name="connsiteY1536" fmla="*/ 1003225 h 4525940"/>
              <a:gd name="connsiteX1537" fmla="*/ 4101632 w 4545947"/>
              <a:gd name="connsiteY1537" fmla="*/ 1057038 h 4525940"/>
              <a:gd name="connsiteX1538" fmla="*/ 4119684 w 4545947"/>
              <a:gd name="connsiteY1538" fmla="*/ 1139507 h 4525940"/>
              <a:gd name="connsiteX1539" fmla="*/ 4139990 w 4545947"/>
              <a:gd name="connsiteY1539" fmla="*/ 1128881 h 4525940"/>
              <a:gd name="connsiteX1540" fmla="*/ 4165434 w 4545947"/>
              <a:gd name="connsiteY1540" fmla="*/ 1124687 h 4525940"/>
              <a:gd name="connsiteX1541" fmla="*/ 4171225 w 4545947"/>
              <a:gd name="connsiteY1541" fmla="*/ 1138931 h 4525940"/>
              <a:gd name="connsiteX1542" fmla="*/ 4177151 w 4545947"/>
              <a:gd name="connsiteY1542" fmla="*/ 1165392 h 4525940"/>
              <a:gd name="connsiteX1543" fmla="*/ 4167975 w 4545947"/>
              <a:gd name="connsiteY1543" fmla="*/ 1204976 h 4525940"/>
              <a:gd name="connsiteX1544" fmla="*/ 4151601 w 4545947"/>
              <a:gd name="connsiteY1544" fmla="*/ 1185009 h 4525940"/>
              <a:gd name="connsiteX1545" fmla="*/ 4115472 w 4545947"/>
              <a:gd name="connsiteY1545" fmla="*/ 1175190 h 4525940"/>
              <a:gd name="connsiteX1546" fmla="*/ 4097522 w 4545947"/>
              <a:gd name="connsiteY1546" fmla="*/ 1202239 h 4525940"/>
              <a:gd name="connsiteX1547" fmla="*/ 4090938 w 4545947"/>
              <a:gd name="connsiteY1547" fmla="*/ 1161908 h 4525940"/>
              <a:gd name="connsiteX1548" fmla="*/ 4084144 w 4545947"/>
              <a:gd name="connsiteY1548" fmla="*/ 1120998 h 4525940"/>
              <a:gd name="connsiteX1549" fmla="*/ 4074877 w 4545947"/>
              <a:gd name="connsiteY1549" fmla="*/ 1095063 h 4525940"/>
              <a:gd name="connsiteX1550" fmla="*/ 4063469 w 4545947"/>
              <a:gd name="connsiteY1550" fmla="*/ 1081691 h 4525940"/>
              <a:gd name="connsiteX1551" fmla="*/ 4056887 w 4545947"/>
              <a:gd name="connsiteY1551" fmla="*/ 1066994 h 4525940"/>
              <a:gd name="connsiteX1552" fmla="*/ 4057531 w 4545947"/>
              <a:gd name="connsiteY1552" fmla="*/ 1010814 h 4525940"/>
              <a:gd name="connsiteX1553" fmla="*/ 4057210 w 4545947"/>
              <a:gd name="connsiteY1553" fmla="*/ 943558 h 4525940"/>
              <a:gd name="connsiteX1554" fmla="*/ 4057842 w 4545947"/>
              <a:gd name="connsiteY1554" fmla="*/ 906579 h 4525940"/>
              <a:gd name="connsiteX1555" fmla="*/ 4035718 w 4545947"/>
              <a:gd name="connsiteY1555" fmla="*/ 883685 h 4525940"/>
              <a:gd name="connsiteX1556" fmla="*/ 4009350 w 4545947"/>
              <a:gd name="connsiteY1556" fmla="*/ 906575 h 4525940"/>
              <a:gd name="connsiteX1557" fmla="*/ 3997719 w 4545947"/>
              <a:gd name="connsiteY1557" fmla="*/ 932360 h 4525940"/>
              <a:gd name="connsiteX1558" fmla="*/ 3989704 w 4545947"/>
              <a:gd name="connsiteY1558" fmla="*/ 971623 h 4525940"/>
              <a:gd name="connsiteX1559" fmla="*/ 3992236 w 4545947"/>
              <a:gd name="connsiteY1559" fmla="*/ 1004994 h 4525940"/>
              <a:gd name="connsiteX1560" fmla="*/ 4004625 w 4545947"/>
              <a:gd name="connsiteY1560" fmla="*/ 1009239 h 4525940"/>
              <a:gd name="connsiteX1561" fmla="*/ 4018029 w 4545947"/>
              <a:gd name="connsiteY1561" fmla="*/ 1014201 h 4525940"/>
              <a:gd name="connsiteX1562" fmla="*/ 4024588 w 4545947"/>
              <a:gd name="connsiteY1562" fmla="*/ 1031306 h 4525940"/>
              <a:gd name="connsiteX1563" fmla="*/ 4031148 w 4545947"/>
              <a:gd name="connsiteY1563" fmla="*/ 1054239 h 4525940"/>
              <a:gd name="connsiteX1564" fmla="*/ 4035521 w 4545947"/>
              <a:gd name="connsiteY1564" fmla="*/ 1069291 h 4525940"/>
              <a:gd name="connsiteX1565" fmla="*/ 4039960 w 4545947"/>
              <a:gd name="connsiteY1565" fmla="*/ 1080371 h 4525940"/>
              <a:gd name="connsiteX1566" fmla="*/ 4044266 w 4545947"/>
              <a:gd name="connsiteY1566" fmla="*/ 1081953 h 4525940"/>
              <a:gd name="connsiteX1567" fmla="*/ 4048506 w 4545947"/>
              <a:gd name="connsiteY1567" fmla="*/ 1078788 h 4525940"/>
              <a:gd name="connsiteX1568" fmla="*/ 4044572 w 4545947"/>
              <a:gd name="connsiteY1568" fmla="*/ 1094114 h 4525940"/>
              <a:gd name="connsiteX1569" fmla="*/ 4029488 w 4545947"/>
              <a:gd name="connsiteY1569" fmla="*/ 1092532 h 4525940"/>
              <a:gd name="connsiteX1570" fmla="*/ 4000537 w 4545947"/>
              <a:gd name="connsiteY1570" fmla="*/ 1091450 h 4525940"/>
              <a:gd name="connsiteX1571" fmla="*/ 4001086 w 4545947"/>
              <a:gd name="connsiteY1571" fmla="*/ 1111401 h 4525940"/>
              <a:gd name="connsiteX1572" fmla="*/ 4005684 w 4545947"/>
              <a:gd name="connsiteY1572" fmla="*/ 1179458 h 4525940"/>
              <a:gd name="connsiteX1573" fmla="*/ 4011018 w 4545947"/>
              <a:gd name="connsiteY1573" fmla="*/ 1249721 h 4525940"/>
              <a:gd name="connsiteX1574" fmla="*/ 4017890 w 4545947"/>
              <a:gd name="connsiteY1574" fmla="*/ 1279365 h 4525940"/>
              <a:gd name="connsiteX1575" fmla="*/ 4041682 w 4545947"/>
              <a:gd name="connsiteY1575" fmla="*/ 1293755 h 4525940"/>
              <a:gd name="connsiteX1576" fmla="*/ 4039371 w 4545947"/>
              <a:gd name="connsiteY1576" fmla="*/ 1249254 h 4525940"/>
              <a:gd name="connsiteX1577" fmla="*/ 4035521 w 4545947"/>
              <a:gd name="connsiteY1577" fmla="*/ 1224024 h 4525940"/>
              <a:gd name="connsiteX1578" fmla="*/ 4045401 w 4545947"/>
              <a:gd name="connsiteY1578" fmla="*/ 1202239 h 4525940"/>
              <a:gd name="connsiteX1579" fmla="*/ 4068670 w 4545947"/>
              <a:gd name="connsiteY1579" fmla="*/ 1250220 h 4525940"/>
              <a:gd name="connsiteX1580" fmla="*/ 4076391 w 4545947"/>
              <a:gd name="connsiteY1580" fmla="*/ 1281537 h 4525940"/>
              <a:gd name="connsiteX1581" fmla="*/ 4098627 w 4545947"/>
              <a:gd name="connsiteY1581" fmla="*/ 1277505 h 4525940"/>
              <a:gd name="connsiteX1582" fmla="*/ 4108517 w 4545947"/>
              <a:gd name="connsiteY1582" fmla="*/ 1278416 h 4525940"/>
              <a:gd name="connsiteX1583" fmla="*/ 4126752 w 4545947"/>
              <a:gd name="connsiteY1583" fmla="*/ 1287969 h 4525940"/>
              <a:gd name="connsiteX1584" fmla="*/ 4127806 w 4545947"/>
              <a:gd name="connsiteY1584" fmla="*/ 1299575 h 4525940"/>
              <a:gd name="connsiteX1585" fmla="*/ 4133874 w 4545947"/>
              <a:gd name="connsiteY1585" fmla="*/ 1305093 h 4525940"/>
              <a:gd name="connsiteX1586" fmla="*/ 4144844 w 4545947"/>
              <a:gd name="connsiteY1586" fmla="*/ 1283803 h 4525940"/>
              <a:gd name="connsiteX1587" fmla="*/ 4153286 w 4545947"/>
              <a:gd name="connsiteY1587" fmla="*/ 1265548 h 4525940"/>
              <a:gd name="connsiteX1588" fmla="*/ 4163125 w 4545947"/>
              <a:gd name="connsiteY1588" fmla="*/ 1279728 h 4525940"/>
              <a:gd name="connsiteX1589" fmla="*/ 4172531 w 4545947"/>
              <a:gd name="connsiteY1589" fmla="*/ 1296118 h 4525940"/>
              <a:gd name="connsiteX1590" fmla="*/ 4193740 w 4545947"/>
              <a:gd name="connsiteY1590" fmla="*/ 1257851 h 4525940"/>
              <a:gd name="connsiteX1591" fmla="*/ 4196823 w 4545947"/>
              <a:gd name="connsiteY1591" fmla="*/ 1240225 h 4525940"/>
              <a:gd name="connsiteX1592" fmla="*/ 4201692 w 4545947"/>
              <a:gd name="connsiteY1592" fmla="*/ 1230729 h 4525940"/>
              <a:gd name="connsiteX1593" fmla="*/ 4212078 w 4545947"/>
              <a:gd name="connsiteY1593" fmla="*/ 1221232 h 4525940"/>
              <a:gd name="connsiteX1594" fmla="*/ 4225197 w 4545947"/>
              <a:gd name="connsiteY1594" fmla="*/ 1241016 h 4525940"/>
              <a:gd name="connsiteX1595" fmla="*/ 4227930 w 4545947"/>
              <a:gd name="connsiteY1595" fmla="*/ 1273238 h 4525940"/>
              <a:gd name="connsiteX1596" fmla="*/ 4236457 w 4545947"/>
              <a:gd name="connsiteY1596" fmla="*/ 1296187 h 4525940"/>
              <a:gd name="connsiteX1597" fmla="*/ 4258151 w 4545947"/>
              <a:gd name="connsiteY1597" fmla="*/ 1418012 h 4525940"/>
              <a:gd name="connsiteX1598" fmla="*/ 4264204 w 4545947"/>
              <a:gd name="connsiteY1598" fmla="*/ 1466038 h 4525940"/>
              <a:gd name="connsiteX1599" fmla="*/ 4291061 w 4545947"/>
              <a:gd name="connsiteY1599" fmla="*/ 1458229 h 4525940"/>
              <a:gd name="connsiteX1600" fmla="*/ 4302556 w 4545947"/>
              <a:gd name="connsiteY1600" fmla="*/ 1453466 h 4525940"/>
              <a:gd name="connsiteX1601" fmla="*/ 4288263 w 4545947"/>
              <a:gd name="connsiteY1601" fmla="*/ 1485776 h 4525940"/>
              <a:gd name="connsiteX1602" fmla="*/ 4273845 w 4545947"/>
              <a:gd name="connsiteY1602" fmla="*/ 1491271 h 4525940"/>
              <a:gd name="connsiteX1603" fmla="*/ 4274670 w 4545947"/>
              <a:gd name="connsiteY1603" fmla="*/ 1576119 h 4525940"/>
              <a:gd name="connsiteX1604" fmla="*/ 4280135 w 4545947"/>
              <a:gd name="connsiteY1604" fmla="*/ 1663208 h 4525940"/>
              <a:gd name="connsiteX1605" fmla="*/ 4284796 w 4545947"/>
              <a:gd name="connsiteY1605" fmla="*/ 1691826 h 4525940"/>
              <a:gd name="connsiteX1606" fmla="*/ 4295844 w 4545947"/>
              <a:gd name="connsiteY1606" fmla="*/ 1749682 h 4525940"/>
              <a:gd name="connsiteX1607" fmla="*/ 4309600 w 4545947"/>
              <a:gd name="connsiteY1607" fmla="*/ 1836731 h 4525940"/>
              <a:gd name="connsiteX1608" fmla="*/ 4316241 w 4545947"/>
              <a:gd name="connsiteY1608" fmla="*/ 1892303 h 4525940"/>
              <a:gd name="connsiteX1609" fmla="*/ 4310107 w 4545947"/>
              <a:gd name="connsiteY1609" fmla="*/ 1957356 h 4525940"/>
              <a:gd name="connsiteX1610" fmla="*/ 4312284 w 4545947"/>
              <a:gd name="connsiteY1610" fmla="*/ 1985845 h 4525940"/>
              <a:gd name="connsiteX1611" fmla="*/ 4322081 w 4545947"/>
              <a:gd name="connsiteY1611" fmla="*/ 2014172 h 4525940"/>
              <a:gd name="connsiteX1612" fmla="*/ 4328981 w 4545947"/>
              <a:gd name="connsiteY1612" fmla="*/ 2031582 h 4525940"/>
              <a:gd name="connsiteX1613" fmla="*/ 4332880 w 4545947"/>
              <a:gd name="connsiteY1613" fmla="*/ 2043469 h 4525940"/>
              <a:gd name="connsiteX1614" fmla="*/ 4353651 w 4545947"/>
              <a:gd name="connsiteY1614" fmla="*/ 2056924 h 4525940"/>
              <a:gd name="connsiteX1615" fmla="*/ 4363490 w 4545947"/>
              <a:gd name="connsiteY1615" fmla="*/ 2035116 h 4525940"/>
              <a:gd name="connsiteX1616" fmla="*/ 4378404 w 4545947"/>
              <a:gd name="connsiteY1616" fmla="*/ 2019721 h 4525940"/>
              <a:gd name="connsiteX1617" fmla="*/ 4381043 w 4545947"/>
              <a:gd name="connsiteY1617" fmla="*/ 2075898 h 4525940"/>
              <a:gd name="connsiteX1618" fmla="*/ 4368169 w 4545947"/>
              <a:gd name="connsiteY1618" fmla="*/ 2077583 h 4525940"/>
              <a:gd name="connsiteX1619" fmla="*/ 4352226 w 4545947"/>
              <a:gd name="connsiteY1619" fmla="*/ 2073792 h 4525940"/>
              <a:gd name="connsiteX1620" fmla="*/ 4348141 w 4545947"/>
              <a:gd name="connsiteY1620" fmla="*/ 2106926 h 4525940"/>
              <a:gd name="connsiteX1621" fmla="*/ 4351103 w 4545947"/>
              <a:gd name="connsiteY1621" fmla="*/ 2147120 h 4525940"/>
              <a:gd name="connsiteX1622" fmla="*/ 4355016 w 4545947"/>
              <a:gd name="connsiteY1622" fmla="*/ 2158199 h 4525940"/>
              <a:gd name="connsiteX1623" fmla="*/ 4359117 w 4545947"/>
              <a:gd name="connsiteY1623" fmla="*/ 2167695 h 4525940"/>
              <a:gd name="connsiteX1624" fmla="*/ 4363490 w 4545947"/>
              <a:gd name="connsiteY1624" fmla="*/ 2177191 h 4525940"/>
              <a:gd name="connsiteX1625" fmla="*/ 4362923 w 4545947"/>
              <a:gd name="connsiteY1625" fmla="*/ 2213465 h 4525940"/>
              <a:gd name="connsiteX1626" fmla="*/ 4355271 w 4545947"/>
              <a:gd name="connsiteY1626" fmla="*/ 2293337 h 4525940"/>
              <a:gd name="connsiteX1627" fmla="*/ 4360370 w 4545947"/>
              <a:gd name="connsiteY1627" fmla="*/ 2373116 h 4525940"/>
              <a:gd name="connsiteX1628" fmla="*/ 4371450 w 4545947"/>
              <a:gd name="connsiteY1628" fmla="*/ 2434355 h 4525940"/>
              <a:gd name="connsiteX1629" fmla="*/ 4362612 w 4545947"/>
              <a:gd name="connsiteY1629" fmla="*/ 2455749 h 4525940"/>
              <a:gd name="connsiteX1630" fmla="*/ 4363396 w 4545947"/>
              <a:gd name="connsiteY1630" fmla="*/ 2497396 h 4525940"/>
              <a:gd name="connsiteX1631" fmla="*/ 4369984 w 4545947"/>
              <a:gd name="connsiteY1631" fmla="*/ 2601191 h 4525940"/>
              <a:gd name="connsiteX1632" fmla="*/ 4376297 w 4545947"/>
              <a:gd name="connsiteY1632" fmla="*/ 2702374 h 4525940"/>
              <a:gd name="connsiteX1633" fmla="*/ 4383427 w 4545947"/>
              <a:gd name="connsiteY1633" fmla="*/ 2767613 h 4525940"/>
              <a:gd name="connsiteX1634" fmla="*/ 4390327 w 4545947"/>
              <a:gd name="connsiteY1634" fmla="*/ 2829270 h 4525940"/>
              <a:gd name="connsiteX1635" fmla="*/ 4394101 w 4545947"/>
              <a:gd name="connsiteY1635" fmla="*/ 2854279 h 4525940"/>
              <a:gd name="connsiteX1636" fmla="*/ 4401330 w 4545947"/>
              <a:gd name="connsiteY1636" fmla="*/ 2885145 h 4525940"/>
              <a:gd name="connsiteX1637" fmla="*/ 4403735 w 4545947"/>
              <a:gd name="connsiteY1637" fmla="*/ 2918518 h 4525940"/>
              <a:gd name="connsiteX1638" fmla="*/ 4402014 w 4545947"/>
              <a:gd name="connsiteY1638" fmla="*/ 2949378 h 4525940"/>
              <a:gd name="connsiteX1639" fmla="*/ 4413722 w 4545947"/>
              <a:gd name="connsiteY1639" fmla="*/ 2976462 h 4525940"/>
              <a:gd name="connsiteX1640" fmla="*/ 4436955 w 4545947"/>
              <a:gd name="connsiteY1640" fmla="*/ 2992606 h 4525940"/>
              <a:gd name="connsiteX1641" fmla="*/ 4438402 w 4545947"/>
              <a:gd name="connsiteY1641" fmla="*/ 2962218 h 4525940"/>
              <a:gd name="connsiteX1642" fmla="*/ 4432140 w 4545947"/>
              <a:gd name="connsiteY1642" fmla="*/ 2940257 h 4525940"/>
              <a:gd name="connsiteX1643" fmla="*/ 4420579 w 4545947"/>
              <a:gd name="connsiteY1643" fmla="*/ 2904157 h 4525940"/>
              <a:gd name="connsiteX1644" fmla="*/ 4411480 w 4545947"/>
              <a:gd name="connsiteY1644" fmla="*/ 2890017 h 4525940"/>
              <a:gd name="connsiteX1645" fmla="*/ 4423561 w 4545947"/>
              <a:gd name="connsiteY1645" fmla="*/ 2875699 h 4525940"/>
              <a:gd name="connsiteX1646" fmla="*/ 4459419 w 4545947"/>
              <a:gd name="connsiteY1646" fmla="*/ 2869941 h 4525940"/>
              <a:gd name="connsiteX1647" fmla="*/ 4452464 w 4545947"/>
              <a:gd name="connsiteY1647" fmla="*/ 2935605 h 4525940"/>
              <a:gd name="connsiteX1648" fmla="*/ 4450005 w 4545947"/>
              <a:gd name="connsiteY1648" fmla="*/ 2962218 h 4525940"/>
              <a:gd name="connsiteX1649" fmla="*/ 4461356 w 4545947"/>
              <a:gd name="connsiteY1649" fmla="*/ 2981627 h 4525940"/>
              <a:gd name="connsiteX1650" fmla="*/ 4462298 w 4545947"/>
              <a:gd name="connsiteY1650" fmla="*/ 3012197 h 4525940"/>
              <a:gd name="connsiteX1651" fmla="*/ 4458544 w 4545947"/>
              <a:gd name="connsiteY1651" fmla="*/ 3047075 h 4525940"/>
              <a:gd name="connsiteX1652" fmla="*/ 4466982 w 4545947"/>
              <a:gd name="connsiteY1652" fmla="*/ 3096545 h 4525940"/>
              <a:gd name="connsiteX1653" fmla="*/ 4476717 w 4545947"/>
              <a:gd name="connsiteY1653" fmla="*/ 3145393 h 4525940"/>
              <a:gd name="connsiteX1654" fmla="*/ 4482109 w 4545947"/>
              <a:gd name="connsiteY1654" fmla="*/ 3209351 h 4525940"/>
              <a:gd name="connsiteX1655" fmla="*/ 4491442 w 4545947"/>
              <a:gd name="connsiteY1655" fmla="*/ 3282990 h 4525940"/>
              <a:gd name="connsiteX1656" fmla="*/ 4496943 w 4545947"/>
              <a:gd name="connsiteY1656" fmla="*/ 3316228 h 4525940"/>
              <a:gd name="connsiteX1657" fmla="*/ 4479522 w 4545947"/>
              <a:gd name="connsiteY1657" fmla="*/ 3318328 h 4525940"/>
              <a:gd name="connsiteX1658" fmla="*/ 4452840 w 4545947"/>
              <a:gd name="connsiteY1658" fmla="*/ 3272430 h 4525940"/>
              <a:gd name="connsiteX1659" fmla="*/ 4442203 w 4545947"/>
              <a:gd name="connsiteY1659" fmla="*/ 3311385 h 4525940"/>
              <a:gd name="connsiteX1660" fmla="*/ 4435495 w 4545947"/>
              <a:gd name="connsiteY1660" fmla="*/ 3340023 h 4525940"/>
              <a:gd name="connsiteX1661" fmla="*/ 4431405 w 4545947"/>
              <a:gd name="connsiteY1661" fmla="*/ 3361676 h 4525940"/>
              <a:gd name="connsiteX1662" fmla="*/ 4423901 w 4545947"/>
              <a:gd name="connsiteY1662" fmla="*/ 3368237 h 4525940"/>
              <a:gd name="connsiteX1663" fmla="*/ 4411592 w 4545947"/>
              <a:gd name="connsiteY1663" fmla="*/ 3332307 h 4525940"/>
              <a:gd name="connsiteX1664" fmla="*/ 4397896 w 4545947"/>
              <a:gd name="connsiteY1664" fmla="*/ 3297338 h 4525940"/>
              <a:gd name="connsiteX1665" fmla="*/ 4381244 w 4545947"/>
              <a:gd name="connsiteY1665" fmla="*/ 3297518 h 4525940"/>
              <a:gd name="connsiteX1666" fmla="*/ 4387970 w 4545947"/>
              <a:gd name="connsiteY1666" fmla="*/ 3342585 h 4525940"/>
              <a:gd name="connsiteX1667" fmla="*/ 4389728 w 4545947"/>
              <a:gd name="connsiteY1667" fmla="*/ 3411709 h 4525940"/>
              <a:gd name="connsiteX1668" fmla="*/ 4385355 w 4545947"/>
              <a:gd name="connsiteY1668" fmla="*/ 3437032 h 4525940"/>
              <a:gd name="connsiteX1669" fmla="*/ 4389728 w 4545947"/>
              <a:gd name="connsiteY1669" fmla="*/ 3462355 h 4525940"/>
              <a:gd name="connsiteX1670" fmla="*/ 4394101 w 4545947"/>
              <a:gd name="connsiteY1670" fmla="*/ 3477824 h 4525940"/>
              <a:gd name="connsiteX1671" fmla="*/ 4403134 w 4545947"/>
              <a:gd name="connsiteY1671" fmla="*/ 3502453 h 4525940"/>
              <a:gd name="connsiteX1672" fmla="*/ 4409301 w 4545947"/>
              <a:gd name="connsiteY1672" fmla="*/ 3533741 h 4525940"/>
              <a:gd name="connsiteX1673" fmla="*/ 4411334 w 4545947"/>
              <a:gd name="connsiteY1673" fmla="*/ 3560252 h 4525940"/>
              <a:gd name="connsiteX1674" fmla="*/ 4413426 w 4545947"/>
              <a:gd name="connsiteY1674" fmla="*/ 3586301 h 4525940"/>
              <a:gd name="connsiteX1675" fmla="*/ 4417255 w 4545947"/>
              <a:gd name="connsiteY1675" fmla="*/ 3607965 h 4525940"/>
              <a:gd name="connsiteX1676" fmla="*/ 4421605 w 4545947"/>
              <a:gd name="connsiteY1676" fmla="*/ 3620627 h 4525940"/>
              <a:gd name="connsiteX1677" fmla="*/ 4413131 w 4545947"/>
              <a:gd name="connsiteY1677" fmla="*/ 3633289 h 4525940"/>
              <a:gd name="connsiteX1678" fmla="*/ 4404428 w 4545947"/>
              <a:gd name="connsiteY1678" fmla="*/ 3642785 h 4525940"/>
              <a:gd name="connsiteX1679" fmla="*/ 4393632 w 4545947"/>
              <a:gd name="connsiteY1679" fmla="*/ 3652281 h 4525940"/>
              <a:gd name="connsiteX1680" fmla="*/ 4385355 w 4545947"/>
              <a:gd name="connsiteY1680" fmla="*/ 3629925 h 4525940"/>
              <a:gd name="connsiteX1681" fmla="*/ 4391914 w 4545947"/>
              <a:gd name="connsiteY1681" fmla="*/ 3603924 h 4525940"/>
              <a:gd name="connsiteX1682" fmla="*/ 4398473 w 4545947"/>
              <a:gd name="connsiteY1682" fmla="*/ 3585352 h 4525940"/>
              <a:gd name="connsiteX1683" fmla="*/ 4373070 w 4545947"/>
              <a:gd name="connsiteY1683" fmla="*/ 3557318 h 4525940"/>
              <a:gd name="connsiteX1684" fmla="*/ 4362940 w 4545947"/>
              <a:gd name="connsiteY1684" fmla="*/ 3508318 h 4525940"/>
              <a:gd name="connsiteX1685" fmla="*/ 4359759 w 4545947"/>
              <a:gd name="connsiteY1685" fmla="*/ 3486782 h 4525940"/>
              <a:gd name="connsiteX1686" fmla="*/ 4332004 w 4545947"/>
              <a:gd name="connsiteY1686" fmla="*/ 3485660 h 4525940"/>
              <a:gd name="connsiteX1687" fmla="*/ 4317200 w 4545947"/>
              <a:gd name="connsiteY1687" fmla="*/ 3482495 h 4525940"/>
              <a:gd name="connsiteX1688" fmla="*/ 4293795 w 4545947"/>
              <a:gd name="connsiteY1688" fmla="*/ 3480613 h 4525940"/>
              <a:gd name="connsiteX1689" fmla="*/ 4300183 w 4545947"/>
              <a:gd name="connsiteY1689" fmla="*/ 3523346 h 4525940"/>
              <a:gd name="connsiteX1690" fmla="*/ 4310997 w 4545947"/>
              <a:gd name="connsiteY1690" fmla="*/ 3568024 h 4525940"/>
              <a:gd name="connsiteX1691" fmla="*/ 4315459 w 4545947"/>
              <a:gd name="connsiteY1691" fmla="*/ 3585871 h 4525940"/>
              <a:gd name="connsiteX1692" fmla="*/ 4302514 w 4545947"/>
              <a:gd name="connsiteY1692" fmla="*/ 3601634 h 4525940"/>
              <a:gd name="connsiteX1693" fmla="*/ 4271659 w 4545947"/>
              <a:gd name="connsiteY1693" fmla="*/ 3548478 h 4525940"/>
              <a:gd name="connsiteX1694" fmla="*/ 4251054 w 4545947"/>
              <a:gd name="connsiteY1694" fmla="*/ 3524081 h 4525940"/>
              <a:gd name="connsiteX1695" fmla="*/ 4236675 w 4545947"/>
              <a:gd name="connsiteY1695" fmla="*/ 3514175 h 4525940"/>
              <a:gd name="connsiteX1696" fmla="*/ 4221370 w 4545947"/>
              <a:gd name="connsiteY1696" fmla="*/ 3485789 h 4525940"/>
              <a:gd name="connsiteX1697" fmla="*/ 4206065 w 4545947"/>
              <a:gd name="connsiteY1697" fmla="*/ 3466216 h 4525940"/>
              <a:gd name="connsiteX1698" fmla="*/ 4197295 w 4545947"/>
              <a:gd name="connsiteY1698" fmla="*/ 3460530 h 4525940"/>
              <a:gd name="connsiteX1699" fmla="*/ 4181991 w 4545947"/>
              <a:gd name="connsiteY1699" fmla="*/ 3455997 h 4525940"/>
              <a:gd name="connsiteX1700" fmla="*/ 4175454 w 4545947"/>
              <a:gd name="connsiteY1700" fmla="*/ 3466856 h 4525940"/>
              <a:gd name="connsiteX1701" fmla="*/ 4159615 w 4545947"/>
              <a:gd name="connsiteY1701" fmla="*/ 3483426 h 4525940"/>
              <a:gd name="connsiteX1702" fmla="*/ 4131533 w 4545947"/>
              <a:gd name="connsiteY1702" fmla="*/ 3479975 h 4525940"/>
              <a:gd name="connsiteX1703" fmla="*/ 4116891 w 4545947"/>
              <a:gd name="connsiteY1703" fmla="*/ 3472870 h 4525940"/>
              <a:gd name="connsiteX1704" fmla="*/ 4112678 w 4545947"/>
              <a:gd name="connsiteY1704" fmla="*/ 3467929 h 4525940"/>
              <a:gd name="connsiteX1705" fmla="*/ 4109861 w 4545947"/>
              <a:gd name="connsiteY1705" fmla="*/ 3494010 h 4525940"/>
              <a:gd name="connsiteX1706" fmla="*/ 4107881 w 4545947"/>
              <a:gd name="connsiteY1706" fmla="*/ 3533957 h 4525940"/>
              <a:gd name="connsiteX1707" fmla="*/ 4111751 w 4545947"/>
              <a:gd name="connsiteY1707" fmla="*/ 3655281 h 4525940"/>
              <a:gd name="connsiteX1708" fmla="*/ 4115825 w 4545947"/>
              <a:gd name="connsiteY1708" fmla="*/ 3697990 h 4525940"/>
              <a:gd name="connsiteX1709" fmla="*/ 4100821 w 4545947"/>
              <a:gd name="connsiteY1709" fmla="*/ 3693212 h 4525940"/>
              <a:gd name="connsiteX1710" fmla="*/ 4089044 w 4545947"/>
              <a:gd name="connsiteY1710" fmla="*/ 3691653 h 4525940"/>
              <a:gd name="connsiteX1711" fmla="*/ 4082530 w 4545947"/>
              <a:gd name="connsiteY1711" fmla="*/ 3698884 h 4525940"/>
              <a:gd name="connsiteX1712" fmla="*/ 4080291 w 4545947"/>
              <a:gd name="connsiteY1712" fmla="*/ 3710817 h 4525940"/>
              <a:gd name="connsiteX1713" fmla="*/ 4080385 w 4545947"/>
              <a:gd name="connsiteY1713" fmla="*/ 3730337 h 4525940"/>
              <a:gd name="connsiteX1714" fmla="*/ 4066131 w 4545947"/>
              <a:gd name="connsiteY1714" fmla="*/ 3728475 h 4525940"/>
              <a:gd name="connsiteX1715" fmla="*/ 4057262 w 4545947"/>
              <a:gd name="connsiteY1715" fmla="*/ 3702834 h 4525940"/>
              <a:gd name="connsiteX1716" fmla="*/ 4050961 w 4545947"/>
              <a:gd name="connsiteY1716" fmla="*/ 3689949 h 4525940"/>
              <a:gd name="connsiteX1717" fmla="*/ 4049965 w 4545947"/>
              <a:gd name="connsiteY1717" fmla="*/ 3683935 h 4525940"/>
              <a:gd name="connsiteX1718" fmla="*/ 4040220 w 4545947"/>
              <a:gd name="connsiteY1718" fmla="*/ 3663718 h 4525940"/>
              <a:gd name="connsiteX1719" fmla="*/ 4039152 w 4545947"/>
              <a:gd name="connsiteY1719" fmla="*/ 3641032 h 4525940"/>
              <a:gd name="connsiteX1720" fmla="*/ 4032349 w 4545947"/>
              <a:gd name="connsiteY1720" fmla="*/ 3604142 h 4525940"/>
              <a:gd name="connsiteX1721" fmla="*/ 4021554 w 4545947"/>
              <a:gd name="connsiteY1721" fmla="*/ 3580466 h 4525940"/>
              <a:gd name="connsiteX1722" fmla="*/ 4017114 w 4545947"/>
              <a:gd name="connsiteY1722" fmla="*/ 3577808 h 4525940"/>
              <a:gd name="connsiteX1723" fmla="*/ 4006744 w 4545947"/>
              <a:gd name="connsiteY1723" fmla="*/ 3605307 h 4525940"/>
              <a:gd name="connsiteX1724" fmla="*/ 3996422 w 4545947"/>
              <a:gd name="connsiteY1724" fmla="*/ 3630123 h 4525940"/>
              <a:gd name="connsiteX1725" fmla="*/ 3976929 w 4545947"/>
              <a:gd name="connsiteY1725" fmla="*/ 3557734 h 4525940"/>
              <a:gd name="connsiteX1726" fmla="*/ 3967010 w 4545947"/>
              <a:gd name="connsiteY1726" fmla="*/ 3524497 h 4525940"/>
              <a:gd name="connsiteX1727" fmla="*/ 3936518 w 4545947"/>
              <a:gd name="connsiteY1727" fmla="*/ 3522521 h 4525940"/>
              <a:gd name="connsiteX1728" fmla="*/ 3956830 w 4545947"/>
              <a:gd name="connsiteY1728" fmla="*/ 3588973 h 4525940"/>
              <a:gd name="connsiteX1729" fmla="*/ 3961181 w 4545947"/>
              <a:gd name="connsiteY1729" fmla="*/ 3603827 h 4525940"/>
              <a:gd name="connsiteX1730" fmla="*/ 3977941 w 4545947"/>
              <a:gd name="connsiteY1730" fmla="*/ 3658612 h 4525940"/>
              <a:gd name="connsiteX1731" fmla="*/ 3989531 w 4545947"/>
              <a:gd name="connsiteY1731" fmla="*/ 3709893 h 4525940"/>
              <a:gd name="connsiteX1732" fmla="*/ 3978673 w 4545947"/>
              <a:gd name="connsiteY1732" fmla="*/ 3722438 h 4525940"/>
              <a:gd name="connsiteX1733" fmla="*/ 3962900 w 4545947"/>
              <a:gd name="connsiteY1733" fmla="*/ 3690266 h 4525940"/>
              <a:gd name="connsiteX1734" fmla="*/ 3952435 w 4545947"/>
              <a:gd name="connsiteY1734" fmla="*/ 3684056 h 4525940"/>
              <a:gd name="connsiteX1735" fmla="*/ 3942083 w 4545947"/>
              <a:gd name="connsiteY1735" fmla="*/ 3674084 h 4525940"/>
              <a:gd name="connsiteX1736" fmla="*/ 3920131 w 4545947"/>
              <a:gd name="connsiteY1736" fmla="*/ 3685884 h 4525940"/>
              <a:gd name="connsiteX1737" fmla="*/ 3913664 w 4545947"/>
              <a:gd name="connsiteY1737" fmla="*/ 3719597 h 4525940"/>
              <a:gd name="connsiteX1738" fmla="*/ 3920091 w 4545947"/>
              <a:gd name="connsiteY1738" fmla="*/ 3744079 h 4525940"/>
              <a:gd name="connsiteX1739" fmla="*/ 3924301 w 4545947"/>
              <a:gd name="connsiteY1739" fmla="*/ 3764654 h 4525940"/>
              <a:gd name="connsiteX1740" fmla="*/ 3918458 w 4545947"/>
              <a:gd name="connsiteY1740" fmla="*/ 3778898 h 4525940"/>
              <a:gd name="connsiteX1741" fmla="*/ 3906709 w 4545947"/>
              <a:gd name="connsiteY1741" fmla="*/ 3750028 h 4525940"/>
              <a:gd name="connsiteX1742" fmla="*/ 3894186 w 4545947"/>
              <a:gd name="connsiteY1742" fmla="*/ 3723122 h 4525940"/>
              <a:gd name="connsiteX1743" fmla="*/ 3883222 w 4545947"/>
              <a:gd name="connsiteY1743" fmla="*/ 3739717 h 4525940"/>
              <a:gd name="connsiteX1744" fmla="*/ 3875601 w 4545947"/>
              <a:gd name="connsiteY1744" fmla="*/ 3757787 h 4525940"/>
              <a:gd name="connsiteX1745" fmla="*/ 3872041 w 4545947"/>
              <a:gd name="connsiteY1745" fmla="*/ 3776393 h 4525940"/>
              <a:gd name="connsiteX1746" fmla="*/ 3863739 w 4545947"/>
              <a:gd name="connsiteY1746" fmla="*/ 3783647 h 4525940"/>
              <a:gd name="connsiteX1747" fmla="*/ 3862885 w 4545947"/>
              <a:gd name="connsiteY1747" fmla="*/ 3785229 h 4525940"/>
              <a:gd name="connsiteX1748" fmla="*/ 3874122 w 4545947"/>
              <a:gd name="connsiteY1748" fmla="*/ 3823214 h 4525940"/>
              <a:gd name="connsiteX1749" fmla="*/ 3883234 w 4545947"/>
              <a:gd name="connsiteY1749" fmla="*/ 3899185 h 4525940"/>
              <a:gd name="connsiteX1750" fmla="*/ 3862599 w 4545947"/>
              <a:gd name="connsiteY1750" fmla="*/ 3845738 h 4525940"/>
              <a:gd name="connsiteX1751" fmla="*/ 3854301 w 4545947"/>
              <a:gd name="connsiteY1751" fmla="*/ 3812039 h 4525940"/>
              <a:gd name="connsiteX1752" fmla="*/ 3846160 w 4545947"/>
              <a:gd name="connsiteY1752" fmla="*/ 3796165 h 4525940"/>
              <a:gd name="connsiteX1753" fmla="*/ 3819335 w 4545947"/>
              <a:gd name="connsiteY1753" fmla="*/ 3805472 h 4525940"/>
              <a:gd name="connsiteX1754" fmla="*/ 3810462 w 4545947"/>
              <a:gd name="connsiteY1754" fmla="*/ 3833067 h 4525940"/>
              <a:gd name="connsiteX1755" fmla="*/ 3788709 w 4545947"/>
              <a:gd name="connsiteY1755" fmla="*/ 3831946 h 4525940"/>
              <a:gd name="connsiteX1756" fmla="*/ 3767992 w 4545947"/>
              <a:gd name="connsiteY1756" fmla="*/ 3797873 h 4525940"/>
              <a:gd name="connsiteX1757" fmla="*/ 3746015 w 4545947"/>
              <a:gd name="connsiteY1757" fmla="*/ 3752380 h 4525940"/>
              <a:gd name="connsiteX1758" fmla="*/ 3711733 w 4545947"/>
              <a:gd name="connsiteY1758" fmla="*/ 3702928 h 4525940"/>
              <a:gd name="connsiteX1759" fmla="*/ 3701350 w 4545947"/>
              <a:gd name="connsiteY1759" fmla="*/ 3706771 h 4525940"/>
              <a:gd name="connsiteX1760" fmla="*/ 3698806 w 4545947"/>
              <a:gd name="connsiteY1760" fmla="*/ 3728251 h 4525940"/>
              <a:gd name="connsiteX1761" fmla="*/ 3703179 w 4545947"/>
              <a:gd name="connsiteY1761" fmla="*/ 3747244 h 4525940"/>
              <a:gd name="connsiteX1762" fmla="*/ 3707552 w 4545947"/>
              <a:gd name="connsiteY1762" fmla="*/ 3766237 h 4525940"/>
              <a:gd name="connsiteX1763" fmla="*/ 3711925 w 4545947"/>
              <a:gd name="connsiteY1763" fmla="*/ 3776107 h 4525940"/>
              <a:gd name="connsiteX1764" fmla="*/ 3716310 w 4545947"/>
              <a:gd name="connsiteY1764" fmla="*/ 3782052 h 4525940"/>
              <a:gd name="connsiteX1765" fmla="*/ 3718822 w 4545947"/>
              <a:gd name="connsiteY1765" fmla="*/ 3792758 h 4525940"/>
              <a:gd name="connsiteX1766" fmla="*/ 3716622 w 4545947"/>
              <a:gd name="connsiteY1766" fmla="*/ 3815301 h 4525940"/>
              <a:gd name="connsiteX1767" fmla="*/ 3709009 w 4545947"/>
              <a:gd name="connsiteY1767" fmla="*/ 3823214 h 4525940"/>
              <a:gd name="connsiteX1768" fmla="*/ 3704652 w 4545947"/>
              <a:gd name="connsiteY1768" fmla="*/ 3827457 h 4525940"/>
              <a:gd name="connsiteX1769" fmla="*/ 3700954 w 4545947"/>
              <a:gd name="connsiteY1769" fmla="*/ 3846344 h 4525940"/>
              <a:gd name="connsiteX1770" fmla="*/ 3690971 w 4545947"/>
              <a:gd name="connsiteY1770" fmla="*/ 3884370 h 4525940"/>
              <a:gd name="connsiteX1771" fmla="*/ 3672702 w 4545947"/>
              <a:gd name="connsiteY1771" fmla="*/ 3896534 h 4525940"/>
              <a:gd name="connsiteX1772" fmla="*/ 3664440 w 4545947"/>
              <a:gd name="connsiteY1772" fmla="*/ 3880192 h 4525940"/>
              <a:gd name="connsiteX1773" fmla="*/ 3657424 w 4545947"/>
              <a:gd name="connsiteY1773" fmla="*/ 3839042 h 4525940"/>
              <a:gd name="connsiteX1774" fmla="*/ 3650356 w 4545947"/>
              <a:gd name="connsiteY1774" fmla="*/ 3797891 h 4525940"/>
              <a:gd name="connsiteX1775" fmla="*/ 3646331 w 4545947"/>
              <a:gd name="connsiteY1775" fmla="*/ 3780002 h 4525940"/>
              <a:gd name="connsiteX1776" fmla="*/ 3636210 w 4545947"/>
              <a:gd name="connsiteY1776" fmla="*/ 3748347 h 4525940"/>
              <a:gd name="connsiteX1777" fmla="*/ 3622279 w 4545947"/>
              <a:gd name="connsiteY1777" fmla="*/ 3740913 h 4525940"/>
              <a:gd name="connsiteX1778" fmla="*/ 3620351 w 4545947"/>
              <a:gd name="connsiteY1778" fmla="*/ 3747244 h 4525940"/>
              <a:gd name="connsiteX1779" fmla="*/ 3615720 w 4545947"/>
              <a:gd name="connsiteY1779" fmla="*/ 3739557 h 4525940"/>
              <a:gd name="connsiteX1780" fmla="*/ 3609235 w 4545947"/>
              <a:gd name="connsiteY1780" fmla="*/ 3741257 h 4525940"/>
              <a:gd name="connsiteX1781" fmla="*/ 3607022 w 4545947"/>
              <a:gd name="connsiteY1781" fmla="*/ 3883441 h 4525940"/>
              <a:gd name="connsiteX1782" fmla="*/ 3620970 w 4545947"/>
              <a:gd name="connsiteY1782" fmla="*/ 3926650 h 4525940"/>
              <a:gd name="connsiteX1783" fmla="*/ 3635418 w 4545947"/>
              <a:gd name="connsiteY1783" fmla="*/ 3966357 h 4525940"/>
              <a:gd name="connsiteX1784" fmla="*/ 3641958 w 4545947"/>
              <a:gd name="connsiteY1784" fmla="*/ 3982842 h 4525940"/>
              <a:gd name="connsiteX1785" fmla="*/ 3653242 w 4545947"/>
              <a:gd name="connsiteY1785" fmla="*/ 4009926 h 4525940"/>
              <a:gd name="connsiteX1786" fmla="*/ 3661604 w 4545947"/>
              <a:gd name="connsiteY1786" fmla="*/ 4040922 h 4525940"/>
              <a:gd name="connsiteX1787" fmla="*/ 3669309 w 4545947"/>
              <a:gd name="connsiteY1787" fmla="*/ 4087671 h 4525940"/>
              <a:gd name="connsiteX1788" fmla="*/ 3678511 w 4545947"/>
              <a:gd name="connsiteY1788" fmla="*/ 4112573 h 4525940"/>
              <a:gd name="connsiteX1789" fmla="*/ 3681769 w 4545947"/>
              <a:gd name="connsiteY1789" fmla="*/ 4123786 h 4525940"/>
              <a:gd name="connsiteX1790" fmla="*/ 3680561 w 4545947"/>
              <a:gd name="connsiteY1790" fmla="*/ 4130756 h 4525940"/>
              <a:gd name="connsiteX1791" fmla="*/ 3678018 w 4545947"/>
              <a:gd name="connsiteY1791" fmla="*/ 4172994 h 4525940"/>
              <a:gd name="connsiteX1792" fmla="*/ 3686423 w 4545947"/>
              <a:gd name="connsiteY1792" fmla="*/ 4203066 h 4525940"/>
              <a:gd name="connsiteX1793" fmla="*/ 3687445 w 4545947"/>
              <a:gd name="connsiteY1793" fmla="*/ 4242725 h 4525940"/>
              <a:gd name="connsiteX1794" fmla="*/ 3674851 w 4545947"/>
              <a:gd name="connsiteY1794" fmla="*/ 4234494 h 4525940"/>
              <a:gd name="connsiteX1795" fmla="*/ 3672639 w 4545947"/>
              <a:gd name="connsiteY1795" fmla="*/ 4225288 h 4525940"/>
              <a:gd name="connsiteX1796" fmla="*/ 3668195 w 4545947"/>
              <a:gd name="connsiteY1796" fmla="*/ 4209798 h 4525940"/>
              <a:gd name="connsiteX1797" fmla="*/ 3661635 w 4545947"/>
              <a:gd name="connsiteY1797" fmla="*/ 4190404 h 4525940"/>
              <a:gd name="connsiteX1798" fmla="*/ 3655077 w 4545947"/>
              <a:gd name="connsiteY1798" fmla="*/ 4164306 h 4525940"/>
              <a:gd name="connsiteX1799" fmla="*/ 3650704 w 4545947"/>
              <a:gd name="connsiteY1799" fmla="*/ 4146088 h 4525940"/>
              <a:gd name="connsiteX1800" fmla="*/ 3646331 w 4545947"/>
              <a:gd name="connsiteY1800" fmla="*/ 4127870 h 4525940"/>
              <a:gd name="connsiteX1801" fmla="*/ 3640215 w 4545947"/>
              <a:gd name="connsiteY1801" fmla="*/ 4102305 h 4525940"/>
              <a:gd name="connsiteX1802" fmla="*/ 3628573 w 4545947"/>
              <a:gd name="connsiteY1802" fmla="*/ 4030629 h 4525940"/>
              <a:gd name="connsiteX1803" fmla="*/ 3619343 w 4545947"/>
              <a:gd name="connsiteY1803" fmla="*/ 4010560 h 4525940"/>
              <a:gd name="connsiteX1804" fmla="*/ 3613087 w 4545947"/>
              <a:gd name="connsiteY1804" fmla="*/ 3995194 h 4525940"/>
              <a:gd name="connsiteX1805" fmla="*/ 3611643 w 4545947"/>
              <a:gd name="connsiteY1805" fmla="*/ 3986775 h 4525940"/>
              <a:gd name="connsiteX1806" fmla="*/ 3606039 w 4545947"/>
              <a:gd name="connsiteY1806" fmla="*/ 3968824 h 4525940"/>
              <a:gd name="connsiteX1807" fmla="*/ 3589225 w 4545947"/>
              <a:gd name="connsiteY1807" fmla="*/ 3937170 h 4525940"/>
              <a:gd name="connsiteX1808" fmla="*/ 3580737 w 4545947"/>
              <a:gd name="connsiteY1808" fmla="*/ 3924882 h 4525940"/>
              <a:gd name="connsiteX1809" fmla="*/ 3576929 w 4545947"/>
              <a:gd name="connsiteY1809" fmla="*/ 3909186 h 4525940"/>
              <a:gd name="connsiteX1810" fmla="*/ 3570603 w 4545947"/>
              <a:gd name="connsiteY1810" fmla="*/ 3888238 h 4525940"/>
              <a:gd name="connsiteX1811" fmla="*/ 3554944 w 4545947"/>
              <a:gd name="connsiteY1811" fmla="*/ 3858187 h 4525940"/>
              <a:gd name="connsiteX1812" fmla="*/ 3538478 w 4545947"/>
              <a:gd name="connsiteY1812" fmla="*/ 3805368 h 4525940"/>
              <a:gd name="connsiteX1813" fmla="*/ 3533727 w 4545947"/>
              <a:gd name="connsiteY1813" fmla="*/ 3767505 h 4525940"/>
              <a:gd name="connsiteX1814" fmla="*/ 3522632 w 4545947"/>
              <a:gd name="connsiteY1814" fmla="*/ 3721158 h 4525940"/>
              <a:gd name="connsiteX1815" fmla="*/ 3513197 w 4545947"/>
              <a:gd name="connsiteY1815" fmla="*/ 3684068 h 4525940"/>
              <a:gd name="connsiteX1816" fmla="*/ 3499894 w 4545947"/>
              <a:gd name="connsiteY1816" fmla="*/ 3658986 h 4525940"/>
              <a:gd name="connsiteX1817" fmla="*/ 3469237 w 4545947"/>
              <a:gd name="connsiteY1817" fmla="*/ 3635573 h 4525940"/>
              <a:gd name="connsiteX1818" fmla="*/ 3467041 w 4545947"/>
              <a:gd name="connsiteY1818" fmla="*/ 3687101 h 4525940"/>
              <a:gd name="connsiteX1819" fmla="*/ 3471414 w 4545947"/>
              <a:gd name="connsiteY1819" fmla="*/ 3706153 h 4525940"/>
              <a:gd name="connsiteX1820" fmla="*/ 3476971 w 4545947"/>
              <a:gd name="connsiteY1820" fmla="*/ 3726354 h 4525940"/>
              <a:gd name="connsiteX1821" fmla="*/ 3490888 w 4545947"/>
              <a:gd name="connsiteY1821" fmla="*/ 3773042 h 4525940"/>
              <a:gd name="connsiteX1822" fmla="*/ 3493020 w 4545947"/>
              <a:gd name="connsiteY1822" fmla="*/ 3778898 h 4525940"/>
              <a:gd name="connsiteX1823" fmla="*/ 3497651 w 4545947"/>
              <a:gd name="connsiteY1823" fmla="*/ 3793950 h 4525940"/>
              <a:gd name="connsiteX1824" fmla="*/ 3504545 w 4545947"/>
              <a:gd name="connsiteY1824" fmla="*/ 3817285 h 4525940"/>
              <a:gd name="connsiteX1825" fmla="*/ 3508755 w 4545947"/>
              <a:gd name="connsiteY1825" fmla="*/ 3848132 h 4525940"/>
              <a:gd name="connsiteX1826" fmla="*/ 3510540 w 4545947"/>
              <a:gd name="connsiteY1826" fmla="*/ 3861199 h 4525940"/>
              <a:gd name="connsiteX1827" fmla="*/ 3515661 w 4545947"/>
              <a:gd name="connsiteY1827" fmla="*/ 3869113 h 4525940"/>
              <a:gd name="connsiteX1828" fmla="*/ 3519516 w 4545947"/>
              <a:gd name="connsiteY1828" fmla="*/ 3873861 h 4525940"/>
              <a:gd name="connsiteX1829" fmla="*/ 3523889 w 4545947"/>
              <a:gd name="connsiteY1829" fmla="*/ 3883622 h 4525940"/>
              <a:gd name="connsiteX1830" fmla="*/ 3532417 w 4545947"/>
              <a:gd name="connsiteY1830" fmla="*/ 3906635 h 4525940"/>
              <a:gd name="connsiteX1831" fmla="*/ 3543578 w 4545947"/>
              <a:gd name="connsiteY1831" fmla="*/ 3939608 h 4525940"/>
              <a:gd name="connsiteX1832" fmla="*/ 3572787 w 4545947"/>
              <a:gd name="connsiteY1832" fmla="*/ 4051368 h 4525940"/>
              <a:gd name="connsiteX1833" fmla="*/ 3585110 w 4545947"/>
              <a:gd name="connsiteY1833" fmla="*/ 4083170 h 4525940"/>
              <a:gd name="connsiteX1834" fmla="*/ 3588390 w 4545947"/>
              <a:gd name="connsiteY1834" fmla="*/ 4095491 h 4525940"/>
              <a:gd name="connsiteX1835" fmla="*/ 3600027 w 4545947"/>
              <a:gd name="connsiteY1835" fmla="*/ 4134333 h 4525940"/>
              <a:gd name="connsiteX1836" fmla="*/ 3580737 w 4545947"/>
              <a:gd name="connsiteY1836" fmla="*/ 4111046 h 4525940"/>
              <a:gd name="connsiteX1837" fmla="*/ 3576851 w 4545947"/>
              <a:gd name="connsiteY1837" fmla="*/ 4095441 h 4525940"/>
              <a:gd name="connsiteX1838" fmla="*/ 3570176 w 4545947"/>
              <a:gd name="connsiteY1838" fmla="*/ 4073920 h 4525940"/>
              <a:gd name="connsiteX1839" fmla="*/ 3543030 w 4545947"/>
              <a:gd name="connsiteY1839" fmla="*/ 4041258 h 4525940"/>
              <a:gd name="connsiteX1840" fmla="*/ 3534118 w 4545947"/>
              <a:gd name="connsiteY1840" fmla="*/ 4026138 h 4525940"/>
              <a:gd name="connsiteX1841" fmla="*/ 3530338 w 4545947"/>
              <a:gd name="connsiteY1841" fmla="*/ 4006809 h 4525940"/>
              <a:gd name="connsiteX1842" fmla="*/ 3529155 w 4545947"/>
              <a:gd name="connsiteY1842" fmla="*/ 3978011 h 4525940"/>
              <a:gd name="connsiteX1843" fmla="*/ 3526968 w 4545947"/>
              <a:gd name="connsiteY1843" fmla="*/ 3955240 h 4525940"/>
              <a:gd name="connsiteX1844" fmla="*/ 3519516 w 4545947"/>
              <a:gd name="connsiteY1844" fmla="*/ 3936183 h 4525940"/>
              <a:gd name="connsiteX1845" fmla="*/ 3508583 w 4545947"/>
              <a:gd name="connsiteY1845" fmla="*/ 3910715 h 4525940"/>
              <a:gd name="connsiteX1846" fmla="*/ 3497651 w 4545947"/>
              <a:gd name="connsiteY1846" fmla="*/ 3890210 h 4525940"/>
              <a:gd name="connsiteX1847" fmla="*/ 3472162 w 4545947"/>
              <a:gd name="connsiteY1847" fmla="*/ 3861199 h 4525940"/>
              <a:gd name="connsiteX1848" fmla="*/ 3462668 w 4545947"/>
              <a:gd name="connsiteY1848" fmla="*/ 3848911 h 4525940"/>
              <a:gd name="connsiteX1849" fmla="*/ 3458295 w 4545947"/>
              <a:gd name="connsiteY1849" fmla="*/ 3832711 h 4525940"/>
              <a:gd name="connsiteX1850" fmla="*/ 3453922 w 4545947"/>
              <a:gd name="connsiteY1850" fmla="*/ 3814611 h 4525940"/>
              <a:gd name="connsiteX1851" fmla="*/ 3450078 w 4545947"/>
              <a:gd name="connsiteY1851" fmla="*/ 3794409 h 4525940"/>
              <a:gd name="connsiteX1852" fmla="*/ 3440992 w 4545947"/>
              <a:gd name="connsiteY1852" fmla="*/ 3764654 h 4525940"/>
              <a:gd name="connsiteX1853" fmla="*/ 3431719 w 4545947"/>
              <a:gd name="connsiteY1853" fmla="*/ 3740913 h 4525940"/>
              <a:gd name="connsiteX1854" fmla="*/ 3427684 w 4545947"/>
              <a:gd name="connsiteY1854" fmla="*/ 3725861 h 4525940"/>
              <a:gd name="connsiteX1855" fmla="*/ 3420306 w 4545947"/>
              <a:gd name="connsiteY1855" fmla="*/ 3702120 h 4525940"/>
              <a:gd name="connsiteX1856" fmla="*/ 3416164 w 4545947"/>
              <a:gd name="connsiteY1856" fmla="*/ 3705901 h 4525940"/>
              <a:gd name="connsiteX1857" fmla="*/ 3416533 w 4545947"/>
              <a:gd name="connsiteY1857" fmla="*/ 3714219 h 4525940"/>
              <a:gd name="connsiteX1858" fmla="*/ 3402685 w 4545947"/>
              <a:gd name="connsiteY1858" fmla="*/ 3716112 h 4525940"/>
              <a:gd name="connsiteX1859" fmla="*/ 3393935 w 4545947"/>
              <a:gd name="connsiteY1859" fmla="*/ 3713735 h 4525940"/>
              <a:gd name="connsiteX1860" fmla="*/ 3387971 w 4545947"/>
              <a:gd name="connsiteY1860" fmla="*/ 3689876 h 4525940"/>
              <a:gd name="connsiteX1861" fmla="*/ 3379613 w 4545947"/>
              <a:gd name="connsiteY1861" fmla="*/ 3645950 h 4525940"/>
              <a:gd name="connsiteX1862" fmla="*/ 3363957 w 4545947"/>
              <a:gd name="connsiteY1862" fmla="*/ 3602624 h 4525940"/>
              <a:gd name="connsiteX1863" fmla="*/ 3350698 w 4545947"/>
              <a:gd name="connsiteY1863" fmla="*/ 3633318 h 4525940"/>
              <a:gd name="connsiteX1864" fmla="*/ 3345028 w 4545947"/>
              <a:gd name="connsiteY1864" fmla="*/ 3650699 h 4525940"/>
              <a:gd name="connsiteX1865" fmla="*/ 3329305 w 4545947"/>
              <a:gd name="connsiteY1865" fmla="*/ 3652225 h 4525940"/>
              <a:gd name="connsiteX1866" fmla="*/ 3340893 w 4545947"/>
              <a:gd name="connsiteY1866" fmla="*/ 3677605 h 4525940"/>
              <a:gd name="connsiteX1867" fmla="*/ 3352077 w 4545947"/>
              <a:gd name="connsiteY1867" fmla="*/ 3690266 h 4525940"/>
              <a:gd name="connsiteX1868" fmla="*/ 3357681 w 4545947"/>
              <a:gd name="connsiteY1868" fmla="*/ 3702928 h 4525940"/>
              <a:gd name="connsiteX1869" fmla="*/ 3363620 w 4545947"/>
              <a:gd name="connsiteY1869" fmla="*/ 3721921 h 4525940"/>
              <a:gd name="connsiteX1870" fmla="*/ 3372913 w 4545947"/>
              <a:gd name="connsiteY1870" fmla="*/ 3740913 h 4525940"/>
              <a:gd name="connsiteX1871" fmla="*/ 3375688 w 4545947"/>
              <a:gd name="connsiteY1871" fmla="*/ 3768853 h 4525940"/>
              <a:gd name="connsiteX1872" fmla="*/ 3327107 w 4545947"/>
              <a:gd name="connsiteY1872" fmla="*/ 3771846 h 4525940"/>
              <a:gd name="connsiteX1873" fmla="*/ 3315329 w 4545947"/>
              <a:gd name="connsiteY1873" fmla="*/ 3744607 h 4525940"/>
              <a:gd name="connsiteX1874" fmla="*/ 3311207 w 4545947"/>
              <a:gd name="connsiteY1874" fmla="*/ 3724541 h 4525940"/>
              <a:gd name="connsiteX1875" fmla="*/ 3316649 w 4545947"/>
              <a:gd name="connsiteY1875" fmla="*/ 3711929 h 4525940"/>
              <a:gd name="connsiteX1876" fmla="*/ 3320770 w 4545947"/>
              <a:gd name="connsiteY1876" fmla="*/ 3707093 h 4525940"/>
              <a:gd name="connsiteX1877" fmla="*/ 3327107 w 4545947"/>
              <a:gd name="connsiteY1877" fmla="*/ 3700282 h 4525940"/>
              <a:gd name="connsiteX1878" fmla="*/ 3313988 w 4545947"/>
              <a:gd name="connsiteY1878" fmla="*/ 3686151 h 4525940"/>
              <a:gd name="connsiteX1879" fmla="*/ 3300870 w 4545947"/>
              <a:gd name="connsiteY1879" fmla="*/ 3674511 h 4525940"/>
              <a:gd name="connsiteX1880" fmla="*/ 3289059 w 4545947"/>
              <a:gd name="connsiteY1880" fmla="*/ 3649571 h 4525940"/>
              <a:gd name="connsiteX1881" fmla="*/ 3279392 w 4545947"/>
              <a:gd name="connsiteY1881" fmla="*/ 3614296 h 4525940"/>
              <a:gd name="connsiteX1882" fmla="*/ 3283232 w 4545947"/>
              <a:gd name="connsiteY1882" fmla="*/ 3606383 h 4525940"/>
              <a:gd name="connsiteX1883" fmla="*/ 3274377 w 4545947"/>
              <a:gd name="connsiteY1883" fmla="*/ 3613610 h 4525940"/>
              <a:gd name="connsiteX1884" fmla="*/ 3260548 w 4545947"/>
              <a:gd name="connsiteY1884" fmla="*/ 3606968 h 4525940"/>
              <a:gd name="connsiteX1885" fmla="*/ 3252822 w 4545947"/>
              <a:gd name="connsiteY1885" fmla="*/ 3578594 h 4525940"/>
              <a:gd name="connsiteX1886" fmla="*/ 3252417 w 4545947"/>
              <a:gd name="connsiteY1886" fmla="*/ 3574234 h 4525940"/>
              <a:gd name="connsiteX1887" fmla="*/ 3264232 w 4545947"/>
              <a:gd name="connsiteY1887" fmla="*/ 3578304 h 4525940"/>
              <a:gd name="connsiteX1888" fmla="*/ 3270698 w 4545947"/>
              <a:gd name="connsiteY1888" fmla="*/ 3586713 h 4525940"/>
              <a:gd name="connsiteX1889" fmla="*/ 3275175 w 4545947"/>
              <a:gd name="connsiteY1889" fmla="*/ 3573523 h 4525940"/>
              <a:gd name="connsiteX1890" fmla="*/ 3272678 w 4545947"/>
              <a:gd name="connsiteY1890" fmla="*/ 3539117 h 4525940"/>
              <a:gd name="connsiteX1891" fmla="*/ 3255231 w 4545947"/>
              <a:gd name="connsiteY1891" fmla="*/ 3538110 h 4525940"/>
              <a:gd name="connsiteX1892" fmla="*/ 3237667 w 4545947"/>
              <a:gd name="connsiteY1892" fmla="*/ 3538572 h 4525940"/>
              <a:gd name="connsiteX1893" fmla="*/ 3215276 w 4545947"/>
              <a:gd name="connsiteY1893" fmla="*/ 3575977 h 4525940"/>
              <a:gd name="connsiteX1894" fmla="*/ 3204100 w 4545947"/>
              <a:gd name="connsiteY1894" fmla="*/ 3614296 h 4525940"/>
              <a:gd name="connsiteX1895" fmla="*/ 3195919 w 4545947"/>
              <a:gd name="connsiteY1895" fmla="*/ 3602335 h 4525940"/>
              <a:gd name="connsiteX1896" fmla="*/ 3187447 w 4545947"/>
              <a:gd name="connsiteY1896" fmla="*/ 3575429 h 4525940"/>
              <a:gd name="connsiteX1897" fmla="*/ 3171048 w 4545947"/>
              <a:gd name="connsiteY1897" fmla="*/ 3567461 h 4525940"/>
              <a:gd name="connsiteX1898" fmla="*/ 3164938 w 4545947"/>
              <a:gd name="connsiteY1898" fmla="*/ 3609962 h 4525940"/>
              <a:gd name="connsiteX1899" fmla="*/ 3163122 w 4545947"/>
              <a:gd name="connsiteY1899" fmla="*/ 3633289 h 4525940"/>
              <a:gd name="connsiteX1900" fmla="*/ 3156563 w 4545947"/>
              <a:gd name="connsiteY1900" fmla="*/ 3626962 h 4525940"/>
              <a:gd name="connsiteX1901" fmla="*/ 3120606 w 4545947"/>
              <a:gd name="connsiteY1901" fmla="*/ 3630123 h 4525940"/>
              <a:gd name="connsiteX1902" fmla="*/ 3126056 w 4545947"/>
              <a:gd name="connsiteY1902" fmla="*/ 3709259 h 4525940"/>
              <a:gd name="connsiteX1903" fmla="*/ 3143221 w 4545947"/>
              <a:gd name="connsiteY1903" fmla="*/ 3820049 h 4525940"/>
              <a:gd name="connsiteX1904" fmla="*/ 3143117 w 4545947"/>
              <a:gd name="connsiteY1904" fmla="*/ 3881775 h 4525940"/>
              <a:gd name="connsiteX1905" fmla="*/ 3132608 w 4545947"/>
              <a:gd name="connsiteY1905" fmla="*/ 3930839 h 4525940"/>
              <a:gd name="connsiteX1906" fmla="*/ 3121580 w 4545947"/>
              <a:gd name="connsiteY1906" fmla="*/ 3908681 h 4525940"/>
              <a:gd name="connsiteX1907" fmla="*/ 3117693 w 4545947"/>
              <a:gd name="connsiteY1907" fmla="*/ 3886523 h 4525940"/>
              <a:gd name="connsiteX1908" fmla="*/ 3110936 w 4545947"/>
              <a:gd name="connsiteY1908" fmla="*/ 3864365 h 4525940"/>
              <a:gd name="connsiteX1909" fmla="*/ 3104446 w 4545947"/>
              <a:gd name="connsiteY1909" fmla="*/ 3842207 h 4525940"/>
              <a:gd name="connsiteX1910" fmla="*/ 3098639 w 4545947"/>
              <a:gd name="connsiteY1910" fmla="*/ 3809238 h 4525940"/>
              <a:gd name="connsiteX1911" fmla="*/ 3091524 w 4545947"/>
              <a:gd name="connsiteY1911" fmla="*/ 3773890 h 4525940"/>
              <a:gd name="connsiteX1912" fmla="*/ 3086596 w 4545947"/>
              <a:gd name="connsiteY1912" fmla="*/ 3737594 h 4525940"/>
              <a:gd name="connsiteX1913" fmla="*/ 3082151 w 4545947"/>
              <a:gd name="connsiteY1913" fmla="*/ 3699699 h 4525940"/>
              <a:gd name="connsiteX1914" fmla="*/ 3080224 w 4545947"/>
              <a:gd name="connsiteY1914" fmla="*/ 3689829 h 4525940"/>
              <a:gd name="connsiteX1915" fmla="*/ 3078108 w 4545947"/>
              <a:gd name="connsiteY1915" fmla="*/ 3683935 h 4525940"/>
              <a:gd name="connsiteX1916" fmla="*/ 3073478 w 4545947"/>
              <a:gd name="connsiteY1916" fmla="*/ 3652809 h 4525940"/>
              <a:gd name="connsiteX1917" fmla="*/ 3068189 w 4545947"/>
              <a:gd name="connsiteY1917" fmla="*/ 3619131 h 4525940"/>
              <a:gd name="connsiteX1918" fmla="*/ 3062193 w 4545947"/>
              <a:gd name="connsiteY1918" fmla="*/ 3601193 h 4525940"/>
              <a:gd name="connsiteX1919" fmla="*/ 3058266 w 4545947"/>
              <a:gd name="connsiteY1919" fmla="*/ 3574728 h 4525940"/>
              <a:gd name="connsiteX1920" fmla="*/ 3057514 w 4545947"/>
              <a:gd name="connsiteY1920" fmla="*/ 3554356 h 4525940"/>
              <a:gd name="connsiteX1921" fmla="*/ 3056138 w 4545947"/>
              <a:gd name="connsiteY1921" fmla="*/ 3541627 h 4525940"/>
              <a:gd name="connsiteX1922" fmla="*/ 3049247 w 4545947"/>
              <a:gd name="connsiteY1922" fmla="*/ 3496938 h 4525940"/>
              <a:gd name="connsiteX1923" fmla="*/ 3017705 w 4545947"/>
              <a:gd name="connsiteY1923" fmla="*/ 3437032 h 4525940"/>
              <a:gd name="connsiteX1924" fmla="*/ 3009991 w 4545947"/>
              <a:gd name="connsiteY1924" fmla="*/ 3476935 h 4525940"/>
              <a:gd name="connsiteX1925" fmla="*/ 3007942 w 4545947"/>
              <a:gd name="connsiteY1925" fmla="*/ 3500341 h 4525940"/>
              <a:gd name="connsiteX1926" fmla="*/ 2999138 w 4545947"/>
              <a:gd name="connsiteY1926" fmla="*/ 3511736 h 4525940"/>
              <a:gd name="connsiteX1927" fmla="*/ 2994221 w 4545947"/>
              <a:gd name="connsiteY1927" fmla="*/ 3530249 h 4525940"/>
              <a:gd name="connsiteX1928" fmla="*/ 2994221 w 4545947"/>
              <a:gd name="connsiteY1928" fmla="*/ 3557784 h 4525940"/>
              <a:gd name="connsiteX1929" fmla="*/ 2981646 w 4545947"/>
              <a:gd name="connsiteY1929" fmla="*/ 3592138 h 4525940"/>
              <a:gd name="connsiteX1930" fmla="*/ 2972514 w 4545947"/>
              <a:gd name="connsiteY1930" fmla="*/ 3569980 h 4525940"/>
              <a:gd name="connsiteX1931" fmla="*/ 2966340 w 4545947"/>
              <a:gd name="connsiteY1931" fmla="*/ 3531984 h 4525940"/>
              <a:gd name="connsiteX1932" fmla="*/ 2959351 w 4545947"/>
              <a:gd name="connsiteY1932" fmla="*/ 3490460 h 4525940"/>
              <a:gd name="connsiteX1933" fmla="*/ 2955409 w 4545947"/>
              <a:gd name="connsiteY1933" fmla="*/ 3447123 h 4525940"/>
              <a:gd name="connsiteX1934" fmla="*/ 2946728 w 4545947"/>
              <a:gd name="connsiteY1934" fmla="*/ 3392826 h 4525940"/>
              <a:gd name="connsiteX1935" fmla="*/ 2940541 w 4545947"/>
              <a:gd name="connsiteY1935" fmla="*/ 3363958 h 4525940"/>
              <a:gd name="connsiteX1936" fmla="*/ 2928518 w 4545947"/>
              <a:gd name="connsiteY1936" fmla="*/ 3330135 h 4525940"/>
              <a:gd name="connsiteX1937" fmla="*/ 2925305 w 4545947"/>
              <a:gd name="connsiteY1937" fmla="*/ 3329407 h 4525940"/>
              <a:gd name="connsiteX1938" fmla="*/ 2922663 w 4545947"/>
              <a:gd name="connsiteY1938" fmla="*/ 3308194 h 4525940"/>
              <a:gd name="connsiteX1939" fmla="*/ 2924908 w 4545947"/>
              <a:gd name="connsiteY1939" fmla="*/ 3291324 h 4525940"/>
              <a:gd name="connsiteX1940" fmla="*/ 2907500 w 4545947"/>
              <a:gd name="connsiteY1940" fmla="*/ 3253437 h 4525940"/>
              <a:gd name="connsiteX1941" fmla="*/ 2902377 w 4545947"/>
              <a:gd name="connsiteY1941" fmla="*/ 3292044 h 4525940"/>
              <a:gd name="connsiteX1942" fmla="*/ 2888666 w 4545947"/>
              <a:gd name="connsiteY1942" fmla="*/ 3307676 h 4525940"/>
              <a:gd name="connsiteX1943" fmla="*/ 2869372 w 4545947"/>
              <a:gd name="connsiteY1943" fmla="*/ 3353858 h 4525940"/>
              <a:gd name="connsiteX1944" fmla="*/ 2866824 w 4545947"/>
              <a:gd name="connsiteY1944" fmla="*/ 3380956 h 4525940"/>
              <a:gd name="connsiteX1945" fmla="*/ 2845843 w 4545947"/>
              <a:gd name="connsiteY1945" fmla="*/ 3411053 h 4525940"/>
              <a:gd name="connsiteX1946" fmla="*/ 2841712 w 4545947"/>
              <a:gd name="connsiteY1946" fmla="*/ 3443363 h 4525940"/>
              <a:gd name="connsiteX1947" fmla="*/ 2832967 w 4545947"/>
              <a:gd name="connsiteY1947" fmla="*/ 3434642 h 4525940"/>
              <a:gd name="connsiteX1948" fmla="*/ 2826073 w 4545947"/>
              <a:gd name="connsiteY1948" fmla="*/ 3417638 h 4525940"/>
              <a:gd name="connsiteX1949" fmla="*/ 2821980 w 4545947"/>
              <a:gd name="connsiteY1949" fmla="*/ 3387738 h 4525940"/>
              <a:gd name="connsiteX1950" fmla="*/ 2817264 w 4545947"/>
              <a:gd name="connsiteY1950" fmla="*/ 3354095 h 4525940"/>
              <a:gd name="connsiteX1951" fmla="*/ 2813279 w 4545947"/>
              <a:gd name="connsiteY1951" fmla="*/ 3342069 h 4525940"/>
              <a:gd name="connsiteX1952" fmla="*/ 2808098 w 4545947"/>
              <a:gd name="connsiteY1952" fmla="*/ 3330990 h 4525940"/>
              <a:gd name="connsiteX1953" fmla="*/ 2796413 w 4545947"/>
              <a:gd name="connsiteY1953" fmla="*/ 3302501 h 4525940"/>
              <a:gd name="connsiteX1954" fmla="*/ 2785874 w 4545947"/>
              <a:gd name="connsiteY1954" fmla="*/ 3285284 h 4525940"/>
              <a:gd name="connsiteX1955" fmla="*/ 2785958 w 4545947"/>
              <a:gd name="connsiteY1955" fmla="*/ 3291929 h 4525940"/>
              <a:gd name="connsiteX1956" fmla="*/ 2790331 w 4545947"/>
              <a:gd name="connsiteY1956" fmla="*/ 3322979 h 4525940"/>
              <a:gd name="connsiteX1957" fmla="*/ 2775681 w 4545947"/>
              <a:gd name="connsiteY1957" fmla="*/ 3305853 h 4525940"/>
              <a:gd name="connsiteX1958" fmla="*/ 2763282 w 4545947"/>
              <a:gd name="connsiteY1958" fmla="*/ 3305853 h 4525940"/>
              <a:gd name="connsiteX1959" fmla="*/ 2753779 w 4545947"/>
              <a:gd name="connsiteY1959" fmla="*/ 3354086 h 4525940"/>
              <a:gd name="connsiteX1960" fmla="*/ 2760892 w 4545947"/>
              <a:gd name="connsiteY1960" fmla="*/ 3403232 h 4525940"/>
              <a:gd name="connsiteX1961" fmla="*/ 2766023 w 4545947"/>
              <a:gd name="connsiteY1961" fmla="*/ 3450840 h 4525940"/>
              <a:gd name="connsiteX1962" fmla="*/ 2750015 w 4545947"/>
              <a:gd name="connsiteY1962" fmla="*/ 3478697 h 4525940"/>
              <a:gd name="connsiteX1963" fmla="*/ 2739057 w 4545947"/>
              <a:gd name="connsiteY1963" fmla="*/ 3462355 h 4525940"/>
              <a:gd name="connsiteX1964" fmla="*/ 2732389 w 4545947"/>
              <a:gd name="connsiteY1964" fmla="*/ 3453537 h 4525940"/>
              <a:gd name="connsiteX1965" fmla="*/ 2712353 w 4545947"/>
              <a:gd name="connsiteY1965" fmla="*/ 3437032 h 4525940"/>
              <a:gd name="connsiteX1966" fmla="*/ 2706152 w 4545947"/>
              <a:gd name="connsiteY1966" fmla="*/ 3457689 h 4525940"/>
              <a:gd name="connsiteX1967" fmla="*/ 2696312 w 4545947"/>
              <a:gd name="connsiteY1967" fmla="*/ 3484595 h 4525940"/>
              <a:gd name="connsiteX1968" fmla="*/ 2687868 w 4545947"/>
              <a:gd name="connsiteY1968" fmla="*/ 3509837 h 4525940"/>
              <a:gd name="connsiteX1969" fmla="*/ 2690056 w 4545947"/>
              <a:gd name="connsiteY1969" fmla="*/ 3557318 h 4525940"/>
              <a:gd name="connsiteX1970" fmla="*/ 2694620 w 4545947"/>
              <a:gd name="connsiteY1970" fmla="*/ 3594273 h 4525940"/>
              <a:gd name="connsiteX1971" fmla="*/ 2682100 w 4545947"/>
              <a:gd name="connsiteY1971" fmla="*/ 3615329 h 4525940"/>
              <a:gd name="connsiteX1972" fmla="*/ 2675171 w 4545947"/>
              <a:gd name="connsiteY1972" fmla="*/ 3654278 h 4525940"/>
              <a:gd name="connsiteX1973" fmla="*/ 2680432 w 4545947"/>
              <a:gd name="connsiteY1973" fmla="*/ 3686784 h 4525940"/>
              <a:gd name="connsiteX1974" fmla="*/ 2683731 w 4545947"/>
              <a:gd name="connsiteY1974" fmla="*/ 3693432 h 4525940"/>
              <a:gd name="connsiteX1975" fmla="*/ 2699137 w 4545947"/>
              <a:gd name="connsiteY1975" fmla="*/ 3672350 h 4525940"/>
              <a:gd name="connsiteX1976" fmla="*/ 2709257 w 4545947"/>
              <a:gd name="connsiteY1976" fmla="*/ 3688362 h 4525940"/>
              <a:gd name="connsiteX1977" fmla="*/ 2719638 w 4545947"/>
              <a:gd name="connsiteY1977" fmla="*/ 3721312 h 4525940"/>
              <a:gd name="connsiteX1978" fmla="*/ 2731766 w 4545947"/>
              <a:gd name="connsiteY1978" fmla="*/ 3743285 h 4525940"/>
              <a:gd name="connsiteX1979" fmla="*/ 2734466 w 4545947"/>
              <a:gd name="connsiteY1979" fmla="*/ 3761914 h 4525940"/>
              <a:gd name="connsiteX1980" fmla="*/ 2733513 w 4545947"/>
              <a:gd name="connsiteY1980" fmla="*/ 3779804 h 4525940"/>
              <a:gd name="connsiteX1981" fmla="*/ 2724300 w 4545947"/>
              <a:gd name="connsiteY1981" fmla="*/ 3766243 h 4525940"/>
              <a:gd name="connsiteX1982" fmla="*/ 2709200 w 4545947"/>
              <a:gd name="connsiteY1982" fmla="*/ 3728581 h 4525940"/>
              <a:gd name="connsiteX1983" fmla="*/ 2698904 w 4545947"/>
              <a:gd name="connsiteY1983" fmla="*/ 3710865 h 4525940"/>
              <a:gd name="connsiteX1984" fmla="*/ 2694804 w 4545947"/>
              <a:gd name="connsiteY1984" fmla="*/ 3727472 h 4525940"/>
              <a:gd name="connsiteX1985" fmla="*/ 2703659 w 4545947"/>
              <a:gd name="connsiteY1985" fmla="*/ 3818561 h 4525940"/>
              <a:gd name="connsiteX1986" fmla="*/ 2704869 w 4545947"/>
              <a:gd name="connsiteY1986" fmla="*/ 3842295 h 4525940"/>
              <a:gd name="connsiteX1987" fmla="*/ 2706562 w 4545947"/>
              <a:gd name="connsiteY1987" fmla="*/ 3858401 h 4525940"/>
              <a:gd name="connsiteX1988" fmla="*/ 2703965 w 4545947"/>
              <a:gd name="connsiteY1988" fmla="*/ 3892854 h 4525940"/>
              <a:gd name="connsiteX1989" fmla="*/ 2697406 w 4545947"/>
              <a:gd name="connsiteY1989" fmla="*/ 3884624 h 4525940"/>
              <a:gd name="connsiteX1990" fmla="*/ 2692559 w 4545947"/>
              <a:gd name="connsiteY1990" fmla="*/ 3869377 h 4525940"/>
              <a:gd name="connsiteX1991" fmla="*/ 2685914 w 4545947"/>
              <a:gd name="connsiteY1991" fmla="*/ 3829043 h 4525940"/>
              <a:gd name="connsiteX1992" fmla="*/ 2680432 w 4545947"/>
              <a:gd name="connsiteY1992" fmla="*/ 3788895 h 4525940"/>
              <a:gd name="connsiteX1993" fmla="*/ 2673617 w 4545947"/>
              <a:gd name="connsiteY1993" fmla="*/ 3763071 h 4525940"/>
              <a:gd name="connsiteX1994" fmla="*/ 2664856 w 4545947"/>
              <a:gd name="connsiteY1994" fmla="*/ 3734582 h 4525940"/>
              <a:gd name="connsiteX1995" fmla="*/ 2656320 w 4545947"/>
              <a:gd name="connsiteY1995" fmla="*/ 3707405 h 4525940"/>
              <a:gd name="connsiteX1996" fmla="*/ 2633990 w 4545947"/>
              <a:gd name="connsiteY1996" fmla="*/ 3694220 h 4525940"/>
              <a:gd name="connsiteX1997" fmla="*/ 2634199 w 4545947"/>
              <a:gd name="connsiteY1997" fmla="*/ 3713122 h 4525940"/>
              <a:gd name="connsiteX1998" fmla="*/ 2640557 w 4545947"/>
              <a:gd name="connsiteY1998" fmla="*/ 3737638 h 4525940"/>
              <a:gd name="connsiteX1999" fmla="*/ 2633998 w 4545947"/>
              <a:gd name="connsiteY1999" fmla="*/ 3747244 h 4525940"/>
              <a:gd name="connsiteX2000" fmla="*/ 2627438 w 4545947"/>
              <a:gd name="connsiteY2000" fmla="*/ 3730840 h 4525940"/>
              <a:gd name="connsiteX2001" fmla="*/ 2621342 w 4545947"/>
              <a:gd name="connsiteY2001" fmla="*/ 3725705 h 4525940"/>
              <a:gd name="connsiteX2002" fmla="*/ 2612167 w 4545947"/>
              <a:gd name="connsiteY2002" fmla="*/ 3690686 h 4525940"/>
              <a:gd name="connsiteX2003" fmla="*/ 2605145 w 4545947"/>
              <a:gd name="connsiteY2003" fmla="*/ 3652281 h 4525940"/>
              <a:gd name="connsiteX2004" fmla="*/ 2601104 w 4545947"/>
              <a:gd name="connsiteY2004" fmla="*/ 3634871 h 4525940"/>
              <a:gd name="connsiteX2005" fmla="*/ 2577610 w 4545947"/>
              <a:gd name="connsiteY2005" fmla="*/ 3591006 h 4525940"/>
              <a:gd name="connsiteX2006" fmla="*/ 2572247 w 4545947"/>
              <a:gd name="connsiteY2006" fmla="*/ 3626110 h 4525940"/>
              <a:gd name="connsiteX2007" fmla="*/ 2573455 w 4545947"/>
              <a:gd name="connsiteY2007" fmla="*/ 3664943 h 4525940"/>
              <a:gd name="connsiteX2008" fmla="*/ 2553099 w 4545947"/>
              <a:gd name="connsiteY2008" fmla="*/ 3631003 h 4525940"/>
              <a:gd name="connsiteX2009" fmla="*/ 2543260 w 4545947"/>
              <a:gd name="connsiteY2009" fmla="*/ 3614862 h 4525940"/>
              <a:gd name="connsiteX2010" fmla="*/ 2530623 w 4545947"/>
              <a:gd name="connsiteY2010" fmla="*/ 3640554 h 4525940"/>
              <a:gd name="connsiteX2011" fmla="*/ 2526305 w 4545947"/>
              <a:gd name="connsiteY2011" fmla="*/ 3708293 h 4525940"/>
              <a:gd name="connsiteX2012" fmla="*/ 2519771 w 4545947"/>
              <a:gd name="connsiteY2012" fmla="*/ 3750816 h 4525940"/>
              <a:gd name="connsiteX2013" fmla="*/ 2522540 w 4545947"/>
              <a:gd name="connsiteY2013" fmla="*/ 3784928 h 4525940"/>
              <a:gd name="connsiteX2014" fmla="*/ 2509726 w 4545947"/>
              <a:gd name="connsiteY2014" fmla="*/ 3781217 h 4525940"/>
              <a:gd name="connsiteX2015" fmla="*/ 2486852 w 4545947"/>
              <a:gd name="connsiteY2015" fmla="*/ 3820858 h 4525940"/>
              <a:gd name="connsiteX2016" fmla="*/ 2481921 w 4545947"/>
              <a:gd name="connsiteY2016" fmla="*/ 3848538 h 4525940"/>
              <a:gd name="connsiteX2017" fmla="*/ 2462933 w 4545947"/>
              <a:gd name="connsiteY2017" fmla="*/ 3811532 h 4525940"/>
              <a:gd name="connsiteX2018" fmla="*/ 2456776 w 4545947"/>
              <a:gd name="connsiteY2018" fmla="*/ 3791560 h 4525940"/>
              <a:gd name="connsiteX2019" fmla="*/ 2448685 w 4545947"/>
              <a:gd name="connsiteY2019" fmla="*/ 3772074 h 4525940"/>
              <a:gd name="connsiteX2020" fmla="*/ 2427873 w 4545947"/>
              <a:gd name="connsiteY2020" fmla="*/ 3768017 h 4525940"/>
              <a:gd name="connsiteX2021" fmla="*/ 2429236 w 4545947"/>
              <a:gd name="connsiteY2021" fmla="*/ 3769526 h 4525940"/>
              <a:gd name="connsiteX2022" fmla="*/ 2443776 w 4545947"/>
              <a:gd name="connsiteY2022" fmla="*/ 3766237 h 4525940"/>
              <a:gd name="connsiteX2023" fmla="*/ 2440496 w 4545947"/>
              <a:gd name="connsiteY2023" fmla="*/ 3772608 h 4525940"/>
              <a:gd name="connsiteX2024" fmla="*/ 2429564 w 4545947"/>
              <a:gd name="connsiteY2024" fmla="*/ 3792113 h 4525940"/>
              <a:gd name="connsiteX2025" fmla="*/ 2430302 w 4545947"/>
              <a:gd name="connsiteY2025" fmla="*/ 3873416 h 4525940"/>
              <a:gd name="connsiteX2026" fmla="*/ 2444369 w 4545947"/>
              <a:gd name="connsiteY2026" fmla="*/ 3924805 h 4525940"/>
              <a:gd name="connsiteX2027" fmla="*/ 2453931 w 4545947"/>
              <a:gd name="connsiteY2027" fmla="*/ 3969610 h 4525940"/>
              <a:gd name="connsiteX2028" fmla="*/ 2450930 w 4545947"/>
              <a:gd name="connsiteY2028" fmla="*/ 3988781 h 4525940"/>
              <a:gd name="connsiteX2029" fmla="*/ 2449419 w 4545947"/>
              <a:gd name="connsiteY2029" fmla="*/ 4093060 h 4525940"/>
              <a:gd name="connsiteX2030" fmla="*/ 2447957 w 4545947"/>
              <a:gd name="connsiteY2030" fmla="*/ 4143094 h 4525940"/>
              <a:gd name="connsiteX2031" fmla="*/ 2430657 w 4545947"/>
              <a:gd name="connsiteY2031" fmla="*/ 4117769 h 4525940"/>
              <a:gd name="connsiteX2032" fmla="*/ 2414924 w 4545947"/>
              <a:gd name="connsiteY2032" fmla="*/ 4063787 h 4525940"/>
              <a:gd name="connsiteX2033" fmla="*/ 2408246 w 4545947"/>
              <a:gd name="connsiteY2033" fmla="*/ 4057456 h 4525940"/>
              <a:gd name="connsiteX2034" fmla="*/ 2406606 w 4545947"/>
              <a:gd name="connsiteY2034" fmla="*/ 4044794 h 4525940"/>
              <a:gd name="connsiteX2035" fmla="*/ 2404966 w 4545947"/>
              <a:gd name="connsiteY2035" fmla="*/ 3991434 h 4525940"/>
              <a:gd name="connsiteX2036" fmla="*/ 2396933 w 4545947"/>
              <a:gd name="connsiteY2036" fmla="*/ 3933567 h 4525940"/>
              <a:gd name="connsiteX2037" fmla="*/ 2388791 w 4545947"/>
              <a:gd name="connsiteY2037" fmla="*/ 3915705 h 4525940"/>
              <a:gd name="connsiteX2038" fmla="*/ 2384965 w 4545947"/>
              <a:gd name="connsiteY2038" fmla="*/ 3854869 h 4525940"/>
              <a:gd name="connsiteX2039" fmla="*/ 2358125 w 4545947"/>
              <a:gd name="connsiteY2039" fmla="*/ 3777893 h 4525940"/>
              <a:gd name="connsiteX2040" fmla="*/ 2348290 w 4545947"/>
              <a:gd name="connsiteY2040" fmla="*/ 3762998 h 4525940"/>
              <a:gd name="connsiteX2041" fmla="*/ 2331066 w 4545947"/>
              <a:gd name="connsiteY2041" fmla="*/ 3743626 h 4525940"/>
              <a:gd name="connsiteX2042" fmla="*/ 2322362 w 4545947"/>
              <a:gd name="connsiteY2042" fmla="*/ 3790153 h 4525940"/>
              <a:gd name="connsiteX2043" fmla="*/ 2325585 w 4545947"/>
              <a:gd name="connsiteY2043" fmla="*/ 3839042 h 4525940"/>
              <a:gd name="connsiteX2044" fmla="*/ 2331015 w 4545947"/>
              <a:gd name="connsiteY2044" fmla="*/ 3907844 h 4525940"/>
              <a:gd name="connsiteX2045" fmla="*/ 2310583 w 4545947"/>
              <a:gd name="connsiteY2045" fmla="*/ 3877027 h 4525940"/>
              <a:gd name="connsiteX2046" fmla="*/ 2308008 w 4545947"/>
              <a:gd name="connsiteY2046" fmla="*/ 3820722 h 4525940"/>
              <a:gd name="connsiteX2047" fmla="*/ 2289689 w 4545947"/>
              <a:gd name="connsiteY2047" fmla="*/ 3772664 h 4525940"/>
              <a:gd name="connsiteX2048" fmla="*/ 2271750 w 4545947"/>
              <a:gd name="connsiteY2048" fmla="*/ 3824865 h 4525940"/>
              <a:gd name="connsiteX2049" fmla="*/ 2269535 w 4545947"/>
              <a:gd name="connsiteY2049" fmla="*/ 3826984 h 4525940"/>
              <a:gd name="connsiteX2050" fmla="*/ 2264486 w 4545947"/>
              <a:gd name="connsiteY2050" fmla="*/ 3832337 h 4525940"/>
              <a:gd name="connsiteX2051" fmla="*/ 2259765 w 4545947"/>
              <a:gd name="connsiteY2051" fmla="*/ 3842207 h 4525940"/>
              <a:gd name="connsiteX2052" fmla="*/ 2257927 w 4545947"/>
              <a:gd name="connsiteY2052" fmla="*/ 3823214 h 4525940"/>
              <a:gd name="connsiteX2053" fmla="*/ 2255775 w 4545947"/>
              <a:gd name="connsiteY2053" fmla="*/ 3804222 h 4525940"/>
              <a:gd name="connsiteX2054" fmla="*/ 2243620 w 4545947"/>
              <a:gd name="connsiteY2054" fmla="*/ 3793911 h 4525940"/>
              <a:gd name="connsiteX2055" fmla="*/ 2246518 w 4545947"/>
              <a:gd name="connsiteY2055" fmla="*/ 3771854 h 4525940"/>
              <a:gd name="connsiteX2056" fmla="*/ 2253959 w 4545947"/>
              <a:gd name="connsiteY2056" fmla="*/ 3733428 h 4525940"/>
              <a:gd name="connsiteX2057" fmla="*/ 2247002 w 4545947"/>
              <a:gd name="connsiteY2057" fmla="*/ 3700406 h 4525940"/>
              <a:gd name="connsiteX2058" fmla="*/ 2242621 w 4545947"/>
              <a:gd name="connsiteY2058" fmla="*/ 3683863 h 4525940"/>
              <a:gd name="connsiteX2059" fmla="*/ 2233875 w 4545947"/>
              <a:gd name="connsiteY2059" fmla="*/ 3660071 h 4525940"/>
              <a:gd name="connsiteX2060" fmla="*/ 2225130 w 4545947"/>
              <a:gd name="connsiteY2060" fmla="*/ 3633553 h 4525940"/>
              <a:gd name="connsiteX2061" fmla="*/ 2221850 w 4545947"/>
              <a:gd name="connsiteY2061" fmla="*/ 3620071 h 4525940"/>
              <a:gd name="connsiteX2062" fmla="*/ 2203265 w 4545947"/>
              <a:gd name="connsiteY2062" fmla="*/ 3618488 h 4525940"/>
              <a:gd name="connsiteX2063" fmla="*/ 2189200 w 4545947"/>
              <a:gd name="connsiteY2063" fmla="*/ 3640708 h 4525940"/>
              <a:gd name="connsiteX2064" fmla="*/ 2181231 w 4545947"/>
              <a:gd name="connsiteY2064" fmla="*/ 3668186 h 4525940"/>
              <a:gd name="connsiteX2065" fmla="*/ 2174574 w 4545947"/>
              <a:gd name="connsiteY2065" fmla="*/ 3682047 h 4525940"/>
              <a:gd name="connsiteX2066" fmla="*/ 2169669 w 4545947"/>
              <a:gd name="connsiteY2066" fmla="*/ 3687533 h 4525940"/>
              <a:gd name="connsiteX2067" fmla="*/ 2170689 w 4545947"/>
              <a:gd name="connsiteY2067" fmla="*/ 3696951 h 4525940"/>
              <a:gd name="connsiteX2068" fmla="*/ 2195588 w 4545947"/>
              <a:gd name="connsiteY2068" fmla="*/ 3707322 h 4525940"/>
              <a:gd name="connsiteX2069" fmla="*/ 2212011 w 4545947"/>
              <a:gd name="connsiteY2069" fmla="*/ 3724422 h 4525940"/>
              <a:gd name="connsiteX2070" fmla="*/ 2216999 w 4545947"/>
              <a:gd name="connsiteY2070" fmla="*/ 3751934 h 4525940"/>
              <a:gd name="connsiteX2071" fmla="*/ 2218775 w 4545947"/>
              <a:gd name="connsiteY2071" fmla="*/ 3835779 h 4525940"/>
              <a:gd name="connsiteX2072" fmla="*/ 2201276 w 4545947"/>
              <a:gd name="connsiteY2072" fmla="*/ 3794726 h 4525940"/>
              <a:gd name="connsiteX2073" fmla="*/ 2176875 w 4545947"/>
              <a:gd name="connsiteY2073" fmla="*/ 3755596 h 4525940"/>
              <a:gd name="connsiteX2074" fmla="*/ 2138525 w 4545947"/>
              <a:gd name="connsiteY2074" fmla="*/ 3709464 h 4525940"/>
              <a:gd name="connsiteX2075" fmla="*/ 2105352 w 4545947"/>
              <a:gd name="connsiteY2075" fmla="*/ 3672844 h 4525940"/>
              <a:gd name="connsiteX2076" fmla="*/ 2107864 w 4545947"/>
              <a:gd name="connsiteY2076" fmla="*/ 3702928 h 4525940"/>
              <a:gd name="connsiteX2077" fmla="*/ 2110750 w 4545947"/>
              <a:gd name="connsiteY2077" fmla="*/ 3725675 h 4525940"/>
              <a:gd name="connsiteX2078" fmla="*/ 2116974 w 4545947"/>
              <a:gd name="connsiteY2078" fmla="*/ 3756445 h 4525940"/>
              <a:gd name="connsiteX2079" fmla="*/ 2124552 w 4545947"/>
              <a:gd name="connsiteY2079" fmla="*/ 3778014 h 4525940"/>
              <a:gd name="connsiteX2080" fmla="*/ 2111517 w 4545947"/>
              <a:gd name="connsiteY2080" fmla="*/ 3791560 h 4525940"/>
              <a:gd name="connsiteX2081" fmla="*/ 2095798 w 4545947"/>
              <a:gd name="connsiteY2081" fmla="*/ 3807039 h 4525940"/>
              <a:gd name="connsiteX2082" fmla="*/ 2085876 w 4545947"/>
              <a:gd name="connsiteY2082" fmla="*/ 3825297 h 4525940"/>
              <a:gd name="connsiteX2083" fmla="*/ 2088181 w 4545947"/>
              <a:gd name="connsiteY2083" fmla="*/ 3828811 h 4525940"/>
              <a:gd name="connsiteX2084" fmla="*/ 2100377 w 4545947"/>
              <a:gd name="connsiteY2084" fmla="*/ 3841641 h 4525940"/>
              <a:gd name="connsiteX2085" fmla="*/ 2114029 w 4545947"/>
              <a:gd name="connsiteY2085" fmla="*/ 3864171 h 4525940"/>
              <a:gd name="connsiteX2086" fmla="*/ 2123698 w 4545947"/>
              <a:gd name="connsiteY2086" fmla="*/ 3901140 h 4525940"/>
              <a:gd name="connsiteX2087" fmla="*/ 2107910 w 4545947"/>
              <a:gd name="connsiteY2087" fmla="*/ 3911846 h 4525940"/>
              <a:gd name="connsiteX2088" fmla="*/ 2080582 w 4545947"/>
              <a:gd name="connsiteY2088" fmla="*/ 3849939 h 4525940"/>
              <a:gd name="connsiteX2089" fmla="*/ 2054585 w 4545947"/>
              <a:gd name="connsiteY2089" fmla="*/ 3858695 h 4525940"/>
              <a:gd name="connsiteX2090" fmla="*/ 2039326 w 4545947"/>
              <a:gd name="connsiteY2090" fmla="*/ 3863960 h 4525940"/>
              <a:gd name="connsiteX2091" fmla="*/ 2021367 w 4545947"/>
              <a:gd name="connsiteY2091" fmla="*/ 3870003 h 4525940"/>
              <a:gd name="connsiteX2092" fmla="*/ 2006483 w 4545947"/>
              <a:gd name="connsiteY2092" fmla="*/ 3867904 h 4525940"/>
              <a:gd name="connsiteX2093" fmla="*/ 2002040 w 4545947"/>
              <a:gd name="connsiteY2093" fmla="*/ 3851640 h 4525940"/>
              <a:gd name="connsiteX2094" fmla="*/ 2000327 w 4545947"/>
              <a:gd name="connsiteY2094" fmla="*/ 3841264 h 4525940"/>
              <a:gd name="connsiteX2095" fmla="*/ 1993839 w 4545947"/>
              <a:gd name="connsiteY2095" fmla="*/ 3825515 h 4525940"/>
              <a:gd name="connsiteX2096" fmla="*/ 1984619 w 4545947"/>
              <a:gd name="connsiteY2096" fmla="*/ 3795142 h 4525940"/>
              <a:gd name="connsiteX2097" fmla="*/ 1964941 w 4545947"/>
              <a:gd name="connsiteY2097" fmla="*/ 3766237 h 4525940"/>
              <a:gd name="connsiteX2098" fmla="*/ 1958381 w 4545947"/>
              <a:gd name="connsiteY2098" fmla="*/ 3782839 h 4525940"/>
              <a:gd name="connsiteX2099" fmla="*/ 1951822 w 4545947"/>
              <a:gd name="connsiteY2099" fmla="*/ 3791560 h 4525940"/>
              <a:gd name="connsiteX2100" fmla="*/ 1945262 w 4545947"/>
              <a:gd name="connsiteY2100" fmla="*/ 3785229 h 4525940"/>
              <a:gd name="connsiteX2101" fmla="*/ 1932144 w 4545947"/>
              <a:gd name="connsiteY2101" fmla="*/ 3778898 h 4525940"/>
              <a:gd name="connsiteX2102" fmla="*/ 1919025 w 4545947"/>
              <a:gd name="connsiteY2102" fmla="*/ 3763599 h 4525940"/>
              <a:gd name="connsiteX2103" fmla="*/ 1923488 w 4545947"/>
              <a:gd name="connsiteY2103" fmla="*/ 3746145 h 4525940"/>
              <a:gd name="connsiteX2104" fmla="*/ 1908872 w 4545947"/>
              <a:gd name="connsiteY2104" fmla="*/ 3705513 h 4525940"/>
              <a:gd name="connsiteX2105" fmla="*/ 1884041 w 4545947"/>
              <a:gd name="connsiteY2105" fmla="*/ 3735980 h 4525940"/>
              <a:gd name="connsiteX2106" fmla="*/ 1888568 w 4545947"/>
              <a:gd name="connsiteY2106" fmla="*/ 3760322 h 4525940"/>
              <a:gd name="connsiteX2107" fmla="*/ 1875988 w 4545947"/>
              <a:gd name="connsiteY2107" fmla="*/ 3764707 h 4525940"/>
              <a:gd name="connsiteX2108" fmla="*/ 1866434 w 4545947"/>
              <a:gd name="connsiteY2108" fmla="*/ 3766290 h 4525940"/>
              <a:gd name="connsiteX2109" fmla="*/ 1866075 w 4545947"/>
              <a:gd name="connsiteY2109" fmla="*/ 3797891 h 4525940"/>
              <a:gd name="connsiteX2110" fmla="*/ 1872718 w 4545947"/>
              <a:gd name="connsiteY2110" fmla="*/ 3813718 h 4525940"/>
              <a:gd name="connsiteX2111" fmla="*/ 1879752 w 4545947"/>
              <a:gd name="connsiteY2111" fmla="*/ 3829545 h 4525940"/>
              <a:gd name="connsiteX2112" fmla="*/ 1884041 w 4545947"/>
              <a:gd name="connsiteY2112" fmla="*/ 3844998 h 4525940"/>
              <a:gd name="connsiteX2113" fmla="*/ 1888645 w 4545947"/>
              <a:gd name="connsiteY2113" fmla="*/ 3864572 h 4525940"/>
              <a:gd name="connsiteX2114" fmla="*/ 1891630 w 4545947"/>
              <a:gd name="connsiteY2114" fmla="*/ 3875720 h 4525940"/>
              <a:gd name="connsiteX2115" fmla="*/ 1913437 w 4545947"/>
              <a:gd name="connsiteY2115" fmla="*/ 3905515 h 4525940"/>
              <a:gd name="connsiteX2116" fmla="*/ 1923398 w 4545947"/>
              <a:gd name="connsiteY2116" fmla="*/ 3915012 h 4525940"/>
              <a:gd name="connsiteX2117" fmla="*/ 1927771 w 4545947"/>
              <a:gd name="connsiteY2117" fmla="*/ 3924508 h 4525940"/>
              <a:gd name="connsiteX2118" fmla="*/ 1932144 w 4545947"/>
              <a:gd name="connsiteY2118" fmla="*/ 3936947 h 4525940"/>
              <a:gd name="connsiteX2119" fmla="*/ 1940889 w 4545947"/>
              <a:gd name="connsiteY2119" fmla="*/ 3956162 h 4525940"/>
              <a:gd name="connsiteX2120" fmla="*/ 1935640 w 4545947"/>
              <a:gd name="connsiteY2120" fmla="*/ 3972686 h 4525940"/>
              <a:gd name="connsiteX2121" fmla="*/ 1919242 w 4545947"/>
              <a:gd name="connsiteY2121" fmla="*/ 3963834 h 4525940"/>
              <a:gd name="connsiteX2122" fmla="*/ 1904617 w 4545947"/>
              <a:gd name="connsiteY2122" fmla="*/ 3947772 h 4525940"/>
              <a:gd name="connsiteX2123" fmla="*/ 1888202 w 4545947"/>
              <a:gd name="connsiteY2123" fmla="*/ 3920535 h 4525940"/>
              <a:gd name="connsiteX2124" fmla="*/ 1866862 w 4545947"/>
              <a:gd name="connsiteY2124" fmla="*/ 3886523 h 4525940"/>
              <a:gd name="connsiteX2125" fmla="*/ 1862177 w 4545947"/>
              <a:gd name="connsiteY2125" fmla="*/ 3874314 h 4525940"/>
              <a:gd name="connsiteX2126" fmla="*/ 1856466 w 4545947"/>
              <a:gd name="connsiteY2126" fmla="*/ 3853739 h 4525940"/>
              <a:gd name="connsiteX2127" fmla="*/ 1847857 w 4545947"/>
              <a:gd name="connsiteY2127" fmla="*/ 3834293 h 4525940"/>
              <a:gd name="connsiteX2128" fmla="*/ 1824179 w 4545947"/>
              <a:gd name="connsiteY2128" fmla="*/ 3833550 h 4525940"/>
              <a:gd name="connsiteX2129" fmla="*/ 1826806 w 4545947"/>
              <a:gd name="connsiteY2129" fmla="*/ 3856324 h 4525940"/>
              <a:gd name="connsiteX2130" fmla="*/ 1829445 w 4545947"/>
              <a:gd name="connsiteY2130" fmla="*/ 3872712 h 4525940"/>
              <a:gd name="connsiteX2131" fmla="*/ 1823072 w 4545947"/>
              <a:gd name="connsiteY2131" fmla="*/ 3868119 h 4525940"/>
              <a:gd name="connsiteX2132" fmla="*/ 1809702 w 4545947"/>
              <a:gd name="connsiteY2132" fmla="*/ 3881158 h 4525940"/>
              <a:gd name="connsiteX2133" fmla="*/ 1818447 w 4545947"/>
              <a:gd name="connsiteY2133" fmla="*/ 3897350 h 4525940"/>
              <a:gd name="connsiteX2134" fmla="*/ 1827193 w 4545947"/>
              <a:gd name="connsiteY2134" fmla="*/ 3916052 h 4525940"/>
              <a:gd name="connsiteX2135" fmla="*/ 1856256 w 4545947"/>
              <a:gd name="connsiteY2135" fmla="*/ 3962493 h 4525940"/>
              <a:gd name="connsiteX2136" fmla="*/ 1862177 w 4545947"/>
              <a:gd name="connsiteY2136" fmla="*/ 3975155 h 4525940"/>
              <a:gd name="connsiteX2137" fmla="*/ 1851780 w 4545947"/>
              <a:gd name="connsiteY2137" fmla="*/ 3987817 h 4525940"/>
              <a:gd name="connsiteX2138" fmla="*/ 1835939 w 4545947"/>
              <a:gd name="connsiteY2138" fmla="*/ 3997313 h 4525940"/>
              <a:gd name="connsiteX2139" fmla="*/ 1826658 w 4545947"/>
              <a:gd name="connsiteY2139" fmla="*/ 4006809 h 4525940"/>
              <a:gd name="connsiteX2140" fmla="*/ 1822820 w 4545947"/>
              <a:gd name="connsiteY2140" fmla="*/ 3997313 h 4525940"/>
              <a:gd name="connsiteX2141" fmla="*/ 1818447 w 4545947"/>
              <a:gd name="connsiteY2141" fmla="*/ 3987817 h 4525940"/>
              <a:gd name="connsiteX2142" fmla="*/ 1814075 w 4545947"/>
              <a:gd name="connsiteY2142" fmla="*/ 3977485 h 4525940"/>
              <a:gd name="connsiteX2143" fmla="*/ 1786969 w 4545947"/>
              <a:gd name="connsiteY2143" fmla="*/ 3911104 h 4525940"/>
              <a:gd name="connsiteX2144" fmla="*/ 1779091 w 4545947"/>
              <a:gd name="connsiteY2144" fmla="*/ 3887418 h 4525940"/>
              <a:gd name="connsiteX2145" fmla="*/ 1741945 w 4545947"/>
              <a:gd name="connsiteY2145" fmla="*/ 3805804 h 4525940"/>
              <a:gd name="connsiteX2146" fmla="*/ 1725644 w 4545947"/>
              <a:gd name="connsiteY2146" fmla="*/ 3791560 h 4525940"/>
              <a:gd name="connsiteX2147" fmla="*/ 1717870 w 4545947"/>
              <a:gd name="connsiteY2147" fmla="*/ 3781609 h 4525940"/>
              <a:gd name="connsiteX2148" fmla="*/ 1690111 w 4545947"/>
              <a:gd name="connsiteY2148" fmla="*/ 3710809 h 4525940"/>
              <a:gd name="connsiteX2149" fmla="*/ 1680232 w 4545947"/>
              <a:gd name="connsiteY2149" fmla="*/ 3693432 h 4525940"/>
              <a:gd name="connsiteX2150" fmla="*/ 1667809 w 4545947"/>
              <a:gd name="connsiteY2150" fmla="*/ 3678612 h 4525940"/>
              <a:gd name="connsiteX2151" fmla="*/ 1643530 w 4545947"/>
              <a:gd name="connsiteY2151" fmla="*/ 3646410 h 4525940"/>
              <a:gd name="connsiteX2152" fmla="*/ 1632598 w 4545947"/>
              <a:gd name="connsiteY2152" fmla="*/ 3628089 h 4525940"/>
              <a:gd name="connsiteX2153" fmla="*/ 1621666 w 4545947"/>
              <a:gd name="connsiteY2153" fmla="*/ 3599604 h 4525940"/>
              <a:gd name="connsiteX2154" fmla="*/ 1607892 w 4545947"/>
              <a:gd name="connsiteY2154" fmla="*/ 3573621 h 4525940"/>
              <a:gd name="connsiteX2155" fmla="*/ 1582310 w 4545947"/>
              <a:gd name="connsiteY2155" fmla="*/ 3590188 h 4525940"/>
              <a:gd name="connsiteX2156" fmla="*/ 1556968 w 4545947"/>
              <a:gd name="connsiteY2156" fmla="*/ 3581059 h 4525940"/>
              <a:gd name="connsiteX2157" fmla="*/ 1548180 w 4545947"/>
              <a:gd name="connsiteY2157" fmla="*/ 3562841 h 4525940"/>
              <a:gd name="connsiteX2158" fmla="*/ 1525461 w 4545947"/>
              <a:gd name="connsiteY2158" fmla="*/ 3564887 h 4525940"/>
              <a:gd name="connsiteX2159" fmla="*/ 1521880 w 4545947"/>
              <a:gd name="connsiteY2159" fmla="*/ 3567523 h 4525940"/>
              <a:gd name="connsiteX2160" fmla="*/ 1528124 w 4545947"/>
              <a:gd name="connsiteY2160" fmla="*/ 3608537 h 4525940"/>
              <a:gd name="connsiteX2161" fmla="*/ 1534207 w 4545947"/>
              <a:gd name="connsiteY2161" fmla="*/ 3628104 h 4525940"/>
              <a:gd name="connsiteX2162" fmla="*/ 1548057 w 4545947"/>
              <a:gd name="connsiteY2162" fmla="*/ 3665312 h 4525940"/>
              <a:gd name="connsiteX2163" fmla="*/ 1562692 w 4545947"/>
              <a:gd name="connsiteY2163" fmla="*/ 3701343 h 4525940"/>
              <a:gd name="connsiteX2164" fmla="*/ 1578407 w 4545947"/>
              <a:gd name="connsiteY2164" fmla="*/ 3761403 h 4525940"/>
              <a:gd name="connsiteX2165" fmla="*/ 1582310 w 4545947"/>
              <a:gd name="connsiteY2165" fmla="*/ 3785236 h 4525940"/>
              <a:gd name="connsiteX2166" fmla="*/ 1595866 w 4545947"/>
              <a:gd name="connsiteY2166" fmla="*/ 3810012 h 4525940"/>
              <a:gd name="connsiteX2167" fmla="*/ 1609422 w 4545947"/>
              <a:gd name="connsiteY2167" fmla="*/ 3821947 h 4525940"/>
              <a:gd name="connsiteX2168" fmla="*/ 1599783 w 4545947"/>
              <a:gd name="connsiteY2168" fmla="*/ 3835903 h 4525940"/>
              <a:gd name="connsiteX2169" fmla="*/ 1592769 w 4545947"/>
              <a:gd name="connsiteY2169" fmla="*/ 3868858 h 4525940"/>
              <a:gd name="connsiteX2170" fmla="*/ 1589357 w 4545947"/>
              <a:gd name="connsiteY2170" fmla="*/ 3884504 h 4525940"/>
              <a:gd name="connsiteX2171" fmla="*/ 1588146 w 4545947"/>
              <a:gd name="connsiteY2171" fmla="*/ 3899664 h 4525940"/>
              <a:gd name="connsiteX2172" fmla="*/ 1602110 w 4545947"/>
              <a:gd name="connsiteY2172" fmla="*/ 3918177 h 4525940"/>
              <a:gd name="connsiteX2173" fmla="*/ 1628191 w 4545947"/>
              <a:gd name="connsiteY2173" fmla="*/ 3950044 h 4525940"/>
              <a:gd name="connsiteX2174" fmla="*/ 1632855 w 4545947"/>
              <a:gd name="connsiteY2174" fmla="*/ 3989399 h 4525940"/>
              <a:gd name="connsiteX2175" fmla="*/ 1631957 w 4545947"/>
              <a:gd name="connsiteY2175" fmla="*/ 4013140 h 4525940"/>
              <a:gd name="connsiteX2176" fmla="*/ 1608547 w 4545947"/>
              <a:gd name="connsiteY2176" fmla="*/ 3977962 h 4525940"/>
              <a:gd name="connsiteX2177" fmla="*/ 1603916 w 4545947"/>
              <a:gd name="connsiteY2177" fmla="*/ 3962493 h 4525940"/>
              <a:gd name="connsiteX2178" fmla="*/ 1602413 w 4545947"/>
              <a:gd name="connsiteY2178" fmla="*/ 3955165 h 4525940"/>
              <a:gd name="connsiteX2179" fmla="*/ 1596313 w 4545947"/>
              <a:gd name="connsiteY2179" fmla="*/ 3951331 h 4525940"/>
              <a:gd name="connsiteX2180" fmla="*/ 1579635 w 4545947"/>
              <a:gd name="connsiteY2180" fmla="*/ 3938084 h 4525940"/>
              <a:gd name="connsiteX2181" fmla="*/ 1566316 w 4545947"/>
              <a:gd name="connsiteY2181" fmla="*/ 3916280 h 4525940"/>
              <a:gd name="connsiteX2182" fmla="*/ 1560307 w 4545947"/>
              <a:gd name="connsiteY2182" fmla="*/ 3894122 h 4525940"/>
              <a:gd name="connsiteX2183" fmla="*/ 1530293 w 4545947"/>
              <a:gd name="connsiteY2183" fmla="*/ 3846530 h 4525940"/>
              <a:gd name="connsiteX2184" fmla="*/ 1532819 w 4545947"/>
              <a:gd name="connsiteY2184" fmla="*/ 3820661 h 4525940"/>
              <a:gd name="connsiteX2185" fmla="*/ 1536987 w 4545947"/>
              <a:gd name="connsiteY2185" fmla="*/ 3782979 h 4525940"/>
              <a:gd name="connsiteX2186" fmla="*/ 1516242 w 4545947"/>
              <a:gd name="connsiteY2186" fmla="*/ 3759906 h 4525940"/>
              <a:gd name="connsiteX2187" fmla="*/ 1505885 w 4545947"/>
              <a:gd name="connsiteY2187" fmla="*/ 3732637 h 4525940"/>
              <a:gd name="connsiteX2188" fmla="*/ 1486312 w 4545947"/>
              <a:gd name="connsiteY2188" fmla="*/ 3693337 h 4525940"/>
              <a:gd name="connsiteX2189" fmla="*/ 1447478 w 4545947"/>
              <a:gd name="connsiteY2189" fmla="*/ 3663589 h 4525940"/>
              <a:gd name="connsiteX2190" fmla="*/ 1439825 w 4545947"/>
              <a:gd name="connsiteY2190" fmla="*/ 3658612 h 4525940"/>
              <a:gd name="connsiteX2191" fmla="*/ 1444562 w 4545947"/>
              <a:gd name="connsiteY2191" fmla="*/ 3639619 h 4525940"/>
              <a:gd name="connsiteX2192" fmla="*/ 1455495 w 4545947"/>
              <a:gd name="connsiteY2192" fmla="*/ 3623575 h 4525940"/>
              <a:gd name="connsiteX2193" fmla="*/ 1460961 w 4545947"/>
              <a:gd name="connsiteY2193" fmla="*/ 3617522 h 4525940"/>
              <a:gd name="connsiteX2194" fmla="*/ 1452837 w 4545947"/>
              <a:gd name="connsiteY2194" fmla="*/ 3603651 h 4525940"/>
              <a:gd name="connsiteX2195" fmla="*/ 1436789 w 4545947"/>
              <a:gd name="connsiteY2195" fmla="*/ 3558195 h 4525940"/>
              <a:gd name="connsiteX2196" fmla="*/ 1396928 w 4545947"/>
              <a:gd name="connsiteY2196" fmla="*/ 3504024 h 4525940"/>
              <a:gd name="connsiteX2197" fmla="*/ 1403198 w 4545947"/>
              <a:gd name="connsiteY2197" fmla="*/ 3544914 h 4525940"/>
              <a:gd name="connsiteX2198" fmla="*/ 1413240 w 4545947"/>
              <a:gd name="connsiteY2198" fmla="*/ 3599452 h 4525940"/>
              <a:gd name="connsiteX2199" fmla="*/ 1421808 w 4545947"/>
              <a:gd name="connsiteY2199" fmla="*/ 3648957 h 4525940"/>
              <a:gd name="connsiteX2200" fmla="*/ 1425263 w 4545947"/>
              <a:gd name="connsiteY2200" fmla="*/ 3671274 h 4525940"/>
              <a:gd name="connsiteX2201" fmla="*/ 1424464 w 4545947"/>
              <a:gd name="connsiteY2201" fmla="*/ 3688684 h 4525940"/>
              <a:gd name="connsiteX2202" fmla="*/ 1437204 w 4545947"/>
              <a:gd name="connsiteY2202" fmla="*/ 3708117 h 4525940"/>
              <a:gd name="connsiteX2203" fmla="*/ 1446749 w 4545947"/>
              <a:gd name="connsiteY2203" fmla="*/ 3731484 h 4525940"/>
              <a:gd name="connsiteX2204" fmla="*/ 1451637 w 4545947"/>
              <a:gd name="connsiteY2204" fmla="*/ 3757202 h 4525940"/>
              <a:gd name="connsiteX2205" fmla="*/ 1453905 w 4545947"/>
              <a:gd name="connsiteY2205" fmla="*/ 3789250 h 4525940"/>
              <a:gd name="connsiteX2206" fmla="*/ 1459949 w 4545947"/>
              <a:gd name="connsiteY2206" fmla="*/ 3824758 h 4525940"/>
              <a:gd name="connsiteX2207" fmla="*/ 1468613 w 4545947"/>
              <a:gd name="connsiteY2207" fmla="*/ 3839789 h 4525940"/>
              <a:gd name="connsiteX2208" fmla="*/ 1475477 w 4545947"/>
              <a:gd name="connsiteY2208" fmla="*/ 3855234 h 4525940"/>
              <a:gd name="connsiteX2209" fmla="*/ 1480511 w 4545947"/>
              <a:gd name="connsiteY2209" fmla="*/ 3873606 h 4525940"/>
              <a:gd name="connsiteX2210" fmla="*/ 1494666 w 4545947"/>
              <a:gd name="connsiteY2210" fmla="*/ 3899185 h 4525940"/>
              <a:gd name="connsiteX2211" fmla="*/ 1499224 w 4545947"/>
              <a:gd name="connsiteY2211" fmla="*/ 3921197 h 4525940"/>
              <a:gd name="connsiteX2212" fmla="*/ 1509610 w 4545947"/>
              <a:gd name="connsiteY2212" fmla="*/ 3953061 h 4525940"/>
              <a:gd name="connsiteX2213" fmla="*/ 1516169 w 4545947"/>
              <a:gd name="connsiteY2213" fmla="*/ 3997802 h 4525940"/>
              <a:gd name="connsiteX2214" fmla="*/ 1512343 w 4545947"/>
              <a:gd name="connsiteY2214" fmla="*/ 3994521 h 4525940"/>
              <a:gd name="connsiteX2215" fmla="*/ 1506257 w 4545947"/>
              <a:gd name="connsiteY2215" fmla="*/ 3987817 h 4525940"/>
              <a:gd name="connsiteX2216" fmla="*/ 1497656 w 4545947"/>
              <a:gd name="connsiteY2216" fmla="*/ 3973300 h 4525940"/>
              <a:gd name="connsiteX2217" fmla="*/ 1478220 w 4545947"/>
              <a:gd name="connsiteY2217" fmla="*/ 3947976 h 4525940"/>
              <a:gd name="connsiteX2218" fmla="*/ 1448741 w 4545947"/>
              <a:gd name="connsiteY2218" fmla="*/ 3950719 h 4525940"/>
              <a:gd name="connsiteX2219" fmla="*/ 1461808 w 4545947"/>
              <a:gd name="connsiteY2219" fmla="*/ 3985538 h 4525940"/>
              <a:gd name="connsiteX2220" fmla="*/ 1481440 w 4545947"/>
              <a:gd name="connsiteY2220" fmla="*/ 4006809 h 4525940"/>
              <a:gd name="connsiteX2221" fmla="*/ 1496501 w 4545947"/>
              <a:gd name="connsiteY2221" fmla="*/ 4041629 h 4525940"/>
              <a:gd name="connsiteX2222" fmla="*/ 1493287 w 4545947"/>
              <a:gd name="connsiteY2222" fmla="*/ 4049433 h 4525940"/>
              <a:gd name="connsiteX2223" fmla="*/ 1472986 w 4545947"/>
              <a:gd name="connsiteY2223" fmla="*/ 4080292 h 4525940"/>
              <a:gd name="connsiteX2224" fmla="*/ 1442104 w 4545947"/>
              <a:gd name="connsiteY2224" fmla="*/ 4115143 h 4525940"/>
              <a:gd name="connsiteX2225" fmla="*/ 1418702 w 4545947"/>
              <a:gd name="connsiteY2225" fmla="*/ 4130309 h 4525940"/>
              <a:gd name="connsiteX2226" fmla="*/ 1406504 w 4545947"/>
              <a:gd name="connsiteY2226" fmla="*/ 4146676 h 4525940"/>
              <a:gd name="connsiteX2227" fmla="*/ 1417881 w 4545947"/>
              <a:gd name="connsiteY2227" fmla="*/ 4160828 h 4525940"/>
              <a:gd name="connsiteX2228" fmla="*/ 1429257 w 4545947"/>
              <a:gd name="connsiteY2228" fmla="*/ 4181169 h 4525940"/>
              <a:gd name="connsiteX2229" fmla="*/ 1438003 w 4545947"/>
              <a:gd name="connsiteY2229" fmla="*/ 4195266 h 4525940"/>
              <a:gd name="connsiteX2230" fmla="*/ 1441283 w 4545947"/>
              <a:gd name="connsiteY2230" fmla="*/ 4221961 h 4525940"/>
              <a:gd name="connsiteX2231" fmla="*/ 1422992 w 4545947"/>
              <a:gd name="connsiteY2231" fmla="*/ 4198318 h 4525940"/>
              <a:gd name="connsiteX2232" fmla="*/ 1411471 w 4545947"/>
              <a:gd name="connsiteY2232" fmla="*/ 4184073 h 4525940"/>
              <a:gd name="connsiteX2233" fmla="*/ 1403020 w 4545947"/>
              <a:gd name="connsiteY2233" fmla="*/ 4172819 h 4525940"/>
              <a:gd name="connsiteX2234" fmla="*/ 1380062 w 4545947"/>
              <a:gd name="connsiteY2234" fmla="*/ 4138288 h 4525940"/>
              <a:gd name="connsiteX2235" fmla="*/ 1376782 w 4545947"/>
              <a:gd name="connsiteY2235" fmla="*/ 4130261 h 4525940"/>
              <a:gd name="connsiteX2236" fmla="*/ 1368775 w 4545947"/>
              <a:gd name="connsiteY2236" fmla="*/ 4120765 h 4525940"/>
              <a:gd name="connsiteX2237" fmla="*/ 1354046 w 4545947"/>
              <a:gd name="connsiteY2237" fmla="*/ 4071017 h 4525940"/>
              <a:gd name="connsiteX2238" fmla="*/ 1352620 w 4545947"/>
              <a:gd name="connsiteY2238" fmla="*/ 4044661 h 4525940"/>
              <a:gd name="connsiteX2239" fmla="*/ 1329483 w 4545947"/>
              <a:gd name="connsiteY2239" fmla="*/ 4059093 h 4525940"/>
              <a:gd name="connsiteX2240" fmla="*/ 1315264 w 4545947"/>
              <a:gd name="connsiteY2240" fmla="*/ 4077582 h 4525940"/>
              <a:gd name="connsiteX2241" fmla="*/ 1322597 w 4545947"/>
              <a:gd name="connsiteY2241" fmla="*/ 4121336 h 4525940"/>
              <a:gd name="connsiteX2242" fmla="*/ 1328680 w 4545947"/>
              <a:gd name="connsiteY2242" fmla="*/ 4139757 h 4525940"/>
              <a:gd name="connsiteX2243" fmla="*/ 1335239 w 4545947"/>
              <a:gd name="connsiteY2243" fmla="*/ 4158750 h 4525940"/>
              <a:gd name="connsiteX2244" fmla="*/ 1341799 w 4545947"/>
              <a:gd name="connsiteY2244" fmla="*/ 4181683 h 4525940"/>
              <a:gd name="connsiteX2245" fmla="*/ 1346172 w 4545947"/>
              <a:gd name="connsiteY2245" fmla="*/ 4196735 h 4525940"/>
              <a:gd name="connsiteX2246" fmla="*/ 1350544 w 4545947"/>
              <a:gd name="connsiteY2246" fmla="*/ 4206232 h 4525940"/>
              <a:gd name="connsiteX2247" fmla="*/ 1354316 w 4545947"/>
              <a:gd name="connsiteY2247" fmla="*/ 4215728 h 4525940"/>
              <a:gd name="connsiteX2248" fmla="*/ 1359560 w 4545947"/>
              <a:gd name="connsiteY2248" fmla="*/ 4293840 h 4525940"/>
              <a:gd name="connsiteX2249" fmla="*/ 1352111 w 4545947"/>
              <a:gd name="connsiteY2249" fmla="*/ 4288008 h 4525940"/>
              <a:gd name="connsiteX2250" fmla="*/ 1343221 w 4545947"/>
              <a:gd name="connsiteY2250" fmla="*/ 4270808 h 4525940"/>
              <a:gd name="connsiteX2251" fmla="*/ 1337426 w 4545947"/>
              <a:gd name="connsiteY2251" fmla="*/ 4253772 h 4525940"/>
              <a:gd name="connsiteX2252" fmla="*/ 1333053 w 4545947"/>
              <a:gd name="connsiteY2252" fmla="*/ 4237886 h 4525940"/>
              <a:gd name="connsiteX2253" fmla="*/ 1328680 w 4545947"/>
              <a:gd name="connsiteY2253" fmla="*/ 4222568 h 4525940"/>
              <a:gd name="connsiteX2254" fmla="*/ 1317496 w 4545947"/>
              <a:gd name="connsiteY2254" fmla="*/ 4187305 h 4525940"/>
              <a:gd name="connsiteX2255" fmla="*/ 1308613 w 4545947"/>
              <a:gd name="connsiteY2255" fmla="*/ 4154767 h 4525940"/>
              <a:gd name="connsiteX2256" fmla="*/ 1306994 w 4545947"/>
              <a:gd name="connsiteY2256" fmla="*/ 4146088 h 4525940"/>
              <a:gd name="connsiteX2257" fmla="*/ 1295358 w 4545947"/>
              <a:gd name="connsiteY2257" fmla="*/ 4120765 h 4525940"/>
              <a:gd name="connsiteX2258" fmla="*/ 1284109 w 4545947"/>
              <a:gd name="connsiteY2258" fmla="*/ 4095441 h 4525940"/>
              <a:gd name="connsiteX2259" fmla="*/ 1280578 w 4545947"/>
              <a:gd name="connsiteY2259" fmla="*/ 4086720 h 4525940"/>
              <a:gd name="connsiteX2260" fmla="*/ 1274018 w 4545947"/>
              <a:gd name="connsiteY2260" fmla="*/ 4070118 h 4525940"/>
              <a:gd name="connsiteX2261" fmla="*/ 1267383 w 4545947"/>
              <a:gd name="connsiteY2261" fmla="*/ 4045602 h 4525940"/>
              <a:gd name="connsiteX2262" fmla="*/ 1240129 w 4545947"/>
              <a:gd name="connsiteY2262" fmla="*/ 3998638 h 4525940"/>
              <a:gd name="connsiteX2263" fmla="*/ 1232476 w 4545947"/>
              <a:gd name="connsiteY2263" fmla="*/ 3982137 h 4525940"/>
              <a:gd name="connsiteX2264" fmla="*/ 1201553 w 4545947"/>
              <a:gd name="connsiteY2264" fmla="*/ 3949831 h 4525940"/>
              <a:gd name="connsiteX2265" fmla="*/ 1191004 w 4545947"/>
              <a:gd name="connsiteY2265" fmla="*/ 3924394 h 4525940"/>
              <a:gd name="connsiteX2266" fmla="*/ 1194112 w 4545947"/>
              <a:gd name="connsiteY2266" fmla="*/ 3889076 h 4525940"/>
              <a:gd name="connsiteX2267" fmla="*/ 1178736 w 4545947"/>
              <a:gd name="connsiteY2267" fmla="*/ 3862362 h 4525940"/>
              <a:gd name="connsiteX2268" fmla="*/ 1166882 w 4545947"/>
              <a:gd name="connsiteY2268" fmla="*/ 3882485 h 4525940"/>
              <a:gd name="connsiteX2269" fmla="*/ 1173441 w 4545947"/>
              <a:gd name="connsiteY2269" fmla="*/ 3914107 h 4525940"/>
              <a:gd name="connsiteX2270" fmla="*/ 1170962 w 4545947"/>
              <a:gd name="connsiteY2270" fmla="*/ 3943924 h 4525940"/>
              <a:gd name="connsiteX2271" fmla="*/ 1167124 w 4545947"/>
              <a:gd name="connsiteY2271" fmla="*/ 3966082 h 4525940"/>
              <a:gd name="connsiteX2272" fmla="*/ 1180319 w 4545947"/>
              <a:gd name="connsiteY2272" fmla="*/ 3975155 h 4525940"/>
              <a:gd name="connsiteX2273" fmla="*/ 1191809 w 4545947"/>
              <a:gd name="connsiteY2273" fmla="*/ 3983079 h 4525940"/>
              <a:gd name="connsiteX2274" fmla="*/ 1206636 w 4545947"/>
              <a:gd name="connsiteY2274" fmla="*/ 3999437 h 4525940"/>
              <a:gd name="connsiteX2275" fmla="*/ 1218569 w 4545947"/>
              <a:gd name="connsiteY2275" fmla="*/ 4031037 h 4525940"/>
              <a:gd name="connsiteX2276" fmla="*/ 1223715 w 4545947"/>
              <a:gd name="connsiteY2276" fmla="*/ 4056394 h 4525940"/>
              <a:gd name="connsiteX2277" fmla="*/ 1234740 w 4545947"/>
              <a:gd name="connsiteY2277" fmla="*/ 4067970 h 4525940"/>
              <a:gd name="connsiteX2278" fmla="*/ 1243044 w 4545947"/>
              <a:gd name="connsiteY2278" fmla="*/ 4125505 h 4525940"/>
              <a:gd name="connsiteX2279" fmla="*/ 1235153 w 4545947"/>
              <a:gd name="connsiteY2279" fmla="*/ 4136583 h 4525940"/>
              <a:gd name="connsiteX2280" fmla="*/ 1223274 w 4545947"/>
              <a:gd name="connsiteY2280" fmla="*/ 4164622 h 4525940"/>
              <a:gd name="connsiteX2281" fmla="*/ 1214344 w 4545947"/>
              <a:gd name="connsiteY2281" fmla="*/ 4186944 h 4525940"/>
              <a:gd name="connsiteX2282" fmla="*/ 1207713 w 4545947"/>
              <a:gd name="connsiteY2282" fmla="*/ 4193168 h 4525940"/>
              <a:gd name="connsiteX2283" fmla="*/ 1206188 w 4545947"/>
              <a:gd name="connsiteY2283" fmla="*/ 4199856 h 4525940"/>
              <a:gd name="connsiteX2284" fmla="*/ 1201865 w 4545947"/>
              <a:gd name="connsiteY2284" fmla="*/ 4206484 h 4525940"/>
              <a:gd name="connsiteX2285" fmla="*/ 1235316 w 4545947"/>
              <a:gd name="connsiteY2285" fmla="*/ 4253713 h 4525940"/>
              <a:gd name="connsiteX2286" fmla="*/ 1240895 w 4545947"/>
              <a:gd name="connsiteY2286" fmla="*/ 4261626 h 4525940"/>
              <a:gd name="connsiteX2287" fmla="*/ 1252153 w 4545947"/>
              <a:gd name="connsiteY2287" fmla="*/ 4285367 h 4525940"/>
              <a:gd name="connsiteX2288" fmla="*/ 1263086 w 4545947"/>
              <a:gd name="connsiteY2288" fmla="*/ 4295120 h 4525940"/>
              <a:gd name="connsiteX2289" fmla="*/ 1244501 w 4545947"/>
              <a:gd name="connsiteY2289" fmla="*/ 4303451 h 4525940"/>
              <a:gd name="connsiteX2290" fmla="*/ 1210611 w 4545947"/>
              <a:gd name="connsiteY2290" fmla="*/ 4280227 h 4525940"/>
              <a:gd name="connsiteX2291" fmla="*/ 1204011 w 4545947"/>
              <a:gd name="connsiteY2291" fmla="*/ 4262246 h 4525940"/>
              <a:gd name="connsiteX2292" fmla="*/ 1199513 w 4545947"/>
              <a:gd name="connsiteY2292" fmla="*/ 4247770 h 4525940"/>
              <a:gd name="connsiteX2293" fmla="*/ 1182452 w 4545947"/>
              <a:gd name="connsiteY2293" fmla="*/ 4212632 h 4525940"/>
              <a:gd name="connsiteX2294" fmla="*/ 1150918 w 4545947"/>
              <a:gd name="connsiteY2294" fmla="*/ 4186912 h 4525940"/>
              <a:gd name="connsiteX2295" fmla="*/ 1135289 w 4545947"/>
              <a:gd name="connsiteY2295" fmla="*/ 4198820 h 4525940"/>
              <a:gd name="connsiteX2296" fmla="*/ 1140378 w 4545947"/>
              <a:gd name="connsiteY2296" fmla="*/ 4248933 h 4525940"/>
              <a:gd name="connsiteX2297" fmla="*/ 1150457 w 4545947"/>
              <a:gd name="connsiteY2297" fmla="*/ 4274815 h 4525940"/>
              <a:gd name="connsiteX2298" fmla="*/ 1159469 w 4545947"/>
              <a:gd name="connsiteY2298" fmla="*/ 4304632 h 4525940"/>
              <a:gd name="connsiteX2299" fmla="*/ 1166882 w 4545947"/>
              <a:gd name="connsiteY2299" fmla="*/ 4326027 h 4525940"/>
              <a:gd name="connsiteX2300" fmla="*/ 1180000 w 4545947"/>
              <a:gd name="connsiteY2300" fmla="*/ 4350870 h 4525940"/>
              <a:gd name="connsiteX2301" fmla="*/ 1193119 w 4545947"/>
              <a:gd name="connsiteY2301" fmla="*/ 4371661 h 4525940"/>
              <a:gd name="connsiteX2302" fmla="*/ 1204529 w 4545947"/>
              <a:gd name="connsiteY2302" fmla="*/ 4393713 h 4525940"/>
              <a:gd name="connsiteX2303" fmla="*/ 1203609 w 4545947"/>
              <a:gd name="connsiteY2303" fmla="*/ 4422111 h 4525940"/>
              <a:gd name="connsiteX2304" fmla="*/ 1197492 w 4545947"/>
              <a:gd name="connsiteY2304" fmla="*/ 4424845 h 4525940"/>
              <a:gd name="connsiteX2305" fmla="*/ 1178586 w 4545947"/>
              <a:gd name="connsiteY2305" fmla="*/ 4426228 h 4525940"/>
              <a:gd name="connsiteX2306" fmla="*/ 1173608 w 4545947"/>
              <a:gd name="connsiteY2306" fmla="*/ 4400905 h 4525940"/>
              <a:gd name="connsiteX2307" fmla="*/ 1167529 w 4545947"/>
              <a:gd name="connsiteY2307" fmla="*/ 4380330 h 4525940"/>
              <a:gd name="connsiteX2308" fmla="*/ 1156323 w 4545947"/>
              <a:gd name="connsiteY2308" fmla="*/ 4358354 h 4525940"/>
              <a:gd name="connsiteX2309" fmla="*/ 1144396 w 4545947"/>
              <a:gd name="connsiteY2309" fmla="*/ 4339735 h 4525940"/>
              <a:gd name="connsiteX2310" fmla="*/ 1140644 w 4545947"/>
              <a:gd name="connsiteY2310" fmla="*/ 4336772 h 4525940"/>
              <a:gd name="connsiteX2311" fmla="*/ 1122060 w 4545947"/>
              <a:gd name="connsiteY2311" fmla="*/ 4331650 h 4525940"/>
              <a:gd name="connsiteX2312" fmla="*/ 1103474 w 4545947"/>
              <a:gd name="connsiteY2312" fmla="*/ 4323352 h 4525940"/>
              <a:gd name="connsiteX2313" fmla="*/ 1115054 w 4545947"/>
              <a:gd name="connsiteY2313" fmla="*/ 4311915 h 4525940"/>
              <a:gd name="connsiteX2314" fmla="*/ 1124887 w 4545947"/>
              <a:gd name="connsiteY2314" fmla="*/ 4278494 h 4525940"/>
              <a:gd name="connsiteX2315" fmla="*/ 1118779 w 4545947"/>
              <a:gd name="connsiteY2315" fmla="*/ 4262434 h 4525940"/>
              <a:gd name="connsiteX2316" fmla="*/ 1114407 w 4545947"/>
              <a:gd name="connsiteY2316" fmla="*/ 4253713 h 4525940"/>
              <a:gd name="connsiteX2317" fmla="*/ 1110034 w 4545947"/>
              <a:gd name="connsiteY2317" fmla="*/ 4244894 h 4525940"/>
              <a:gd name="connsiteX2318" fmla="*/ 1103247 w 4545947"/>
              <a:gd name="connsiteY2318" fmla="*/ 4232305 h 4525940"/>
              <a:gd name="connsiteX2319" fmla="*/ 1099558 w 4545947"/>
              <a:gd name="connsiteY2319" fmla="*/ 4235790 h 4525940"/>
              <a:gd name="connsiteX2320" fmla="*/ 1092793 w 4545947"/>
              <a:gd name="connsiteY2320" fmla="*/ 4239312 h 4525940"/>
              <a:gd name="connsiteX2321" fmla="*/ 1085867 w 4545947"/>
              <a:gd name="connsiteY2321" fmla="*/ 4249394 h 4525940"/>
              <a:gd name="connsiteX2322" fmla="*/ 1085559 w 4545947"/>
              <a:gd name="connsiteY2322" fmla="*/ 4296446 h 4525940"/>
              <a:gd name="connsiteX2323" fmla="*/ 1079427 w 4545947"/>
              <a:gd name="connsiteY2323" fmla="*/ 4317021 h 4525940"/>
              <a:gd name="connsiteX2324" fmla="*/ 1026948 w 4545947"/>
              <a:gd name="connsiteY2324" fmla="*/ 4257083 h 4525940"/>
              <a:gd name="connsiteX2325" fmla="*/ 1019295 w 4545947"/>
              <a:gd name="connsiteY2325" fmla="*/ 4242429 h 4525940"/>
              <a:gd name="connsiteX2326" fmla="*/ 1011029 w 4545947"/>
              <a:gd name="connsiteY2326" fmla="*/ 4231555 h 4525940"/>
              <a:gd name="connsiteX2327" fmla="*/ 1007402 w 4545947"/>
              <a:gd name="connsiteY2327" fmla="*/ 4204648 h 4525940"/>
              <a:gd name="connsiteX2328" fmla="*/ 1008641 w 4545947"/>
              <a:gd name="connsiteY2328" fmla="*/ 4184073 h 4525940"/>
              <a:gd name="connsiteX2329" fmla="*/ 1008391 w 4545947"/>
              <a:gd name="connsiteY2329" fmla="*/ 4147050 h 4525940"/>
              <a:gd name="connsiteX2330" fmla="*/ 987053 w 4545947"/>
              <a:gd name="connsiteY2330" fmla="*/ 4132187 h 4525940"/>
              <a:gd name="connsiteX2331" fmla="*/ 976052 w 4545947"/>
              <a:gd name="connsiteY2331" fmla="*/ 4108153 h 4525940"/>
              <a:gd name="connsiteX2332" fmla="*/ 971471 w 4545947"/>
              <a:gd name="connsiteY2332" fmla="*/ 4077676 h 4525940"/>
              <a:gd name="connsiteX2333" fmla="*/ 963413 w 4545947"/>
              <a:gd name="connsiteY2333" fmla="*/ 4055810 h 4525940"/>
              <a:gd name="connsiteX2334" fmla="*/ 957575 w 4545947"/>
              <a:gd name="connsiteY2334" fmla="*/ 4038463 h 4525940"/>
              <a:gd name="connsiteX2335" fmla="*/ 948803 w 4545947"/>
              <a:gd name="connsiteY2335" fmla="*/ 4019035 h 4525940"/>
              <a:gd name="connsiteX2336" fmla="*/ 932430 w 4545947"/>
              <a:gd name="connsiteY2336" fmla="*/ 3984503 h 4525940"/>
              <a:gd name="connsiteX2337" fmla="*/ 922065 w 4545947"/>
              <a:gd name="connsiteY2337" fmla="*/ 3961198 h 4525940"/>
              <a:gd name="connsiteX2338" fmla="*/ 926371 w 4545947"/>
              <a:gd name="connsiteY2338" fmla="*/ 3962493 h 4525940"/>
              <a:gd name="connsiteX2339" fmla="*/ 930677 w 4545947"/>
              <a:gd name="connsiteY2339" fmla="*/ 3964851 h 4525940"/>
              <a:gd name="connsiteX2340" fmla="*/ 924185 w 4545947"/>
              <a:gd name="connsiteY2340" fmla="*/ 3949831 h 4525940"/>
              <a:gd name="connsiteX2341" fmla="*/ 917625 w 4545947"/>
              <a:gd name="connsiteY2341" fmla="*/ 3931045 h 4525940"/>
              <a:gd name="connsiteX2342" fmla="*/ 908879 w 4545947"/>
              <a:gd name="connsiteY2342" fmla="*/ 3908681 h 4525940"/>
              <a:gd name="connsiteX2343" fmla="*/ 900133 w 4545947"/>
              <a:gd name="connsiteY2343" fmla="*/ 3875582 h 4525940"/>
              <a:gd name="connsiteX2344" fmla="*/ 882642 w 4545947"/>
              <a:gd name="connsiteY2344" fmla="*/ 3831209 h 4525940"/>
              <a:gd name="connsiteX2345" fmla="*/ 865150 w 4545947"/>
              <a:gd name="connsiteY2345" fmla="*/ 3784868 h 4525940"/>
              <a:gd name="connsiteX2346" fmla="*/ 858591 w 4545947"/>
              <a:gd name="connsiteY2346" fmla="*/ 3757617 h 4525940"/>
              <a:gd name="connsiteX2347" fmla="*/ 852031 w 4545947"/>
              <a:gd name="connsiteY2347" fmla="*/ 3717196 h 4525940"/>
              <a:gd name="connsiteX2348" fmla="*/ 843285 w 4545947"/>
              <a:gd name="connsiteY2348" fmla="*/ 3669577 h 4525940"/>
              <a:gd name="connsiteX2349" fmla="*/ 834539 w 4545947"/>
              <a:gd name="connsiteY2349" fmla="*/ 3648804 h 4525940"/>
              <a:gd name="connsiteX2350" fmla="*/ 830798 w 4545947"/>
              <a:gd name="connsiteY2350" fmla="*/ 3642220 h 4525940"/>
              <a:gd name="connsiteX2351" fmla="*/ 829106 w 4545947"/>
              <a:gd name="connsiteY2351" fmla="*/ 3630048 h 4525940"/>
              <a:gd name="connsiteX2352" fmla="*/ 803657 w 4545947"/>
              <a:gd name="connsiteY2352" fmla="*/ 3596041 h 4525940"/>
              <a:gd name="connsiteX2353" fmla="*/ 777265 w 4545947"/>
              <a:gd name="connsiteY2353" fmla="*/ 3578868 h 4525940"/>
              <a:gd name="connsiteX2354" fmla="*/ 755827 w 4545947"/>
              <a:gd name="connsiteY2354" fmla="*/ 3540146 h 4525940"/>
              <a:gd name="connsiteX2355" fmla="*/ 751454 w 4545947"/>
              <a:gd name="connsiteY2355" fmla="*/ 3531995 h 4525940"/>
              <a:gd name="connsiteX2356" fmla="*/ 747081 w 4545947"/>
              <a:gd name="connsiteY2356" fmla="*/ 3516168 h 4525940"/>
              <a:gd name="connsiteX2357" fmla="*/ 762326 w 4545947"/>
              <a:gd name="connsiteY2357" fmla="*/ 3510362 h 4525940"/>
              <a:gd name="connsiteX2358" fmla="*/ 789966 w 4545947"/>
              <a:gd name="connsiteY2358" fmla="*/ 3491886 h 4525940"/>
              <a:gd name="connsiteX2359" fmla="*/ 774412 w 4545947"/>
              <a:gd name="connsiteY2359" fmla="*/ 3465794 h 4525940"/>
              <a:gd name="connsiteX2360" fmla="*/ 760200 w 4545947"/>
              <a:gd name="connsiteY2360" fmla="*/ 3445219 h 4525940"/>
              <a:gd name="connsiteX2361" fmla="*/ 766020 w 4545947"/>
              <a:gd name="connsiteY2361" fmla="*/ 3430701 h 4525940"/>
              <a:gd name="connsiteX2362" fmla="*/ 777808 w 4545947"/>
              <a:gd name="connsiteY2362" fmla="*/ 3414557 h 4525940"/>
              <a:gd name="connsiteX2363" fmla="*/ 771392 w 4545947"/>
              <a:gd name="connsiteY2363" fmla="*/ 3383009 h 4525940"/>
              <a:gd name="connsiteX2364" fmla="*/ 764313 w 4545947"/>
              <a:gd name="connsiteY2364" fmla="*/ 3358350 h 4525940"/>
              <a:gd name="connsiteX2365" fmla="*/ 768188 w 4545947"/>
              <a:gd name="connsiteY2365" fmla="*/ 3334504 h 4525940"/>
              <a:gd name="connsiteX2366" fmla="*/ 743360 w 4545947"/>
              <a:gd name="connsiteY2366" fmla="*/ 3335738 h 4525940"/>
              <a:gd name="connsiteX2367" fmla="*/ 719750 w 4545947"/>
              <a:gd name="connsiteY2367" fmla="*/ 3360965 h 4525940"/>
              <a:gd name="connsiteX2368" fmla="*/ 707725 w 4545947"/>
              <a:gd name="connsiteY2368" fmla="*/ 3376437 h 4525940"/>
              <a:gd name="connsiteX2369" fmla="*/ 728262 w 4545947"/>
              <a:gd name="connsiteY2369" fmla="*/ 3411709 h 4525940"/>
              <a:gd name="connsiteX2370" fmla="*/ 732322 w 4545947"/>
              <a:gd name="connsiteY2370" fmla="*/ 3431493 h 4525940"/>
              <a:gd name="connsiteX2371" fmla="*/ 729589 w 4545947"/>
              <a:gd name="connsiteY2371" fmla="*/ 3456816 h 4525940"/>
              <a:gd name="connsiteX2372" fmla="*/ 721191 w 4545947"/>
              <a:gd name="connsiteY2372" fmla="*/ 3462355 h 4525940"/>
              <a:gd name="connsiteX2373" fmla="*/ 709911 w 4545947"/>
              <a:gd name="connsiteY2373" fmla="*/ 3443363 h 4525940"/>
              <a:gd name="connsiteX2374" fmla="*/ 703479 w 4545947"/>
              <a:gd name="connsiteY2374" fmla="*/ 3424370 h 4525940"/>
              <a:gd name="connsiteX2375" fmla="*/ 697371 w 4545947"/>
              <a:gd name="connsiteY2375" fmla="*/ 3409629 h 4525940"/>
              <a:gd name="connsiteX2376" fmla="*/ 671316 w 4545947"/>
              <a:gd name="connsiteY2376" fmla="*/ 3385041 h 4525940"/>
              <a:gd name="connsiteX2377" fmla="*/ 667444 w 4545947"/>
              <a:gd name="connsiteY2377" fmla="*/ 3424370 h 4525940"/>
              <a:gd name="connsiteX2378" fmla="*/ 678776 w 4545947"/>
              <a:gd name="connsiteY2378" fmla="*/ 3449694 h 4525940"/>
              <a:gd name="connsiteX2379" fmla="*/ 690046 w 4545947"/>
              <a:gd name="connsiteY2379" fmla="*/ 3475017 h 4525940"/>
              <a:gd name="connsiteX2380" fmla="*/ 696565 w 4545947"/>
              <a:gd name="connsiteY2380" fmla="*/ 3509394 h 4525940"/>
              <a:gd name="connsiteX2381" fmla="*/ 705815 w 4545947"/>
              <a:gd name="connsiteY2381" fmla="*/ 3551320 h 4525940"/>
              <a:gd name="connsiteX2382" fmla="*/ 699374 w 4545947"/>
              <a:gd name="connsiteY2382" fmla="*/ 3567879 h 4525940"/>
              <a:gd name="connsiteX2383" fmla="*/ 684206 w 4545947"/>
              <a:gd name="connsiteY2383" fmla="*/ 3573418 h 4525940"/>
              <a:gd name="connsiteX2384" fmla="*/ 670986 w 4545947"/>
              <a:gd name="connsiteY2384" fmla="*/ 3582642 h 4525940"/>
              <a:gd name="connsiteX2385" fmla="*/ 664136 w 4545947"/>
              <a:gd name="connsiteY2385" fmla="*/ 3541275 h 4525940"/>
              <a:gd name="connsiteX2386" fmla="*/ 671478 w 4545947"/>
              <a:gd name="connsiteY2386" fmla="*/ 3517368 h 4525940"/>
              <a:gd name="connsiteX2387" fmla="*/ 650877 w 4545947"/>
              <a:gd name="connsiteY2387" fmla="*/ 3507379 h 4525940"/>
              <a:gd name="connsiteX2388" fmla="*/ 632292 w 4545947"/>
              <a:gd name="connsiteY2388" fmla="*/ 3511535 h 4525940"/>
              <a:gd name="connsiteX2389" fmla="*/ 612262 w 4545947"/>
              <a:gd name="connsiteY2389" fmla="*/ 3524603 h 4525940"/>
              <a:gd name="connsiteX2390" fmla="*/ 616883 w 4545947"/>
              <a:gd name="connsiteY2390" fmla="*/ 3549927 h 4525940"/>
              <a:gd name="connsiteX2391" fmla="*/ 604596 w 4545947"/>
              <a:gd name="connsiteY2391" fmla="*/ 3582818 h 4525940"/>
              <a:gd name="connsiteX2392" fmla="*/ 578723 w 4545947"/>
              <a:gd name="connsiteY2392" fmla="*/ 3563624 h 4525940"/>
              <a:gd name="connsiteX2393" fmla="*/ 550299 w 4545947"/>
              <a:gd name="connsiteY2393" fmla="*/ 3514565 h 4525940"/>
              <a:gd name="connsiteX2394" fmla="*/ 543740 w 4545947"/>
              <a:gd name="connsiteY2394" fmla="*/ 3479059 h 4525940"/>
              <a:gd name="connsiteX2395" fmla="*/ 537180 w 4545947"/>
              <a:gd name="connsiteY2395" fmla="*/ 3459388 h 4525940"/>
              <a:gd name="connsiteX2396" fmla="*/ 532807 w 4545947"/>
              <a:gd name="connsiteY2396" fmla="*/ 3443363 h 4525940"/>
              <a:gd name="connsiteX2397" fmla="*/ 528435 w 4545947"/>
              <a:gd name="connsiteY2397" fmla="*/ 3432141 h 4525940"/>
              <a:gd name="connsiteX2398" fmla="*/ 510943 w 4545947"/>
              <a:gd name="connsiteY2398" fmla="*/ 3399047 h 4525940"/>
              <a:gd name="connsiteX2399" fmla="*/ 493451 w 4545947"/>
              <a:gd name="connsiteY2399" fmla="*/ 3366729 h 4525940"/>
              <a:gd name="connsiteX2400" fmla="*/ 486983 w 4545947"/>
              <a:gd name="connsiteY2400" fmla="*/ 3348509 h 4525940"/>
              <a:gd name="connsiteX2401" fmla="*/ 467214 w 4545947"/>
              <a:gd name="connsiteY2401" fmla="*/ 3290823 h 4525940"/>
              <a:gd name="connsiteX2402" fmla="*/ 462770 w 4545947"/>
              <a:gd name="connsiteY2402" fmla="*/ 3275532 h 4525940"/>
              <a:gd name="connsiteX2403" fmla="*/ 460480 w 4545947"/>
              <a:gd name="connsiteY2403" fmla="*/ 3266508 h 4525940"/>
              <a:gd name="connsiteX2404" fmla="*/ 453925 w 4545947"/>
              <a:gd name="connsiteY2404" fmla="*/ 3250050 h 4525940"/>
              <a:gd name="connsiteX2405" fmla="*/ 442490 w 4545947"/>
              <a:gd name="connsiteY2405" fmla="*/ 3213955 h 4525940"/>
              <a:gd name="connsiteX2406" fmla="*/ 429437 w 4545947"/>
              <a:gd name="connsiteY2406" fmla="*/ 3179475 h 4525940"/>
              <a:gd name="connsiteX2407" fmla="*/ 419111 w 4545947"/>
              <a:gd name="connsiteY2407" fmla="*/ 3129631 h 4525940"/>
              <a:gd name="connsiteX2408" fmla="*/ 414739 w 4545947"/>
              <a:gd name="connsiteY2408" fmla="*/ 3085670 h 4525940"/>
              <a:gd name="connsiteX2409" fmla="*/ 415429 w 4545947"/>
              <a:gd name="connsiteY2409" fmla="*/ 3055792 h 4525940"/>
              <a:gd name="connsiteX2410" fmla="*/ 393008 w 4545947"/>
              <a:gd name="connsiteY2410" fmla="*/ 3000795 h 4525940"/>
              <a:gd name="connsiteX2411" fmla="*/ 371009 w 4545947"/>
              <a:gd name="connsiteY2411" fmla="*/ 2946175 h 4525940"/>
              <a:gd name="connsiteX2412" fmla="*/ 364450 w 4545947"/>
              <a:gd name="connsiteY2412" fmla="*/ 2905240 h 4525940"/>
              <a:gd name="connsiteX2413" fmla="*/ 357891 w 4545947"/>
              <a:gd name="connsiteY2413" fmla="*/ 2879142 h 4525940"/>
              <a:gd name="connsiteX2414" fmla="*/ 353227 w 4545947"/>
              <a:gd name="connsiteY2414" fmla="*/ 2860924 h 4525940"/>
              <a:gd name="connsiteX2415" fmla="*/ 349948 w 4545947"/>
              <a:gd name="connsiteY2415" fmla="*/ 2843514 h 4525940"/>
              <a:gd name="connsiteX2416" fmla="*/ 340471 w 4545947"/>
              <a:gd name="connsiteY2416" fmla="*/ 2811971 h 4525940"/>
              <a:gd name="connsiteX2417" fmla="*/ 330125 w 4545947"/>
              <a:gd name="connsiteY2417" fmla="*/ 2770820 h 4525940"/>
              <a:gd name="connsiteX2418" fmla="*/ 327866 w 4545947"/>
              <a:gd name="connsiteY2418" fmla="*/ 2740638 h 4525940"/>
              <a:gd name="connsiteX2419" fmla="*/ 305415 w 4545947"/>
              <a:gd name="connsiteY2419" fmla="*/ 2661333 h 4525940"/>
              <a:gd name="connsiteX2420" fmla="*/ 301042 w 4545947"/>
              <a:gd name="connsiteY2420" fmla="*/ 2645675 h 4525940"/>
              <a:gd name="connsiteX2421" fmla="*/ 296670 w 4545947"/>
              <a:gd name="connsiteY2421" fmla="*/ 2612049 h 4525940"/>
              <a:gd name="connsiteX2422" fmla="*/ 286831 w 4545947"/>
              <a:gd name="connsiteY2422" fmla="*/ 2563152 h 4525940"/>
              <a:gd name="connsiteX2423" fmla="*/ 276187 w 4545947"/>
              <a:gd name="connsiteY2423" fmla="*/ 2538217 h 4525940"/>
              <a:gd name="connsiteX2424" fmla="*/ 263140 w 4545947"/>
              <a:gd name="connsiteY2424" fmla="*/ 2450618 h 4525940"/>
              <a:gd name="connsiteX2425" fmla="*/ 257313 w 4545947"/>
              <a:gd name="connsiteY2425" fmla="*/ 2433139 h 4525940"/>
              <a:gd name="connsiteX2426" fmla="*/ 252940 w 4545947"/>
              <a:gd name="connsiteY2426" fmla="*/ 2424095 h 4525940"/>
              <a:gd name="connsiteX2427" fmla="*/ 248567 w 4545947"/>
              <a:gd name="connsiteY2427" fmla="*/ 2395606 h 4525940"/>
              <a:gd name="connsiteX2428" fmla="*/ 243727 w 4545947"/>
              <a:gd name="connsiteY2428" fmla="*/ 2367117 h 4525940"/>
              <a:gd name="connsiteX2429" fmla="*/ 241245 w 4545947"/>
              <a:gd name="connsiteY2429" fmla="*/ 2358215 h 4525940"/>
              <a:gd name="connsiteX2430" fmla="*/ 235154 w 4545947"/>
              <a:gd name="connsiteY2430" fmla="*/ 2338242 h 4525940"/>
              <a:gd name="connsiteX2431" fmla="*/ 226703 w 4545947"/>
              <a:gd name="connsiteY2431" fmla="*/ 2307402 h 4525940"/>
              <a:gd name="connsiteX2432" fmla="*/ 220505 w 4545947"/>
              <a:gd name="connsiteY2432" fmla="*/ 2274822 h 4525940"/>
              <a:gd name="connsiteX2433" fmla="*/ 211334 w 4545947"/>
              <a:gd name="connsiteY2433" fmla="*/ 2237011 h 4525940"/>
              <a:gd name="connsiteX2434" fmla="*/ 194546 w 4545947"/>
              <a:gd name="connsiteY2434" fmla="*/ 2177191 h 4525940"/>
              <a:gd name="connsiteX2435" fmla="*/ 192550 w 4545947"/>
              <a:gd name="connsiteY2435" fmla="*/ 2155033 h 4525940"/>
              <a:gd name="connsiteX2436" fmla="*/ 190841 w 4545947"/>
              <a:gd name="connsiteY2436" fmla="*/ 2132875 h 4525940"/>
              <a:gd name="connsiteX2437" fmla="*/ 187346 w 4545947"/>
              <a:gd name="connsiteY2437" fmla="*/ 2120214 h 4525940"/>
              <a:gd name="connsiteX2438" fmla="*/ 183172 w 4545947"/>
              <a:gd name="connsiteY2438" fmla="*/ 2107552 h 4525940"/>
              <a:gd name="connsiteX2439" fmla="*/ 176125 w 4545947"/>
              <a:gd name="connsiteY2439" fmla="*/ 2085394 h 4525940"/>
              <a:gd name="connsiteX2440" fmla="*/ 169368 w 4545947"/>
              <a:gd name="connsiteY2440" fmla="*/ 2063236 h 4525940"/>
              <a:gd name="connsiteX2441" fmla="*/ 165482 w 4545947"/>
              <a:gd name="connsiteY2441" fmla="*/ 2050375 h 4525940"/>
              <a:gd name="connsiteX2442" fmla="*/ 158923 w 4545947"/>
              <a:gd name="connsiteY2442" fmla="*/ 2033872 h 4525940"/>
              <a:gd name="connsiteX2443" fmla="*/ 152363 w 4545947"/>
              <a:gd name="connsiteY2443" fmla="*/ 2012836 h 4525940"/>
              <a:gd name="connsiteX2444" fmla="*/ 121961 w 4545947"/>
              <a:gd name="connsiteY2444" fmla="*/ 1961942 h 4525940"/>
              <a:gd name="connsiteX2445" fmla="*/ 113007 w 4545947"/>
              <a:gd name="connsiteY2445" fmla="*/ 1952973 h 4525940"/>
              <a:gd name="connsiteX2446" fmla="*/ 107847 w 4545947"/>
              <a:gd name="connsiteY2446" fmla="*/ 1941515 h 4525940"/>
              <a:gd name="connsiteX2447" fmla="*/ 105462 w 4545947"/>
              <a:gd name="connsiteY2447" fmla="*/ 1928555 h 4525940"/>
              <a:gd name="connsiteX2448" fmla="*/ 121932 w 4545947"/>
              <a:gd name="connsiteY2448" fmla="*/ 1924997 h 4525940"/>
              <a:gd name="connsiteX2449" fmla="*/ 142816 w 4545947"/>
              <a:gd name="connsiteY2449" fmla="*/ 1921499 h 4525940"/>
              <a:gd name="connsiteX2450" fmla="*/ 144625 w 4545947"/>
              <a:gd name="connsiteY2450" fmla="*/ 1898617 h 4525940"/>
              <a:gd name="connsiteX2451" fmla="*/ 139244 w 4545947"/>
              <a:gd name="connsiteY2451" fmla="*/ 1871497 h 4525940"/>
              <a:gd name="connsiteX2452" fmla="*/ 135208 w 4545947"/>
              <a:gd name="connsiteY2452" fmla="*/ 1850836 h 4525940"/>
              <a:gd name="connsiteX2453" fmla="*/ 126665 w 4545947"/>
              <a:gd name="connsiteY2453" fmla="*/ 1784678 h 4525940"/>
              <a:gd name="connsiteX2454" fmla="*/ 108293 w 4545947"/>
              <a:gd name="connsiteY2454" fmla="*/ 1664392 h 4525940"/>
              <a:gd name="connsiteX2455" fmla="*/ 102962 w 4545947"/>
              <a:gd name="connsiteY2455" fmla="*/ 1636921 h 4525940"/>
              <a:gd name="connsiteX2456" fmla="*/ 94702 w 4545947"/>
              <a:gd name="connsiteY2456" fmla="*/ 1602831 h 4525940"/>
              <a:gd name="connsiteX2457" fmla="*/ 98128 w 4545947"/>
              <a:gd name="connsiteY2457" fmla="*/ 1453577 h 4525940"/>
              <a:gd name="connsiteX2458" fmla="*/ 104261 w 4545947"/>
              <a:gd name="connsiteY2458" fmla="*/ 1427347 h 4525940"/>
              <a:gd name="connsiteX2459" fmla="*/ 110821 w 4545947"/>
              <a:gd name="connsiteY2459" fmla="*/ 1402538 h 4525940"/>
              <a:gd name="connsiteX2460" fmla="*/ 117380 w 4545947"/>
              <a:gd name="connsiteY2460" fmla="*/ 1386808 h 4525940"/>
              <a:gd name="connsiteX2461" fmla="*/ 123939 w 4545947"/>
              <a:gd name="connsiteY2461" fmla="*/ 1366842 h 4525940"/>
              <a:gd name="connsiteX2462" fmla="*/ 130498 w 4545947"/>
              <a:gd name="connsiteY2462" fmla="*/ 1341518 h 4525940"/>
              <a:gd name="connsiteX2463" fmla="*/ 163457 w 4545947"/>
              <a:gd name="connsiteY2463" fmla="*/ 1308631 h 4525940"/>
              <a:gd name="connsiteX2464" fmla="*/ 198730 w 4545947"/>
              <a:gd name="connsiteY2464" fmla="*/ 1253312 h 4525940"/>
              <a:gd name="connsiteX2465" fmla="*/ 204698 w 4545947"/>
              <a:gd name="connsiteY2465" fmla="*/ 1210441 h 4525940"/>
              <a:gd name="connsiteX2466" fmla="*/ 213584 w 4545947"/>
              <a:gd name="connsiteY2466" fmla="*/ 1192440 h 4525940"/>
              <a:gd name="connsiteX2467" fmla="*/ 224517 w 4545947"/>
              <a:gd name="connsiteY2467" fmla="*/ 1170585 h 4525940"/>
              <a:gd name="connsiteX2468" fmla="*/ 235449 w 4545947"/>
              <a:gd name="connsiteY2468" fmla="*/ 1144933 h 4525940"/>
              <a:gd name="connsiteX2469" fmla="*/ 242008 w 4545947"/>
              <a:gd name="connsiteY2469" fmla="*/ 1126269 h 4525940"/>
              <a:gd name="connsiteX2470" fmla="*/ 248567 w 4545947"/>
              <a:gd name="connsiteY2470" fmla="*/ 1109667 h 4525940"/>
              <a:gd name="connsiteX2471" fmla="*/ 252548 w 4545947"/>
              <a:gd name="connsiteY2471" fmla="*/ 1100946 h 4525940"/>
              <a:gd name="connsiteX2472" fmla="*/ 259624 w 4545947"/>
              <a:gd name="connsiteY2472" fmla="*/ 1047134 h 4525940"/>
              <a:gd name="connsiteX2473" fmla="*/ 266576 w 4545947"/>
              <a:gd name="connsiteY2473" fmla="*/ 993321 h 4525940"/>
              <a:gd name="connsiteX2474" fmla="*/ 270432 w 4545947"/>
              <a:gd name="connsiteY2474" fmla="*/ 985235 h 4525940"/>
              <a:gd name="connsiteX2475" fmla="*/ 301492 w 4545947"/>
              <a:gd name="connsiteY2475" fmla="*/ 942674 h 4525940"/>
              <a:gd name="connsiteX2476" fmla="*/ 305415 w 4545947"/>
              <a:gd name="connsiteY2476" fmla="*/ 936072 h 4525940"/>
              <a:gd name="connsiteX2477" fmla="*/ 325094 w 4545947"/>
              <a:gd name="connsiteY2477" fmla="*/ 899013 h 4525940"/>
              <a:gd name="connsiteX2478" fmla="*/ 344772 w 4545947"/>
              <a:gd name="connsiteY2478" fmla="*/ 864151 h 4525940"/>
              <a:gd name="connsiteX2479" fmla="*/ 376468 w 4545947"/>
              <a:gd name="connsiteY2479" fmla="*/ 816057 h 4525940"/>
              <a:gd name="connsiteX2480" fmla="*/ 405993 w 4545947"/>
              <a:gd name="connsiteY2480" fmla="*/ 777703 h 4525940"/>
              <a:gd name="connsiteX2481" fmla="*/ 466866 w 4545947"/>
              <a:gd name="connsiteY2481" fmla="*/ 695771 h 4525940"/>
              <a:gd name="connsiteX2482" fmla="*/ 475959 w 4545947"/>
              <a:gd name="connsiteY2482" fmla="*/ 689867 h 4525940"/>
              <a:gd name="connsiteX2483" fmla="*/ 485595 w 4545947"/>
              <a:gd name="connsiteY2483" fmla="*/ 679535 h 4525940"/>
              <a:gd name="connsiteX2484" fmla="*/ 501212 w 4545947"/>
              <a:gd name="connsiteY2484" fmla="*/ 666447 h 4525940"/>
              <a:gd name="connsiteX2485" fmla="*/ 522188 w 4545947"/>
              <a:gd name="connsiteY2485" fmla="*/ 657786 h 4525940"/>
              <a:gd name="connsiteX2486" fmla="*/ 537180 w 4545947"/>
              <a:gd name="connsiteY2486" fmla="*/ 651455 h 4525940"/>
              <a:gd name="connsiteX2487" fmla="*/ 547500 w 4545947"/>
              <a:gd name="connsiteY2487" fmla="*/ 645124 h 4525940"/>
              <a:gd name="connsiteX2488" fmla="*/ 566030 w 4545947"/>
              <a:gd name="connsiteY2488" fmla="*/ 629297 h 4525940"/>
              <a:gd name="connsiteX2489" fmla="*/ 581636 w 4545947"/>
              <a:gd name="connsiteY2489" fmla="*/ 613470 h 4525940"/>
              <a:gd name="connsiteX2490" fmla="*/ 595590 w 4545947"/>
              <a:gd name="connsiteY2490" fmla="*/ 603974 h 4525940"/>
              <a:gd name="connsiteX2491" fmla="*/ 605081 w 4545947"/>
              <a:gd name="connsiteY2491" fmla="*/ 594477 h 4525940"/>
              <a:gd name="connsiteX2492" fmla="*/ 621792 w 4545947"/>
              <a:gd name="connsiteY2492" fmla="*/ 585112 h 4525940"/>
              <a:gd name="connsiteX2493" fmla="*/ 758458 w 4545947"/>
              <a:gd name="connsiteY2493" fmla="*/ 557307 h 4525940"/>
              <a:gd name="connsiteX2494" fmla="*/ 827104 w 4545947"/>
              <a:gd name="connsiteY2494" fmla="*/ 526420 h 4525940"/>
              <a:gd name="connsiteX2495" fmla="*/ 836125 w 4545947"/>
              <a:gd name="connsiteY2495" fmla="*/ 518507 h 4525940"/>
              <a:gd name="connsiteX2496" fmla="*/ 854218 w 4545947"/>
              <a:gd name="connsiteY2496" fmla="*/ 499514 h 4525940"/>
              <a:gd name="connsiteX2497" fmla="*/ 874456 w 4545947"/>
              <a:gd name="connsiteY2497" fmla="*/ 480522 h 4525940"/>
              <a:gd name="connsiteX2498" fmla="*/ 884828 w 4545947"/>
              <a:gd name="connsiteY2498" fmla="*/ 474191 h 4525940"/>
              <a:gd name="connsiteX2499" fmla="*/ 895654 w 4545947"/>
              <a:gd name="connsiteY2499" fmla="*/ 467860 h 4525940"/>
              <a:gd name="connsiteX2500" fmla="*/ 912594 w 4545947"/>
              <a:gd name="connsiteY2500" fmla="*/ 450450 h 4525940"/>
              <a:gd name="connsiteX2501" fmla="*/ 926952 w 4545947"/>
              <a:gd name="connsiteY2501" fmla="*/ 440954 h 4525940"/>
              <a:gd name="connsiteX2502" fmla="*/ 939829 w 4545947"/>
              <a:gd name="connsiteY2502" fmla="*/ 448867 h 4525940"/>
              <a:gd name="connsiteX2503" fmla="*/ 952502 w 4545947"/>
              <a:gd name="connsiteY2503" fmla="*/ 458179 h 4525940"/>
              <a:gd name="connsiteX2504" fmla="*/ 998543 w 4545947"/>
              <a:gd name="connsiteY2504" fmla="*/ 466092 h 4525940"/>
              <a:gd name="connsiteX2505" fmla="*/ 1037211 w 4545947"/>
              <a:gd name="connsiteY2505" fmla="*/ 469443 h 4525940"/>
              <a:gd name="connsiteX2506" fmla="*/ 1042254 w 4545947"/>
              <a:gd name="connsiteY2506" fmla="*/ 474191 h 4525940"/>
              <a:gd name="connsiteX2507" fmla="*/ 1046626 w 4545947"/>
              <a:gd name="connsiteY2507" fmla="*/ 467860 h 4525940"/>
              <a:gd name="connsiteX2508" fmla="*/ 1061114 w 4545947"/>
              <a:gd name="connsiteY2508" fmla="*/ 477356 h 4525940"/>
              <a:gd name="connsiteX2509" fmla="*/ 1086902 w 4545947"/>
              <a:gd name="connsiteY2509" fmla="*/ 480522 h 4525940"/>
              <a:gd name="connsiteX2510" fmla="*/ 1109378 w 4545947"/>
              <a:gd name="connsiteY2510" fmla="*/ 486853 h 4525940"/>
              <a:gd name="connsiteX2511" fmla="*/ 1118552 w 4545947"/>
              <a:gd name="connsiteY2511" fmla="*/ 505845 h 4525940"/>
              <a:gd name="connsiteX2512" fmla="*/ 1123152 w 4545947"/>
              <a:gd name="connsiteY2512" fmla="*/ 515629 h 4525940"/>
              <a:gd name="connsiteX2513" fmla="*/ 1134085 w 4545947"/>
              <a:gd name="connsiteY2513" fmla="*/ 541240 h 4525940"/>
              <a:gd name="connsiteX2514" fmla="*/ 1145017 w 4545947"/>
              <a:gd name="connsiteY2514" fmla="*/ 566276 h 4525940"/>
              <a:gd name="connsiteX2515" fmla="*/ 1149390 w 4545947"/>
              <a:gd name="connsiteY2515" fmla="*/ 575485 h 4525940"/>
              <a:gd name="connsiteX2516" fmla="*/ 1153763 w 4545947"/>
              <a:gd name="connsiteY2516" fmla="*/ 584382 h 4525940"/>
              <a:gd name="connsiteX2517" fmla="*/ 1187659 w 4545947"/>
              <a:gd name="connsiteY2517" fmla="*/ 652617 h 4525940"/>
              <a:gd name="connsiteX2518" fmla="*/ 1254340 w 4545947"/>
              <a:gd name="connsiteY2518" fmla="*/ 749518 h 4525940"/>
              <a:gd name="connsiteX2519" fmla="*/ 1290288 w 4545947"/>
              <a:gd name="connsiteY2519" fmla="*/ 794342 h 4525940"/>
              <a:gd name="connsiteX2520" fmla="*/ 1306344 w 4545947"/>
              <a:gd name="connsiteY2520" fmla="*/ 785189 h 4525940"/>
              <a:gd name="connsiteX2521" fmla="*/ 1331406 w 4545947"/>
              <a:gd name="connsiteY2521" fmla="*/ 768222 h 4525940"/>
              <a:gd name="connsiteX2522" fmla="*/ 1357220 w 4545947"/>
              <a:gd name="connsiteY2522" fmla="*/ 780642 h 4525940"/>
              <a:gd name="connsiteX2523" fmla="*/ 1371260 w 4545947"/>
              <a:gd name="connsiteY2523" fmla="*/ 797065 h 4525940"/>
              <a:gd name="connsiteX2524" fmla="*/ 1376782 w 4545947"/>
              <a:gd name="connsiteY2524" fmla="*/ 808745 h 4525940"/>
              <a:gd name="connsiteX2525" fmla="*/ 1397898 w 4545947"/>
              <a:gd name="connsiteY2525" fmla="*/ 841380 h 4525940"/>
              <a:gd name="connsiteX2526" fmla="*/ 1403566 w 4545947"/>
              <a:gd name="connsiteY2526" fmla="*/ 854042 h 4525940"/>
              <a:gd name="connsiteX2527" fmla="*/ 1413767 w 4545947"/>
              <a:gd name="connsiteY2527" fmla="*/ 888172 h 4525940"/>
              <a:gd name="connsiteX2528" fmla="*/ 1434326 w 4545947"/>
              <a:gd name="connsiteY2528" fmla="*/ 924237 h 4525940"/>
              <a:gd name="connsiteX2529" fmla="*/ 1455432 w 4545947"/>
              <a:gd name="connsiteY2529" fmla="*/ 930013 h 4525940"/>
              <a:gd name="connsiteX2530" fmla="*/ 1463906 w 4545947"/>
              <a:gd name="connsiteY2530" fmla="*/ 905557 h 4525940"/>
              <a:gd name="connsiteX2531" fmla="*/ 1458027 w 4545947"/>
              <a:gd name="connsiteY2531" fmla="*/ 873556 h 4525940"/>
              <a:gd name="connsiteX2532" fmla="*/ 1446749 w 4545947"/>
              <a:gd name="connsiteY2532" fmla="*/ 845782 h 4525940"/>
              <a:gd name="connsiteX2533" fmla="*/ 1442667 w 4545947"/>
              <a:gd name="connsiteY2533" fmla="*/ 835050 h 4525940"/>
              <a:gd name="connsiteX2534" fmla="*/ 1437200 w 4545947"/>
              <a:gd name="connsiteY2534" fmla="*/ 817640 h 4525940"/>
              <a:gd name="connsiteX2535" fmla="*/ 1425722 w 4545947"/>
              <a:gd name="connsiteY2535" fmla="*/ 798159 h 4525940"/>
              <a:gd name="connsiteX2536" fmla="*/ 1431370 w 4545947"/>
              <a:gd name="connsiteY2536" fmla="*/ 765466 h 4525940"/>
              <a:gd name="connsiteX2537" fmla="*/ 1448402 w 4545947"/>
              <a:gd name="connsiteY2537" fmla="*/ 734883 h 4525940"/>
              <a:gd name="connsiteX2538" fmla="*/ 1461812 w 4545947"/>
              <a:gd name="connsiteY2538" fmla="*/ 714763 h 4525940"/>
              <a:gd name="connsiteX2539" fmla="*/ 1475392 w 4545947"/>
              <a:gd name="connsiteY2539" fmla="*/ 708925 h 4525940"/>
              <a:gd name="connsiteX2540" fmla="*/ 1494907 w 4545947"/>
              <a:gd name="connsiteY2540" fmla="*/ 699006 h 4525940"/>
              <a:gd name="connsiteX2541" fmla="*/ 1520814 w 4545947"/>
              <a:gd name="connsiteY2541" fmla="*/ 711175 h 4525940"/>
              <a:gd name="connsiteX2542" fmla="*/ 1542953 w 4545947"/>
              <a:gd name="connsiteY2542" fmla="*/ 721094 h 4525940"/>
              <a:gd name="connsiteX2543" fmla="*/ 1548180 w 4545947"/>
              <a:gd name="connsiteY2543" fmla="*/ 714763 h 4525940"/>
              <a:gd name="connsiteX2544" fmla="*/ 1565543 w 4545947"/>
              <a:gd name="connsiteY2544" fmla="*/ 697931 h 4525940"/>
              <a:gd name="connsiteX2545" fmla="*/ 1580569 w 4545947"/>
              <a:gd name="connsiteY2545" fmla="*/ 692004 h 4525940"/>
              <a:gd name="connsiteX2546" fmla="*/ 1579083 w 4545947"/>
              <a:gd name="connsiteY2546" fmla="*/ 716815 h 4525940"/>
              <a:gd name="connsiteX2547" fmla="*/ 1593565 w 4545947"/>
              <a:gd name="connsiteY2547" fmla="*/ 743948 h 4525940"/>
              <a:gd name="connsiteX2548" fmla="*/ 1600588 w 4545947"/>
              <a:gd name="connsiteY2548" fmla="*/ 716198 h 4525940"/>
              <a:gd name="connsiteX2549" fmla="*/ 1604075 w 4545947"/>
              <a:gd name="connsiteY2549" fmla="*/ 676922 h 4525940"/>
              <a:gd name="connsiteX2550" fmla="*/ 1610336 w 4545947"/>
              <a:gd name="connsiteY2550" fmla="*/ 655404 h 4525940"/>
              <a:gd name="connsiteX2551" fmla="*/ 1627075 w 4545947"/>
              <a:gd name="connsiteY2551" fmla="*/ 651503 h 4525940"/>
              <a:gd name="connsiteX2552" fmla="*/ 1657724 w 4545947"/>
              <a:gd name="connsiteY2552" fmla="*/ 660732 h 4525940"/>
              <a:gd name="connsiteX2553" fmla="*/ 1680927 w 4545947"/>
              <a:gd name="connsiteY2553" fmla="*/ 665854 h 4525940"/>
              <a:gd name="connsiteX2554" fmla="*/ 1711891 w 4545947"/>
              <a:gd name="connsiteY2554" fmla="*/ 679332 h 4525940"/>
              <a:gd name="connsiteX2555" fmla="*/ 1757474 w 4545947"/>
              <a:gd name="connsiteY2555" fmla="*/ 699162 h 4525940"/>
              <a:gd name="connsiteX2556" fmla="*/ 1781191 w 4545947"/>
              <a:gd name="connsiteY2556" fmla="*/ 714763 h 4525940"/>
              <a:gd name="connsiteX2557" fmla="*/ 1787837 w 4545947"/>
              <a:gd name="connsiteY2557" fmla="*/ 720473 h 4525940"/>
              <a:gd name="connsiteX2558" fmla="*/ 1804133 w 4545947"/>
              <a:gd name="connsiteY2558" fmla="*/ 738427 h 4525940"/>
              <a:gd name="connsiteX2559" fmla="*/ 1823246 w 4545947"/>
              <a:gd name="connsiteY2559" fmla="*/ 770607 h 4525940"/>
              <a:gd name="connsiteX2560" fmla="*/ 1854936 w 4545947"/>
              <a:gd name="connsiteY2560" fmla="*/ 808560 h 4525940"/>
              <a:gd name="connsiteX2561" fmla="*/ 1874886 w 4545947"/>
              <a:gd name="connsiteY2561" fmla="*/ 818655 h 4525940"/>
              <a:gd name="connsiteX2562" fmla="*/ 1890018 w 4545947"/>
              <a:gd name="connsiteY2562" fmla="*/ 835050 h 4525940"/>
              <a:gd name="connsiteX2563" fmla="*/ 1924029 w 4545947"/>
              <a:gd name="connsiteY2563" fmla="*/ 879848 h 4525940"/>
              <a:gd name="connsiteX2564" fmla="*/ 1970767 w 4545947"/>
              <a:gd name="connsiteY2564" fmla="*/ 928208 h 4525940"/>
              <a:gd name="connsiteX2565" fmla="*/ 1992216 w 4545947"/>
              <a:gd name="connsiteY2565" fmla="*/ 937930 h 4525940"/>
              <a:gd name="connsiteX2566" fmla="*/ 2004549 w 4545947"/>
              <a:gd name="connsiteY2566" fmla="*/ 940246 h 4525940"/>
              <a:gd name="connsiteX2567" fmla="*/ 2000233 w 4545947"/>
              <a:gd name="connsiteY2567" fmla="*/ 905653 h 4525940"/>
              <a:gd name="connsiteX2568" fmla="*/ 1980246 w 4545947"/>
              <a:gd name="connsiteY2568" fmla="*/ 879818 h 4525940"/>
              <a:gd name="connsiteX2569" fmla="*/ 2000661 w 4545947"/>
              <a:gd name="connsiteY2569" fmla="*/ 880614 h 4525940"/>
              <a:gd name="connsiteX2570" fmla="*/ 2028302 w 4545947"/>
              <a:gd name="connsiteY2570" fmla="*/ 869933 h 4525940"/>
              <a:gd name="connsiteX2571" fmla="*/ 2041467 w 4545947"/>
              <a:gd name="connsiteY2571" fmla="*/ 837031 h 4525940"/>
              <a:gd name="connsiteX2572" fmla="*/ 2048027 w 4545947"/>
              <a:gd name="connsiteY2572" fmla="*/ 822388 h 4525940"/>
              <a:gd name="connsiteX2573" fmla="*/ 2054585 w 4545947"/>
              <a:gd name="connsiteY2573" fmla="*/ 828761 h 4525940"/>
              <a:gd name="connsiteX2574" fmla="*/ 2065253 w 4545947"/>
              <a:gd name="connsiteY2574" fmla="*/ 848562 h 4525940"/>
              <a:gd name="connsiteX2575" fmla="*/ 2069492 w 4545947"/>
              <a:gd name="connsiteY2575" fmla="*/ 876195 h 4525940"/>
              <a:gd name="connsiteX2576" fmla="*/ 2078502 w 4545947"/>
              <a:gd name="connsiteY2576" fmla="*/ 901007 h 4525940"/>
              <a:gd name="connsiteX2577" fmla="*/ 2093942 w 4545947"/>
              <a:gd name="connsiteY2577" fmla="*/ 917648 h 4525940"/>
              <a:gd name="connsiteX2578" fmla="*/ 2100502 w 4545947"/>
              <a:gd name="connsiteY2578" fmla="*/ 923682 h 4525940"/>
              <a:gd name="connsiteX2579" fmla="*/ 2103714 w 4545947"/>
              <a:gd name="connsiteY2579" fmla="*/ 946427 h 4525940"/>
              <a:gd name="connsiteX2580" fmla="*/ 2086036 w 4545947"/>
              <a:gd name="connsiteY2580" fmla="*/ 957421 h 4525940"/>
              <a:gd name="connsiteX2581" fmla="*/ 2063661 w 4545947"/>
              <a:gd name="connsiteY2581" fmla="*/ 987546 h 4525940"/>
              <a:gd name="connsiteX2582" fmla="*/ 2067637 w 4545947"/>
              <a:gd name="connsiteY2582" fmla="*/ 1028317 h 4525940"/>
              <a:gd name="connsiteX2583" fmla="*/ 2093992 w 4545947"/>
              <a:gd name="connsiteY2583" fmla="*/ 1081953 h 4525940"/>
              <a:gd name="connsiteX2584" fmla="*/ 2102688 w 4545947"/>
              <a:gd name="connsiteY2584" fmla="*/ 1100171 h 4525940"/>
              <a:gd name="connsiteX2585" fmla="*/ 2123679 w 4545947"/>
              <a:gd name="connsiteY2585" fmla="*/ 1123892 h 4525940"/>
              <a:gd name="connsiteX2586" fmla="*/ 2129992 w 4545947"/>
              <a:gd name="connsiteY2586" fmla="*/ 1070902 h 4525940"/>
              <a:gd name="connsiteX2587" fmla="*/ 2124526 w 4545947"/>
              <a:gd name="connsiteY2587" fmla="*/ 1022405 h 4525940"/>
              <a:gd name="connsiteX2588" fmla="*/ 2126739 w 4545947"/>
              <a:gd name="connsiteY2588" fmla="*/ 980659 h 4525940"/>
              <a:gd name="connsiteX2589" fmla="*/ 2128791 w 4545947"/>
              <a:gd name="connsiteY2589" fmla="*/ 945720 h 4525940"/>
              <a:gd name="connsiteX2590" fmla="*/ 2127020 w 4545947"/>
              <a:gd name="connsiteY2590" fmla="*/ 920573 h 4525940"/>
              <a:gd name="connsiteX2591" fmla="*/ 2126714 w 4545947"/>
              <a:gd name="connsiteY2591" fmla="*/ 885583 h 4525940"/>
              <a:gd name="connsiteX2592" fmla="*/ 2111163 w 4545947"/>
              <a:gd name="connsiteY2592" fmla="*/ 875329 h 4525940"/>
              <a:gd name="connsiteX2593" fmla="*/ 2098244 w 4545947"/>
              <a:gd name="connsiteY2593" fmla="*/ 863602 h 4525940"/>
              <a:gd name="connsiteX2594" fmla="*/ 2098315 w 4545947"/>
              <a:gd name="connsiteY2594" fmla="*/ 822388 h 4525940"/>
              <a:gd name="connsiteX2595" fmla="*/ 2093942 w 4545947"/>
              <a:gd name="connsiteY2595" fmla="*/ 803395 h 4525940"/>
              <a:gd name="connsiteX2596" fmla="*/ 2098662 w 4545947"/>
              <a:gd name="connsiteY2596" fmla="*/ 784403 h 4525940"/>
              <a:gd name="connsiteX2597" fmla="*/ 2100683 w 4545947"/>
              <a:gd name="connsiteY2597" fmla="*/ 766608 h 4525940"/>
              <a:gd name="connsiteX2598" fmla="*/ 2107989 w 4545947"/>
              <a:gd name="connsiteY2598" fmla="*/ 741548 h 4525940"/>
              <a:gd name="connsiteX2599" fmla="*/ 2128925 w 4545947"/>
              <a:gd name="connsiteY2599" fmla="*/ 732437 h 4525940"/>
              <a:gd name="connsiteX2600" fmla="*/ 2141241 w 4545947"/>
              <a:gd name="connsiteY2600" fmla="*/ 713181 h 4525940"/>
              <a:gd name="connsiteX2601" fmla="*/ 2153554 w 4545947"/>
              <a:gd name="connsiteY2601" fmla="*/ 695771 h 4525940"/>
              <a:gd name="connsiteX2602" fmla="*/ 2172084 w 4545947"/>
              <a:gd name="connsiteY2602" fmla="*/ 689882 h 4525940"/>
              <a:gd name="connsiteX2603" fmla="*/ 2185988 w 4545947"/>
              <a:gd name="connsiteY2603" fmla="*/ 689631 h 4525940"/>
              <a:gd name="connsiteX2604" fmla="*/ 2183565 w 4545947"/>
              <a:gd name="connsiteY2604" fmla="*/ 704816 h 4525940"/>
              <a:gd name="connsiteX2605" fmla="*/ 2181442 w 4545947"/>
              <a:gd name="connsiteY2605" fmla="*/ 714562 h 4525940"/>
              <a:gd name="connsiteX2606" fmla="*/ 2193271 w 4545947"/>
              <a:gd name="connsiteY2606" fmla="*/ 702641 h 4525940"/>
              <a:gd name="connsiteX2607" fmla="*/ 2179214 w 4545947"/>
              <a:gd name="connsiteY2607" fmla="*/ 675840 h 4525940"/>
              <a:gd name="connsiteX2608" fmla="*/ 2166151 w 4545947"/>
              <a:gd name="connsiteY2608" fmla="*/ 659332 h 4525940"/>
              <a:gd name="connsiteX2609" fmla="*/ 2158499 w 4545947"/>
              <a:gd name="connsiteY2609" fmla="*/ 645124 h 4525940"/>
              <a:gd name="connsiteX2610" fmla="*/ 2155163 w 4545947"/>
              <a:gd name="connsiteY2610" fmla="*/ 635628 h 4525940"/>
              <a:gd name="connsiteX2611" fmla="*/ 2184048 w 4545947"/>
              <a:gd name="connsiteY2611" fmla="*/ 643278 h 4525940"/>
              <a:gd name="connsiteX2612" fmla="*/ 2202425 w 4545947"/>
              <a:gd name="connsiteY2612" fmla="*/ 653711 h 4525940"/>
              <a:gd name="connsiteX2613" fmla="*/ 2203453 w 4545947"/>
              <a:gd name="connsiteY2613" fmla="*/ 607453 h 4525940"/>
              <a:gd name="connsiteX2614" fmla="*/ 2200610 w 4545947"/>
              <a:gd name="connsiteY2614" fmla="*/ 581815 h 4525940"/>
              <a:gd name="connsiteX2615" fmla="*/ 2209356 w 4545947"/>
              <a:gd name="connsiteY2615" fmla="*/ 571802 h 4525940"/>
              <a:gd name="connsiteX2616" fmla="*/ 2207638 w 4545947"/>
              <a:gd name="connsiteY2616" fmla="*/ 537499 h 4525940"/>
              <a:gd name="connsiteX2617" fmla="*/ 2211777 w 4545947"/>
              <a:gd name="connsiteY2617" fmla="*/ 512421 h 4525940"/>
              <a:gd name="connsiteX2618" fmla="*/ 2218439 w 4545947"/>
              <a:gd name="connsiteY2618" fmla="*/ 499207 h 4525940"/>
              <a:gd name="connsiteX2619" fmla="*/ 2245369 w 4545947"/>
              <a:gd name="connsiteY2619" fmla="*/ 471396 h 4525940"/>
              <a:gd name="connsiteX2620" fmla="*/ 2261834 w 4545947"/>
              <a:gd name="connsiteY2620" fmla="*/ 483257 h 4525940"/>
              <a:gd name="connsiteX2621" fmla="*/ 2292979 w 4545947"/>
              <a:gd name="connsiteY2621" fmla="*/ 497282 h 4525940"/>
              <a:gd name="connsiteX2622" fmla="*/ 2323798 w 4545947"/>
              <a:gd name="connsiteY2622" fmla="*/ 505194 h 4525940"/>
              <a:gd name="connsiteX2623" fmla="*/ 2333912 w 4545947"/>
              <a:gd name="connsiteY2623" fmla="*/ 537499 h 4525940"/>
              <a:gd name="connsiteX2624" fmla="*/ 2350016 w 4545947"/>
              <a:gd name="connsiteY2624" fmla="*/ 528204 h 4525940"/>
              <a:gd name="connsiteX2625" fmla="*/ 2368343 w 4545947"/>
              <a:gd name="connsiteY2625" fmla="*/ 518708 h 4525940"/>
              <a:gd name="connsiteX2626" fmla="*/ 2378182 w 4545947"/>
              <a:gd name="connsiteY2626" fmla="*/ 512176 h 4525940"/>
              <a:gd name="connsiteX2627" fmla="*/ 2384742 w 4545947"/>
              <a:gd name="connsiteY2627" fmla="*/ 505845 h 4525940"/>
              <a:gd name="connsiteX2628" fmla="*/ 2391301 w 4545947"/>
              <a:gd name="connsiteY2628" fmla="*/ 499514 h 4525940"/>
              <a:gd name="connsiteX2629" fmla="*/ 2397860 w 4545947"/>
              <a:gd name="connsiteY2629" fmla="*/ 493183 h 4525940"/>
              <a:gd name="connsiteX2630" fmla="*/ 2404419 w 4545947"/>
              <a:gd name="connsiteY2630" fmla="*/ 505472 h 4525940"/>
              <a:gd name="connsiteX2631" fmla="*/ 2421950 w 4545947"/>
              <a:gd name="connsiteY2631" fmla="*/ 521654 h 4525940"/>
              <a:gd name="connsiteX2632" fmla="*/ 2430657 w 4545947"/>
              <a:gd name="connsiteY2632" fmla="*/ 502253 h 4525940"/>
              <a:gd name="connsiteX2633" fmla="*/ 2444767 w 4545947"/>
              <a:gd name="connsiteY2633" fmla="*/ 494323 h 4525940"/>
              <a:gd name="connsiteX2634" fmla="*/ 2464298 w 4545947"/>
              <a:gd name="connsiteY2634" fmla="*/ 482248 h 4525940"/>
              <a:gd name="connsiteX2635" fmla="*/ 2475130 w 4545947"/>
              <a:gd name="connsiteY2635" fmla="*/ 455927 h 4525940"/>
              <a:gd name="connsiteX2636" fmla="*/ 2476573 w 4545947"/>
              <a:gd name="connsiteY2636" fmla="*/ 413172 h 4525940"/>
              <a:gd name="connsiteX2637" fmla="*/ 2470013 w 4545947"/>
              <a:gd name="connsiteY2637" fmla="*/ 387848 h 4525940"/>
              <a:gd name="connsiteX2638" fmla="*/ 2463454 w 4545947"/>
              <a:gd name="connsiteY2638" fmla="*/ 362525 h 4525940"/>
              <a:gd name="connsiteX2639" fmla="*/ 2456929 w 4545947"/>
              <a:gd name="connsiteY2639" fmla="*/ 342148 h 4525940"/>
              <a:gd name="connsiteX2640" fmla="*/ 2492750 w 4545947"/>
              <a:gd name="connsiteY2640" fmla="*/ 309588 h 4525940"/>
              <a:gd name="connsiteX2641" fmla="*/ 2504997 w 4545947"/>
              <a:gd name="connsiteY2641" fmla="*/ 303258 h 4525940"/>
              <a:gd name="connsiteX2642" fmla="*/ 2521291 w 4545947"/>
              <a:gd name="connsiteY2642" fmla="*/ 309165 h 4525940"/>
              <a:gd name="connsiteX2643" fmla="*/ 2519063 w 4545947"/>
              <a:gd name="connsiteY2643" fmla="*/ 323689 h 4525940"/>
              <a:gd name="connsiteX2644" fmla="*/ 2534825 w 4545947"/>
              <a:gd name="connsiteY2644" fmla="*/ 326930 h 4525940"/>
              <a:gd name="connsiteX2645" fmla="*/ 2562584 w 4545947"/>
              <a:gd name="connsiteY2645" fmla="*/ 309240 h 4525940"/>
              <a:gd name="connsiteX2646" fmla="*/ 2596446 w 4545947"/>
              <a:gd name="connsiteY2646" fmla="*/ 301675 h 4525940"/>
              <a:gd name="connsiteX2647" fmla="*/ 2609919 w 4545947"/>
              <a:gd name="connsiteY2647" fmla="*/ 326625 h 4525940"/>
              <a:gd name="connsiteX2648" fmla="*/ 2629424 w 4545947"/>
              <a:gd name="connsiteY2648" fmla="*/ 343915 h 4525940"/>
              <a:gd name="connsiteX2649" fmla="*/ 2640558 w 4545947"/>
              <a:gd name="connsiteY2649" fmla="*/ 312290 h 4525940"/>
              <a:gd name="connsiteX2650" fmla="*/ 2649304 w 4545947"/>
              <a:gd name="connsiteY2650" fmla="*/ 277934 h 4525940"/>
              <a:gd name="connsiteX2651" fmla="*/ 2658050 w 4545947"/>
              <a:gd name="connsiteY2651" fmla="*/ 254876 h 4525940"/>
              <a:gd name="connsiteX2652" fmla="*/ 2665163 w 4545947"/>
              <a:gd name="connsiteY2652" fmla="*/ 242546 h 4525940"/>
              <a:gd name="connsiteX2653" fmla="*/ 2678281 w 4545947"/>
              <a:gd name="connsiteY2653" fmla="*/ 239283 h 4525940"/>
              <a:gd name="connsiteX2654" fmla="*/ 2679914 w 4545947"/>
              <a:gd name="connsiteY2654" fmla="*/ 201964 h 4525940"/>
              <a:gd name="connsiteX2655" fmla="*/ 2682494 w 4545947"/>
              <a:gd name="connsiteY2655" fmla="*/ 169679 h 4525940"/>
              <a:gd name="connsiteX2656" fmla="*/ 2670873 w 4545947"/>
              <a:gd name="connsiteY2656" fmla="*/ 132325 h 4525940"/>
              <a:gd name="connsiteX2657" fmla="*/ 2671168 w 4545947"/>
              <a:gd name="connsiteY2657" fmla="*/ 107001 h 4525940"/>
              <a:gd name="connsiteX2658" fmla="*/ 2684287 w 4545947"/>
              <a:gd name="connsiteY2658" fmla="*/ 87927 h 4525940"/>
              <a:gd name="connsiteX2659" fmla="*/ 2695219 w 4545947"/>
              <a:gd name="connsiteY2659" fmla="*/ 72747 h 4525940"/>
              <a:gd name="connsiteX2660" fmla="*/ 2706152 w 4545947"/>
              <a:gd name="connsiteY2660" fmla="*/ 63442 h 4525940"/>
              <a:gd name="connsiteX2661" fmla="*/ 2732792 w 4545947"/>
              <a:gd name="connsiteY2661" fmla="*/ 72882 h 4525940"/>
              <a:gd name="connsiteX2662" fmla="*/ 2747762 w 4545947"/>
              <a:gd name="connsiteY2662" fmla="*/ 81678 h 4525940"/>
              <a:gd name="connsiteX2663" fmla="*/ 2760208 w 4545947"/>
              <a:gd name="connsiteY2663" fmla="*/ 91174 h 4525940"/>
              <a:gd name="connsiteX2664" fmla="*/ 2773795 w 4545947"/>
              <a:gd name="connsiteY2664" fmla="*/ 100670 h 4525940"/>
              <a:gd name="connsiteX2665" fmla="*/ 2784864 w 4545947"/>
              <a:gd name="connsiteY2665" fmla="*/ 113531 h 4525940"/>
              <a:gd name="connsiteX2666" fmla="*/ 2806176 w 4545947"/>
              <a:gd name="connsiteY2666" fmla="*/ 127943 h 4525940"/>
              <a:gd name="connsiteX2667" fmla="*/ 2811807 w 4545947"/>
              <a:gd name="connsiteY2667" fmla="*/ 98446 h 4525940"/>
              <a:gd name="connsiteX2668" fmla="*/ 2815434 w 4545947"/>
              <a:gd name="connsiteY2668" fmla="*/ 75347 h 4525940"/>
              <a:gd name="connsiteX2669" fmla="*/ 2817964 w 4545947"/>
              <a:gd name="connsiteY2669" fmla="*/ 64068 h 4525940"/>
              <a:gd name="connsiteX2670" fmla="*/ 2827881 w 4545947"/>
              <a:gd name="connsiteY2670" fmla="*/ 46020 h 4525940"/>
              <a:gd name="connsiteX2671" fmla="*/ 2867950 w 4545947"/>
              <a:gd name="connsiteY2671" fmla="*/ 53908 h 4525940"/>
              <a:gd name="connsiteX2672" fmla="*/ 2872323 w 4545947"/>
              <a:gd name="connsiteY2672" fmla="*/ 62685 h 4525940"/>
              <a:gd name="connsiteX2673" fmla="*/ 2876696 w 4545947"/>
              <a:gd name="connsiteY2673" fmla="*/ 71983 h 4525940"/>
              <a:gd name="connsiteX2674" fmla="*/ 2883143 w 4545947"/>
              <a:gd name="connsiteY2674" fmla="*/ 77698 h 4525940"/>
              <a:gd name="connsiteX2675" fmla="*/ 2915810 w 4545947"/>
              <a:gd name="connsiteY2675" fmla="*/ 113898 h 4525940"/>
              <a:gd name="connsiteX2676" fmla="*/ 2904913 w 4545947"/>
              <a:gd name="connsiteY2676" fmla="*/ 131308 h 4525940"/>
              <a:gd name="connsiteX2677" fmla="*/ 2889815 w 4545947"/>
              <a:gd name="connsiteY2677" fmla="*/ 130128 h 4525940"/>
              <a:gd name="connsiteX2678" fmla="*/ 2868756 w 4545947"/>
              <a:gd name="connsiteY2678" fmla="*/ 96783 h 4525940"/>
              <a:gd name="connsiteX2679" fmla="*/ 2861989 w 4545947"/>
              <a:gd name="connsiteY2679" fmla="*/ 125162 h 4525940"/>
              <a:gd name="connsiteX2680" fmla="*/ 2852669 w 4545947"/>
              <a:gd name="connsiteY2680" fmla="*/ 153593 h 4525940"/>
              <a:gd name="connsiteX2681" fmla="*/ 2864473 w 4545947"/>
              <a:gd name="connsiteY2681" fmla="*/ 230956 h 4525940"/>
              <a:gd name="connsiteX2682" fmla="*/ 2877958 w 4545947"/>
              <a:gd name="connsiteY2682" fmla="*/ 271677 h 4525940"/>
              <a:gd name="connsiteX2683" fmla="*/ 2896480 w 4545947"/>
              <a:gd name="connsiteY2683" fmla="*/ 310278 h 4525940"/>
              <a:gd name="connsiteX2684" fmla="*/ 2930626 w 4545947"/>
              <a:gd name="connsiteY2684" fmla="*/ 305922 h 4525940"/>
              <a:gd name="connsiteX2685" fmla="*/ 2918213 w 4545947"/>
              <a:gd name="connsiteY2685" fmla="*/ 271603 h 4525940"/>
              <a:gd name="connsiteX2686" fmla="*/ 2905690 w 4545947"/>
              <a:gd name="connsiteY2686" fmla="*/ 257359 h 4525940"/>
              <a:gd name="connsiteX2687" fmla="*/ 2913711 w 4545947"/>
              <a:gd name="connsiteY2687" fmla="*/ 233618 h 4525940"/>
              <a:gd name="connsiteX2688" fmla="*/ 2930337 w 4545947"/>
              <a:gd name="connsiteY2688" fmla="*/ 190885 h 4525940"/>
              <a:gd name="connsiteX2689" fmla="*/ 2934767 w 4545947"/>
              <a:gd name="connsiteY2689" fmla="*/ 170310 h 4525940"/>
              <a:gd name="connsiteX2690" fmla="*/ 2941378 w 4545947"/>
              <a:gd name="connsiteY2690" fmla="*/ 194420 h 4525940"/>
              <a:gd name="connsiteX2691" fmla="*/ 2952827 w 4545947"/>
              <a:gd name="connsiteY2691" fmla="*/ 205440 h 4525940"/>
              <a:gd name="connsiteX2692" fmla="*/ 2977447 w 4545947"/>
              <a:gd name="connsiteY2692" fmla="*/ 198569 h 4525940"/>
              <a:gd name="connsiteX2693" fmla="*/ 2967852 w 4545947"/>
              <a:gd name="connsiteY2693" fmla="*/ 132854 h 4525940"/>
              <a:gd name="connsiteX2694" fmla="*/ 2962222 w 4545947"/>
              <a:gd name="connsiteY2694" fmla="*/ 88008 h 4525940"/>
              <a:gd name="connsiteX2695" fmla="*/ 2985873 w 4545947"/>
              <a:gd name="connsiteY2695" fmla="*/ 51606 h 4525940"/>
              <a:gd name="connsiteX2696" fmla="*/ 3000606 w 4545947"/>
              <a:gd name="connsiteY2696" fmla="*/ 43693 h 4525940"/>
              <a:gd name="connsiteX2697" fmla="*/ 3031196 w 4545947"/>
              <a:gd name="connsiteY2697" fmla="*/ 69498 h 4525940"/>
              <a:gd name="connsiteX2698" fmla="*/ 3053778 w 4545947"/>
              <a:gd name="connsiteY2698" fmla="*/ 85778 h 4525940"/>
              <a:gd name="connsiteX2699" fmla="*/ 3055111 w 4545947"/>
              <a:gd name="connsiteY2699" fmla="*/ 51289 h 4525940"/>
              <a:gd name="connsiteX2700" fmla="*/ 3055383 w 4545947"/>
              <a:gd name="connsiteY2700" fmla="*/ 35779 h 4525940"/>
              <a:gd name="connsiteX2701" fmla="*/ 3064829 w 4545947"/>
              <a:gd name="connsiteY2701" fmla="*/ 37931 h 4525940"/>
              <a:gd name="connsiteX2702" fmla="*/ 3095119 w 4545947"/>
              <a:gd name="connsiteY2702" fmla="*/ 77459 h 4525940"/>
              <a:gd name="connsiteX2703" fmla="*/ 3107184 w 4545947"/>
              <a:gd name="connsiteY2703" fmla="*/ 111877 h 4525940"/>
              <a:gd name="connsiteX2704" fmla="*/ 3104088 w 4545947"/>
              <a:gd name="connsiteY2704" fmla="*/ 144986 h 4525940"/>
              <a:gd name="connsiteX2705" fmla="*/ 3108461 w 4545947"/>
              <a:gd name="connsiteY2705" fmla="*/ 160439 h 4525940"/>
              <a:gd name="connsiteX2706" fmla="*/ 3112834 w 4545947"/>
              <a:gd name="connsiteY2706" fmla="*/ 179806 h 4525940"/>
              <a:gd name="connsiteX2707" fmla="*/ 3117207 w 4545947"/>
              <a:gd name="connsiteY2707" fmla="*/ 205817 h 4525940"/>
              <a:gd name="connsiteX2708" fmla="*/ 3131860 w 4545947"/>
              <a:gd name="connsiteY2708" fmla="*/ 249759 h 4525940"/>
              <a:gd name="connsiteX2709" fmla="*/ 3152055 w 4545947"/>
              <a:gd name="connsiteY2709" fmla="*/ 271603 h 4525940"/>
              <a:gd name="connsiteX2710" fmla="*/ 3172536 w 4545947"/>
              <a:gd name="connsiteY2710" fmla="*/ 290596 h 4525940"/>
              <a:gd name="connsiteX2711" fmla="*/ 3211850 w 4545947"/>
              <a:gd name="connsiteY2711" fmla="*/ 300011 h 4525940"/>
              <a:gd name="connsiteX2712" fmla="*/ 3208838 w 4545947"/>
              <a:gd name="connsiteY2712" fmla="*/ 280750 h 4525940"/>
              <a:gd name="connsiteX2713" fmla="*/ 3218659 w 4545947"/>
              <a:gd name="connsiteY2713" fmla="*/ 264006 h 4525940"/>
              <a:gd name="connsiteX2714" fmla="*/ 3255173 w 4545947"/>
              <a:gd name="connsiteY2714" fmla="*/ 265724 h 4525940"/>
              <a:gd name="connsiteX2715" fmla="*/ 3274632 w 4545947"/>
              <a:gd name="connsiteY2715" fmla="*/ 257810 h 4525940"/>
              <a:gd name="connsiteX2716" fmla="*/ 3291320 w 4545947"/>
              <a:gd name="connsiteY2716" fmla="*/ 238366 h 4525940"/>
              <a:gd name="connsiteX2717" fmla="*/ 3301297 w 4545947"/>
              <a:gd name="connsiteY2717" fmla="*/ 220957 h 4525940"/>
              <a:gd name="connsiteX2718" fmla="*/ 3310575 w 4545947"/>
              <a:gd name="connsiteY2718" fmla="*/ 189177 h 4525940"/>
              <a:gd name="connsiteX2719" fmla="*/ 3319179 w 4545947"/>
              <a:gd name="connsiteY2719" fmla="*/ 174188 h 4525940"/>
              <a:gd name="connsiteX2720" fmla="*/ 3375209 w 4545947"/>
              <a:gd name="connsiteY2720" fmla="*/ 204754 h 4525940"/>
              <a:gd name="connsiteX2721" fmla="*/ 3386141 w 4545947"/>
              <a:gd name="connsiteY2721" fmla="*/ 233618 h 4525940"/>
              <a:gd name="connsiteX2722" fmla="*/ 3397074 w 4545947"/>
              <a:gd name="connsiteY2722" fmla="*/ 258990 h 4525940"/>
              <a:gd name="connsiteX2723" fmla="*/ 3408988 w 4545947"/>
              <a:gd name="connsiteY2723" fmla="*/ 267922 h 4525940"/>
              <a:gd name="connsiteX2724" fmla="*/ 3435701 w 4545947"/>
              <a:gd name="connsiteY2724" fmla="*/ 272440 h 4525940"/>
              <a:gd name="connsiteX2725" fmla="*/ 3447468 w 4545947"/>
              <a:gd name="connsiteY2725" fmla="*/ 277934 h 4525940"/>
              <a:gd name="connsiteX2726" fmla="*/ 3460481 w 4545947"/>
              <a:gd name="connsiteY2726" fmla="*/ 284265 h 4525940"/>
              <a:gd name="connsiteX2727" fmla="*/ 3473871 w 4545947"/>
              <a:gd name="connsiteY2727" fmla="*/ 290596 h 4525940"/>
              <a:gd name="connsiteX2728" fmla="*/ 3492137 w 4545947"/>
              <a:gd name="connsiteY2728" fmla="*/ 265273 h 4525940"/>
              <a:gd name="connsiteX2729" fmla="*/ 3502962 w 4545947"/>
              <a:gd name="connsiteY2729" fmla="*/ 239949 h 4525940"/>
              <a:gd name="connsiteX2730" fmla="*/ 3501086 w 4545947"/>
              <a:gd name="connsiteY2730" fmla="*/ 223668 h 4525940"/>
              <a:gd name="connsiteX2731" fmla="*/ 3500590 w 4545947"/>
              <a:gd name="connsiteY2731" fmla="*/ 203093 h 4525940"/>
              <a:gd name="connsiteX2732" fmla="*/ 3504512 w 4545947"/>
              <a:gd name="connsiteY2732" fmla="*/ 166435 h 4525940"/>
              <a:gd name="connsiteX2733" fmla="*/ 3497651 w 4545947"/>
              <a:gd name="connsiteY2733" fmla="*/ 148250 h 4525940"/>
              <a:gd name="connsiteX2734" fmla="*/ 3491091 w 4545947"/>
              <a:gd name="connsiteY2734" fmla="*/ 125994 h 4525940"/>
              <a:gd name="connsiteX2735" fmla="*/ 3484532 w 4545947"/>
              <a:gd name="connsiteY2735" fmla="*/ 103434 h 4525940"/>
              <a:gd name="connsiteX2736" fmla="*/ 3480160 w 4545947"/>
              <a:gd name="connsiteY2736" fmla="*/ 84843 h 4525940"/>
              <a:gd name="connsiteX2737" fmla="*/ 3475787 w 4545947"/>
              <a:gd name="connsiteY2737" fmla="*/ 47161 h 4525940"/>
              <a:gd name="connsiteX2738" fmla="*/ 3482704 w 4545947"/>
              <a:gd name="connsiteY2738" fmla="*/ 9550 h 4525940"/>
              <a:gd name="connsiteX2739" fmla="*/ 3491456 w 4545947"/>
              <a:gd name="connsiteY2739" fmla="*/ 6650 h 4525940"/>
              <a:gd name="connsiteX2740" fmla="*/ 3226906 w 4545947"/>
              <a:gd name="connsiteY2740" fmla="*/ 1812 h 4525940"/>
              <a:gd name="connsiteX2741" fmla="*/ 3254236 w 4545947"/>
              <a:gd name="connsiteY2741" fmla="*/ 13687 h 4525940"/>
              <a:gd name="connsiteX2742" fmla="*/ 3265886 w 4545947"/>
              <a:gd name="connsiteY2742" fmla="*/ 33553 h 4525940"/>
              <a:gd name="connsiteX2743" fmla="*/ 3253280 w 4545947"/>
              <a:gd name="connsiteY2743" fmla="*/ 55628 h 4525940"/>
              <a:gd name="connsiteX2744" fmla="*/ 3207342 w 4545947"/>
              <a:gd name="connsiteY2744" fmla="*/ 72250 h 4525940"/>
              <a:gd name="connsiteX2745" fmla="*/ 3158240 w 4545947"/>
              <a:gd name="connsiteY2745" fmla="*/ 64477 h 4525940"/>
              <a:gd name="connsiteX2746" fmla="*/ 3154454 w 4545947"/>
              <a:gd name="connsiteY2746" fmla="*/ 89245 h 4525940"/>
              <a:gd name="connsiteX2747" fmla="*/ 3137765 w 4545947"/>
              <a:gd name="connsiteY2747" fmla="*/ 109330 h 4525940"/>
              <a:gd name="connsiteX2748" fmla="*/ 3139154 w 4545947"/>
              <a:gd name="connsiteY2748" fmla="*/ 81678 h 4525940"/>
              <a:gd name="connsiteX2749" fmla="*/ 3140877 w 4545947"/>
              <a:gd name="connsiteY2749" fmla="*/ 65909 h 4525940"/>
              <a:gd name="connsiteX2750" fmla="*/ 3146260 w 4545947"/>
              <a:gd name="connsiteY2750" fmla="*/ 46455 h 4525940"/>
              <a:gd name="connsiteX2751" fmla="*/ 3161969 w 4545947"/>
              <a:gd name="connsiteY2751" fmla="*/ 36900 h 4525940"/>
              <a:gd name="connsiteX2752" fmla="*/ 3176182 w 4545947"/>
              <a:gd name="connsiteY2752" fmla="*/ 31031 h 4525940"/>
              <a:gd name="connsiteX2753" fmla="*/ 3182801 w 4545947"/>
              <a:gd name="connsiteY2753" fmla="*/ 18369 h 4525940"/>
              <a:gd name="connsiteX2754" fmla="*/ 3197012 w 4545947"/>
              <a:gd name="connsiteY2754" fmla="*/ 5637 h 4525940"/>
              <a:gd name="connsiteX2755" fmla="*/ 3226906 w 4545947"/>
              <a:gd name="connsiteY2755" fmla="*/ 1812 h 4525940"/>
              <a:gd name="connsiteX2756" fmla="*/ 3353505 w 4545947"/>
              <a:gd name="connsiteY2756" fmla="*/ 1044 h 4525940"/>
              <a:gd name="connsiteX2757" fmla="*/ 3364731 w 4545947"/>
              <a:gd name="connsiteY2757" fmla="*/ 45612 h 4525940"/>
              <a:gd name="connsiteX2758" fmla="*/ 3360436 w 4545947"/>
              <a:gd name="connsiteY2758" fmla="*/ 99424 h 4525940"/>
              <a:gd name="connsiteX2759" fmla="*/ 3342412 w 4545947"/>
              <a:gd name="connsiteY2759" fmla="*/ 100670 h 4525940"/>
              <a:gd name="connsiteX2760" fmla="*/ 3329571 w 4545947"/>
              <a:gd name="connsiteY2760" fmla="*/ 94339 h 4525940"/>
              <a:gd name="connsiteX2761" fmla="*/ 3313988 w 4545947"/>
              <a:gd name="connsiteY2761" fmla="*/ 84843 h 4525940"/>
              <a:gd name="connsiteX2762" fmla="*/ 3300334 w 4545947"/>
              <a:gd name="connsiteY2762" fmla="*/ 75347 h 4525940"/>
              <a:gd name="connsiteX2763" fmla="*/ 3292124 w 4545947"/>
              <a:gd name="connsiteY2763" fmla="*/ 70517 h 4525940"/>
              <a:gd name="connsiteX2764" fmla="*/ 3282285 w 4545947"/>
              <a:gd name="connsiteY2764" fmla="*/ 59438 h 4525940"/>
              <a:gd name="connsiteX2765" fmla="*/ 3296497 w 4545947"/>
              <a:gd name="connsiteY2765" fmla="*/ 27663 h 4525940"/>
              <a:gd name="connsiteX2766" fmla="*/ 3337481 w 4545947"/>
              <a:gd name="connsiteY2766" fmla="*/ 10254 h 4525940"/>
              <a:gd name="connsiteX2767" fmla="*/ 3353505 w 4545947"/>
              <a:gd name="connsiteY2767" fmla="*/ 1044 h 45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Lst>
            <a:rect l="l" t="t" r="r" b="b"/>
            <a:pathLst>
              <a:path w="4545947" h="4525940">
                <a:moveTo>
                  <a:pt x="1260900" y="4513278"/>
                </a:moveTo>
                <a:cubicBezTo>
                  <a:pt x="1264507" y="4513278"/>
                  <a:pt x="1267459" y="4516127"/>
                  <a:pt x="1267459" y="4519609"/>
                </a:cubicBezTo>
                <a:cubicBezTo>
                  <a:pt x="1267459" y="4523091"/>
                  <a:pt x="1264507" y="4525940"/>
                  <a:pt x="1260900" y="4525940"/>
                </a:cubicBezTo>
                <a:cubicBezTo>
                  <a:pt x="1257292" y="4525940"/>
                  <a:pt x="1254340" y="4523091"/>
                  <a:pt x="1254340" y="4519609"/>
                </a:cubicBezTo>
                <a:cubicBezTo>
                  <a:pt x="1254340" y="4516127"/>
                  <a:pt x="1257292" y="4513278"/>
                  <a:pt x="1260900" y="4513278"/>
                </a:cubicBezTo>
                <a:close/>
                <a:moveTo>
                  <a:pt x="1096915" y="4392992"/>
                </a:moveTo>
                <a:cubicBezTo>
                  <a:pt x="1099320" y="4392992"/>
                  <a:pt x="1101288" y="4397265"/>
                  <a:pt x="1101288" y="4402488"/>
                </a:cubicBezTo>
                <a:cubicBezTo>
                  <a:pt x="1101288" y="4407711"/>
                  <a:pt x="1099320" y="4411984"/>
                  <a:pt x="1096915" y="4411984"/>
                </a:cubicBezTo>
                <a:cubicBezTo>
                  <a:pt x="1094510" y="4411984"/>
                  <a:pt x="1092542" y="4407711"/>
                  <a:pt x="1092542" y="4402488"/>
                </a:cubicBezTo>
                <a:cubicBezTo>
                  <a:pt x="1092542" y="4397265"/>
                  <a:pt x="1094510" y="4392992"/>
                  <a:pt x="1096915" y="4392992"/>
                </a:cubicBezTo>
                <a:close/>
                <a:moveTo>
                  <a:pt x="3812502" y="4386661"/>
                </a:moveTo>
                <a:cubicBezTo>
                  <a:pt x="3814907" y="4386661"/>
                  <a:pt x="3816875" y="4389509"/>
                  <a:pt x="3816875" y="4392992"/>
                </a:cubicBezTo>
                <a:cubicBezTo>
                  <a:pt x="3816875" y="4396474"/>
                  <a:pt x="3814907" y="4399322"/>
                  <a:pt x="3812502" y="4399322"/>
                </a:cubicBezTo>
                <a:cubicBezTo>
                  <a:pt x="3810096" y="4399322"/>
                  <a:pt x="3808129" y="4396474"/>
                  <a:pt x="3808129" y="4392992"/>
                </a:cubicBezTo>
                <a:cubicBezTo>
                  <a:pt x="3808129" y="4389509"/>
                  <a:pt x="3810096" y="4386661"/>
                  <a:pt x="3812502" y="4386661"/>
                </a:cubicBezTo>
                <a:close/>
                <a:moveTo>
                  <a:pt x="972287" y="4355006"/>
                </a:moveTo>
                <a:cubicBezTo>
                  <a:pt x="975894" y="4355006"/>
                  <a:pt x="978846" y="4359280"/>
                  <a:pt x="978846" y="4364503"/>
                </a:cubicBezTo>
                <a:cubicBezTo>
                  <a:pt x="978846" y="4369726"/>
                  <a:pt x="975894" y="4373999"/>
                  <a:pt x="972287" y="4373999"/>
                </a:cubicBezTo>
                <a:cubicBezTo>
                  <a:pt x="968679" y="4373999"/>
                  <a:pt x="965727" y="4369726"/>
                  <a:pt x="965727" y="4364503"/>
                </a:cubicBezTo>
                <a:cubicBezTo>
                  <a:pt x="965727" y="4359280"/>
                  <a:pt x="968679" y="4355006"/>
                  <a:pt x="972287" y="4355006"/>
                </a:cubicBezTo>
                <a:close/>
                <a:moveTo>
                  <a:pt x="3695599" y="4285367"/>
                </a:moveTo>
                <a:cubicBezTo>
                  <a:pt x="3699206" y="4285367"/>
                  <a:pt x="3703345" y="4291777"/>
                  <a:pt x="3704795" y="4299611"/>
                </a:cubicBezTo>
                <a:cubicBezTo>
                  <a:pt x="3708732" y="4320877"/>
                  <a:pt x="3708088" y="4355006"/>
                  <a:pt x="3703751" y="4355006"/>
                </a:cubicBezTo>
                <a:cubicBezTo>
                  <a:pt x="3701660" y="4355006"/>
                  <a:pt x="3698785" y="4345748"/>
                  <a:pt x="3697362" y="4334431"/>
                </a:cubicBezTo>
                <a:cubicBezTo>
                  <a:pt x="3695938" y="4323115"/>
                  <a:pt x="3693483" y="4307446"/>
                  <a:pt x="3691906" y="4299611"/>
                </a:cubicBezTo>
                <a:cubicBezTo>
                  <a:pt x="3689836" y="4289326"/>
                  <a:pt x="3690862" y="4285367"/>
                  <a:pt x="3695599" y="4285367"/>
                </a:cubicBezTo>
                <a:close/>
                <a:moveTo>
                  <a:pt x="3791489" y="4247982"/>
                </a:moveTo>
                <a:cubicBezTo>
                  <a:pt x="3793001" y="4248850"/>
                  <a:pt x="3795075" y="4251094"/>
                  <a:pt x="3797678" y="4254863"/>
                </a:cubicBezTo>
                <a:cubicBezTo>
                  <a:pt x="3801435" y="4260303"/>
                  <a:pt x="3803830" y="4271529"/>
                  <a:pt x="3802997" y="4279809"/>
                </a:cubicBezTo>
                <a:cubicBezTo>
                  <a:pt x="3801571" y="4293997"/>
                  <a:pt x="3801045" y="4293619"/>
                  <a:pt x="3793855" y="4273261"/>
                </a:cubicBezTo>
                <a:cubicBezTo>
                  <a:pt x="3787459" y="4255151"/>
                  <a:pt x="3786951" y="4245377"/>
                  <a:pt x="3791489" y="4247982"/>
                </a:cubicBezTo>
                <a:close/>
                <a:moveTo>
                  <a:pt x="932930" y="4222058"/>
                </a:moveTo>
                <a:cubicBezTo>
                  <a:pt x="936574" y="4222058"/>
                  <a:pt x="939490" y="4227686"/>
                  <a:pt x="939490" y="4234720"/>
                </a:cubicBezTo>
                <a:cubicBezTo>
                  <a:pt x="939490" y="4241755"/>
                  <a:pt x="936574" y="4247382"/>
                  <a:pt x="932930" y="4247382"/>
                </a:cubicBezTo>
                <a:cubicBezTo>
                  <a:pt x="929286" y="4247382"/>
                  <a:pt x="926371" y="4241755"/>
                  <a:pt x="926371" y="4234720"/>
                </a:cubicBezTo>
                <a:cubicBezTo>
                  <a:pt x="926371" y="4227686"/>
                  <a:pt x="929286" y="4222058"/>
                  <a:pt x="932930" y="4222058"/>
                </a:cubicBezTo>
                <a:close/>
                <a:moveTo>
                  <a:pt x="1267119" y="4212536"/>
                </a:moveTo>
                <a:cubicBezTo>
                  <a:pt x="1269822" y="4214417"/>
                  <a:pt x="1271832" y="4218021"/>
                  <a:pt x="1271832" y="4222432"/>
                </a:cubicBezTo>
                <a:cubicBezTo>
                  <a:pt x="1271832" y="4229793"/>
                  <a:pt x="1267145" y="4229913"/>
                  <a:pt x="1259340" y="4222753"/>
                </a:cubicBezTo>
                <a:cubicBezTo>
                  <a:pt x="1255204" y="4218958"/>
                  <a:pt x="1254872" y="4215999"/>
                  <a:pt x="1258247" y="4212980"/>
                </a:cubicBezTo>
                <a:cubicBezTo>
                  <a:pt x="1261020" y="4210498"/>
                  <a:pt x="1264416" y="4210656"/>
                  <a:pt x="1267119" y="4212536"/>
                </a:cubicBezTo>
                <a:close/>
                <a:moveTo>
                  <a:pt x="3606974" y="4158750"/>
                </a:moveTo>
                <a:cubicBezTo>
                  <a:pt x="3609380" y="4158750"/>
                  <a:pt x="3611347" y="4161598"/>
                  <a:pt x="3611347" y="4165081"/>
                </a:cubicBezTo>
                <a:cubicBezTo>
                  <a:pt x="3611347" y="4168563"/>
                  <a:pt x="3609380" y="4171411"/>
                  <a:pt x="3606974" y="4171411"/>
                </a:cubicBezTo>
                <a:cubicBezTo>
                  <a:pt x="3604569" y="4171411"/>
                  <a:pt x="3602601" y="4168563"/>
                  <a:pt x="3602601" y="4165081"/>
                </a:cubicBezTo>
                <a:cubicBezTo>
                  <a:pt x="3602601" y="4161598"/>
                  <a:pt x="3604569" y="4158750"/>
                  <a:pt x="3606974" y="4158750"/>
                </a:cubicBezTo>
                <a:close/>
                <a:moveTo>
                  <a:pt x="1253971" y="4155079"/>
                </a:moveTo>
                <a:cubicBezTo>
                  <a:pt x="1259633" y="4152817"/>
                  <a:pt x="1263086" y="4162087"/>
                  <a:pt x="1263086" y="4181282"/>
                </a:cubicBezTo>
                <a:cubicBezTo>
                  <a:pt x="1263086" y="4198429"/>
                  <a:pt x="1261325" y="4203066"/>
                  <a:pt x="1254814" y="4203066"/>
                </a:cubicBezTo>
                <a:cubicBezTo>
                  <a:pt x="1249602" y="4203066"/>
                  <a:pt x="1245511" y="4197115"/>
                  <a:pt x="1243753" y="4186974"/>
                </a:cubicBezTo>
                <a:cubicBezTo>
                  <a:pt x="1241934" y="4176485"/>
                  <a:pt x="1243280" y="4167526"/>
                  <a:pt x="1247618" y="4161246"/>
                </a:cubicBezTo>
                <a:cubicBezTo>
                  <a:pt x="1249951" y="4157869"/>
                  <a:pt x="1252084" y="4155834"/>
                  <a:pt x="1253971" y="4155079"/>
                </a:cubicBezTo>
                <a:close/>
                <a:moveTo>
                  <a:pt x="2452780" y="4146088"/>
                </a:moveTo>
                <a:cubicBezTo>
                  <a:pt x="2455043" y="4146088"/>
                  <a:pt x="2456895" y="4150361"/>
                  <a:pt x="2456895" y="4155585"/>
                </a:cubicBezTo>
                <a:cubicBezTo>
                  <a:pt x="2456895" y="4165375"/>
                  <a:pt x="2451735" y="4168162"/>
                  <a:pt x="2446810" y="4161032"/>
                </a:cubicBezTo>
                <a:cubicBezTo>
                  <a:pt x="2443317" y="4155974"/>
                  <a:pt x="2447266" y="4146088"/>
                  <a:pt x="2452780" y="4146088"/>
                </a:cubicBezTo>
                <a:close/>
                <a:moveTo>
                  <a:pt x="3700993" y="4127095"/>
                </a:moveTo>
                <a:cubicBezTo>
                  <a:pt x="3704599" y="4127095"/>
                  <a:pt x="3707552" y="4131369"/>
                  <a:pt x="3707552" y="4136592"/>
                </a:cubicBezTo>
                <a:cubicBezTo>
                  <a:pt x="3707552" y="4146478"/>
                  <a:pt x="3702380" y="4149152"/>
                  <a:pt x="3697347" y="4141867"/>
                </a:cubicBezTo>
                <a:cubicBezTo>
                  <a:pt x="3692316" y="4134583"/>
                  <a:pt x="3694164" y="4127095"/>
                  <a:pt x="3700993" y="4127095"/>
                </a:cubicBezTo>
                <a:close/>
                <a:moveTo>
                  <a:pt x="879089" y="4115046"/>
                </a:moveTo>
                <a:cubicBezTo>
                  <a:pt x="881735" y="4116220"/>
                  <a:pt x="884499" y="4120291"/>
                  <a:pt x="887014" y="4127095"/>
                </a:cubicBezTo>
                <a:cubicBezTo>
                  <a:pt x="892157" y="4141008"/>
                  <a:pt x="888963" y="4142857"/>
                  <a:pt x="877084" y="4132845"/>
                </a:cubicBezTo>
                <a:cubicBezTo>
                  <a:pt x="872824" y="4129255"/>
                  <a:pt x="870480" y="4123644"/>
                  <a:pt x="871875" y="4120376"/>
                </a:cubicBezTo>
                <a:cubicBezTo>
                  <a:pt x="873917" y="4115594"/>
                  <a:pt x="876444" y="4113872"/>
                  <a:pt x="879089" y="4115046"/>
                </a:cubicBezTo>
                <a:close/>
                <a:moveTo>
                  <a:pt x="1862177" y="4108103"/>
                </a:moveTo>
                <a:cubicBezTo>
                  <a:pt x="1864582" y="4108103"/>
                  <a:pt x="1866550" y="4110952"/>
                  <a:pt x="1866550" y="4114434"/>
                </a:cubicBezTo>
                <a:cubicBezTo>
                  <a:pt x="1866550" y="4117916"/>
                  <a:pt x="1864582" y="4120765"/>
                  <a:pt x="1862177" y="4120765"/>
                </a:cubicBezTo>
                <a:cubicBezTo>
                  <a:pt x="1859772" y="4120765"/>
                  <a:pt x="1857804" y="4117916"/>
                  <a:pt x="1857804" y="4114434"/>
                </a:cubicBezTo>
                <a:cubicBezTo>
                  <a:pt x="1857804" y="4110952"/>
                  <a:pt x="1859772" y="4108103"/>
                  <a:pt x="1862177" y="4108103"/>
                </a:cubicBezTo>
                <a:close/>
                <a:moveTo>
                  <a:pt x="1183790" y="4089207"/>
                </a:moveTo>
                <a:cubicBezTo>
                  <a:pt x="1175343" y="4089092"/>
                  <a:pt x="1170409" y="4117009"/>
                  <a:pt x="1177152" y="4126770"/>
                </a:cubicBezTo>
                <a:cubicBezTo>
                  <a:pt x="1183404" y="4135821"/>
                  <a:pt x="1183458" y="4135681"/>
                  <a:pt x="1180982" y="4116926"/>
                </a:cubicBezTo>
                <a:cubicBezTo>
                  <a:pt x="1179645" y="4106797"/>
                  <a:pt x="1181145" y="4098278"/>
                  <a:pt x="1184868" y="4094865"/>
                </a:cubicBezTo>
                <a:cubicBezTo>
                  <a:pt x="1189788" y="4090354"/>
                  <a:pt x="1189585" y="4089286"/>
                  <a:pt x="1183790" y="4089207"/>
                </a:cubicBezTo>
                <a:close/>
                <a:moveTo>
                  <a:pt x="1852771" y="4080379"/>
                </a:moveTo>
                <a:cubicBezTo>
                  <a:pt x="1854627" y="4078346"/>
                  <a:pt x="1857361" y="4077918"/>
                  <a:pt x="1859380" y="4080841"/>
                </a:cubicBezTo>
                <a:cubicBezTo>
                  <a:pt x="1863538" y="4086860"/>
                  <a:pt x="1862763" y="4095441"/>
                  <a:pt x="1858062" y="4095441"/>
                </a:cubicBezTo>
                <a:cubicBezTo>
                  <a:pt x="1855799" y="4095441"/>
                  <a:pt x="1852815" y="4092789"/>
                  <a:pt x="1851431" y="4089548"/>
                </a:cubicBezTo>
                <a:cubicBezTo>
                  <a:pt x="1849938" y="4086050"/>
                  <a:pt x="1850915" y="4082412"/>
                  <a:pt x="1852771" y="4080379"/>
                </a:cubicBezTo>
                <a:close/>
                <a:moveTo>
                  <a:pt x="3747913" y="4076860"/>
                </a:moveTo>
                <a:cubicBezTo>
                  <a:pt x="3751091" y="4076093"/>
                  <a:pt x="3755245" y="4078390"/>
                  <a:pt x="3759152" y="4084046"/>
                </a:cubicBezTo>
                <a:cubicBezTo>
                  <a:pt x="3766966" y="4095357"/>
                  <a:pt x="3765498" y="4108103"/>
                  <a:pt x="3756383" y="4108103"/>
                </a:cubicBezTo>
                <a:cubicBezTo>
                  <a:pt x="3751974" y="4108103"/>
                  <a:pt x="3747053" y="4106204"/>
                  <a:pt x="3745450" y="4103882"/>
                </a:cubicBezTo>
                <a:cubicBezTo>
                  <a:pt x="3743846" y="4101561"/>
                  <a:pt x="3742535" y="4094439"/>
                  <a:pt x="3742535" y="4088055"/>
                </a:cubicBezTo>
                <a:cubicBezTo>
                  <a:pt x="3742535" y="4081457"/>
                  <a:pt x="3744736" y="4077627"/>
                  <a:pt x="3747913" y="4076860"/>
                </a:cubicBezTo>
                <a:close/>
                <a:moveTo>
                  <a:pt x="1114457" y="4072746"/>
                </a:moveTo>
                <a:cubicBezTo>
                  <a:pt x="1107329" y="4073494"/>
                  <a:pt x="1103523" y="4090906"/>
                  <a:pt x="1107340" y="4105307"/>
                </a:cubicBezTo>
                <a:cubicBezTo>
                  <a:pt x="1108671" y="4110327"/>
                  <a:pt x="1113265" y="4114103"/>
                  <a:pt x="1117549" y="4113700"/>
                </a:cubicBezTo>
                <a:cubicBezTo>
                  <a:pt x="1124850" y="4113011"/>
                  <a:pt x="1124858" y="4112783"/>
                  <a:pt x="1117687" y="4110070"/>
                </a:cubicBezTo>
                <a:cubicBezTo>
                  <a:pt x="1108839" y="4106722"/>
                  <a:pt x="1107112" y="4078797"/>
                  <a:pt x="1115500" y="4074720"/>
                </a:cubicBezTo>
                <a:cubicBezTo>
                  <a:pt x="1118694" y="4073168"/>
                  <a:pt x="1118261" y="4072348"/>
                  <a:pt x="1114457" y="4072746"/>
                </a:cubicBezTo>
                <a:close/>
                <a:moveTo>
                  <a:pt x="2356317" y="4044794"/>
                </a:moveTo>
                <a:cubicBezTo>
                  <a:pt x="2358723" y="4044794"/>
                  <a:pt x="2360690" y="4047476"/>
                  <a:pt x="2360690" y="4050752"/>
                </a:cubicBezTo>
                <a:cubicBezTo>
                  <a:pt x="2360690" y="4054028"/>
                  <a:pt x="2358723" y="4058470"/>
                  <a:pt x="2356317" y="4060622"/>
                </a:cubicBezTo>
                <a:cubicBezTo>
                  <a:pt x="2353912" y="4062773"/>
                  <a:pt x="2351944" y="4060093"/>
                  <a:pt x="2351944" y="4054664"/>
                </a:cubicBezTo>
                <a:cubicBezTo>
                  <a:pt x="2351944" y="4049236"/>
                  <a:pt x="2353912" y="4044794"/>
                  <a:pt x="2356317" y="4044794"/>
                </a:cubicBezTo>
                <a:close/>
                <a:moveTo>
                  <a:pt x="1890281" y="4038463"/>
                </a:moveTo>
                <a:cubicBezTo>
                  <a:pt x="1893712" y="4038463"/>
                  <a:pt x="1899465" y="4047010"/>
                  <a:pt x="1903064" y="4057456"/>
                </a:cubicBezTo>
                <a:cubicBezTo>
                  <a:pt x="1906663" y="4067902"/>
                  <a:pt x="1909267" y="4076188"/>
                  <a:pt x="1908851" y="4075870"/>
                </a:cubicBezTo>
                <a:cubicBezTo>
                  <a:pt x="1908434" y="4075551"/>
                  <a:pt x="1902684" y="4070566"/>
                  <a:pt x="1896075" y="4064790"/>
                </a:cubicBezTo>
                <a:cubicBezTo>
                  <a:pt x="1883267" y="4053600"/>
                  <a:pt x="1879935" y="4038463"/>
                  <a:pt x="1890281" y="4038463"/>
                </a:cubicBezTo>
                <a:close/>
                <a:moveTo>
                  <a:pt x="1534930" y="4031057"/>
                </a:moveTo>
                <a:cubicBezTo>
                  <a:pt x="1536432" y="4029521"/>
                  <a:pt x="1540659" y="4030428"/>
                  <a:pt x="1547326" y="4034071"/>
                </a:cubicBezTo>
                <a:cubicBezTo>
                  <a:pt x="1559255" y="4040589"/>
                  <a:pt x="1565914" y="4057456"/>
                  <a:pt x="1556559" y="4057456"/>
                </a:cubicBezTo>
                <a:cubicBezTo>
                  <a:pt x="1552555" y="4057456"/>
                  <a:pt x="1552177" y="4077140"/>
                  <a:pt x="1556072" y="4082779"/>
                </a:cubicBezTo>
                <a:cubicBezTo>
                  <a:pt x="1561052" y="4089989"/>
                  <a:pt x="1569191" y="4114864"/>
                  <a:pt x="1569191" y="4122875"/>
                </a:cubicBezTo>
                <a:cubicBezTo>
                  <a:pt x="1569191" y="4127613"/>
                  <a:pt x="1573127" y="4138058"/>
                  <a:pt x="1577937" y="4146088"/>
                </a:cubicBezTo>
                <a:cubicBezTo>
                  <a:pt x="1582747" y="4154118"/>
                  <a:pt x="1586682" y="4164220"/>
                  <a:pt x="1586682" y="4168537"/>
                </a:cubicBezTo>
                <a:cubicBezTo>
                  <a:pt x="1586682" y="4172854"/>
                  <a:pt x="1589634" y="4178027"/>
                  <a:pt x="1593242" y="4180031"/>
                </a:cubicBezTo>
                <a:cubicBezTo>
                  <a:pt x="1599854" y="4183704"/>
                  <a:pt x="1602616" y="4203087"/>
                  <a:pt x="1596521" y="4203041"/>
                </a:cubicBezTo>
                <a:cubicBezTo>
                  <a:pt x="1594718" y="4203028"/>
                  <a:pt x="1578872" y="4182372"/>
                  <a:pt x="1561308" y="4157141"/>
                </a:cubicBezTo>
                <a:cubicBezTo>
                  <a:pt x="1530023" y="4112198"/>
                  <a:pt x="1521290" y="4097058"/>
                  <a:pt x="1521156" y="4087528"/>
                </a:cubicBezTo>
                <a:cubicBezTo>
                  <a:pt x="1521043" y="4079517"/>
                  <a:pt x="1533360" y="4082270"/>
                  <a:pt x="1535320" y="4090693"/>
                </a:cubicBezTo>
                <a:cubicBezTo>
                  <a:pt x="1536333" y="4095046"/>
                  <a:pt x="1538601" y="4087552"/>
                  <a:pt x="1540362" y="4074041"/>
                </a:cubicBezTo>
                <a:cubicBezTo>
                  <a:pt x="1542343" y="4058838"/>
                  <a:pt x="1541780" y="4046895"/>
                  <a:pt x="1538885" y="4042703"/>
                </a:cubicBezTo>
                <a:cubicBezTo>
                  <a:pt x="1534651" y="4036573"/>
                  <a:pt x="1533428" y="4032593"/>
                  <a:pt x="1534930" y="4031057"/>
                </a:cubicBezTo>
                <a:close/>
                <a:moveTo>
                  <a:pt x="843613" y="4027015"/>
                </a:moveTo>
                <a:cubicBezTo>
                  <a:pt x="846199" y="4028263"/>
                  <a:pt x="848314" y="4031990"/>
                  <a:pt x="848314" y="4035298"/>
                </a:cubicBezTo>
                <a:cubicBezTo>
                  <a:pt x="848314" y="4038606"/>
                  <a:pt x="846199" y="4042333"/>
                  <a:pt x="843613" y="4043581"/>
                </a:cubicBezTo>
                <a:cubicBezTo>
                  <a:pt x="841028" y="4044829"/>
                  <a:pt x="838912" y="4041101"/>
                  <a:pt x="838912" y="4035298"/>
                </a:cubicBezTo>
                <a:cubicBezTo>
                  <a:pt x="838912" y="4029495"/>
                  <a:pt x="841028" y="4025767"/>
                  <a:pt x="843613" y="4027015"/>
                </a:cubicBezTo>
                <a:close/>
                <a:moveTo>
                  <a:pt x="2342527" y="4008437"/>
                </a:moveTo>
                <a:cubicBezTo>
                  <a:pt x="2345218" y="4007880"/>
                  <a:pt x="2347571" y="4010188"/>
                  <a:pt x="2347571" y="4015778"/>
                </a:cubicBezTo>
                <a:cubicBezTo>
                  <a:pt x="2347571" y="4021291"/>
                  <a:pt x="2344456" y="4025802"/>
                  <a:pt x="2340648" y="4025802"/>
                </a:cubicBezTo>
                <a:cubicBezTo>
                  <a:pt x="2336840" y="4025802"/>
                  <a:pt x="2334503" y="4022419"/>
                  <a:pt x="2335455" y="4018284"/>
                </a:cubicBezTo>
                <a:cubicBezTo>
                  <a:pt x="2336806" y="4012415"/>
                  <a:pt x="2339835" y="4008993"/>
                  <a:pt x="2342527" y="4008437"/>
                </a:cubicBezTo>
                <a:close/>
                <a:moveTo>
                  <a:pt x="3724941" y="4000570"/>
                </a:moveTo>
                <a:cubicBezTo>
                  <a:pt x="3731163" y="3995002"/>
                  <a:pt x="3742535" y="4006925"/>
                  <a:pt x="3742535" y="4019019"/>
                </a:cubicBezTo>
                <a:cubicBezTo>
                  <a:pt x="3742535" y="4029203"/>
                  <a:pt x="3731275" y="4027178"/>
                  <a:pt x="3724767" y="4015823"/>
                </a:cubicBezTo>
                <a:cubicBezTo>
                  <a:pt x="3720044" y="4007587"/>
                  <a:pt x="3720075" y="4004924"/>
                  <a:pt x="3724941" y="4000570"/>
                </a:cubicBezTo>
                <a:close/>
                <a:moveTo>
                  <a:pt x="1367217" y="3939176"/>
                </a:moveTo>
                <a:lnTo>
                  <a:pt x="1375598" y="3939675"/>
                </a:lnTo>
                <a:cubicBezTo>
                  <a:pt x="1377051" y="3941779"/>
                  <a:pt x="1374468" y="3943275"/>
                  <a:pt x="1369858" y="3943001"/>
                </a:cubicBezTo>
                <a:close/>
                <a:moveTo>
                  <a:pt x="1367216" y="3939176"/>
                </a:moveTo>
                <a:lnTo>
                  <a:pt x="1367217" y="3939176"/>
                </a:lnTo>
                <a:lnTo>
                  <a:pt x="1367216" y="3939176"/>
                </a:lnTo>
                <a:close/>
                <a:moveTo>
                  <a:pt x="2495323" y="3937371"/>
                </a:moveTo>
                <a:cubicBezTo>
                  <a:pt x="2497036" y="3937482"/>
                  <a:pt x="2501881" y="3941357"/>
                  <a:pt x="2506090" y="3945983"/>
                </a:cubicBezTo>
                <a:cubicBezTo>
                  <a:pt x="2514499" y="3955224"/>
                  <a:pt x="2516657" y="3987817"/>
                  <a:pt x="2508860" y="3987817"/>
                </a:cubicBezTo>
                <a:cubicBezTo>
                  <a:pt x="2506010" y="3987817"/>
                  <a:pt x="2504847" y="3994405"/>
                  <a:pt x="2506067" y="4003644"/>
                </a:cubicBezTo>
                <a:cubicBezTo>
                  <a:pt x="2508040" y="4018586"/>
                  <a:pt x="2499797" y="4026668"/>
                  <a:pt x="2494768" y="4014723"/>
                </a:cubicBezTo>
                <a:cubicBezTo>
                  <a:pt x="2491463" y="4006872"/>
                  <a:pt x="2491962" y="3937154"/>
                  <a:pt x="2495323" y="3937371"/>
                </a:cubicBezTo>
                <a:close/>
                <a:moveTo>
                  <a:pt x="3895920" y="3935463"/>
                </a:moveTo>
                <a:cubicBezTo>
                  <a:pt x="3898485" y="3936562"/>
                  <a:pt x="3899960" y="3944742"/>
                  <a:pt x="3899960" y="3959837"/>
                </a:cubicBezTo>
                <a:cubicBezTo>
                  <a:pt x="3899960" y="3977338"/>
                  <a:pt x="3902268" y="3983280"/>
                  <a:pt x="3911406" y="3989307"/>
                </a:cubicBezTo>
                <a:cubicBezTo>
                  <a:pt x="3921443" y="3995928"/>
                  <a:pt x="3923817" y="3995132"/>
                  <a:pt x="3930692" y="3982841"/>
                </a:cubicBezTo>
                <a:cubicBezTo>
                  <a:pt x="3940937" y="3964524"/>
                  <a:pt x="3946474" y="3965129"/>
                  <a:pt x="3949909" y="3984943"/>
                </a:cubicBezTo>
                <a:cubicBezTo>
                  <a:pt x="3953443" y="4005328"/>
                  <a:pt x="3949552" y="4014678"/>
                  <a:pt x="3939464" y="4010043"/>
                </a:cubicBezTo>
                <a:cubicBezTo>
                  <a:pt x="3933373" y="4007244"/>
                  <a:pt x="3931188" y="4010501"/>
                  <a:pt x="3929769" y="4024499"/>
                </a:cubicBezTo>
                <a:cubicBezTo>
                  <a:pt x="3928763" y="4034436"/>
                  <a:pt x="3930371" y="4045858"/>
                  <a:pt x="3933346" y="4049881"/>
                </a:cubicBezTo>
                <a:cubicBezTo>
                  <a:pt x="3940204" y="4059157"/>
                  <a:pt x="3946041" y="4113587"/>
                  <a:pt x="3940956" y="4120846"/>
                </a:cubicBezTo>
                <a:cubicBezTo>
                  <a:pt x="3938809" y="4123909"/>
                  <a:pt x="3933770" y="4123562"/>
                  <a:pt x="3929478" y="4120056"/>
                </a:cubicBezTo>
                <a:cubicBezTo>
                  <a:pt x="3924007" y="4115587"/>
                  <a:pt x="3921825" y="4105879"/>
                  <a:pt x="3921825" y="4086004"/>
                </a:cubicBezTo>
                <a:cubicBezTo>
                  <a:pt x="3921825" y="4070714"/>
                  <a:pt x="3919827" y="4056416"/>
                  <a:pt x="3917386" y="4054232"/>
                </a:cubicBezTo>
                <a:cubicBezTo>
                  <a:pt x="3914944" y="4052047"/>
                  <a:pt x="3910125" y="4040483"/>
                  <a:pt x="3906676" y="4028534"/>
                </a:cubicBezTo>
                <a:cubicBezTo>
                  <a:pt x="3902585" y="4014359"/>
                  <a:pt x="3897455" y="4006809"/>
                  <a:pt x="3891911" y="4006809"/>
                </a:cubicBezTo>
                <a:cubicBezTo>
                  <a:pt x="3879691" y="4006809"/>
                  <a:pt x="3876455" y="3980566"/>
                  <a:pt x="3885345" y="3953575"/>
                </a:cubicBezTo>
                <a:cubicBezTo>
                  <a:pt x="3889702" y="3940346"/>
                  <a:pt x="3893356" y="3934364"/>
                  <a:pt x="3895920" y="3935463"/>
                </a:cubicBezTo>
                <a:close/>
                <a:moveTo>
                  <a:pt x="2337188" y="3930839"/>
                </a:moveTo>
                <a:cubicBezTo>
                  <a:pt x="2341763" y="3930839"/>
                  <a:pt x="2343356" y="3936017"/>
                  <a:pt x="2342396" y="3947761"/>
                </a:cubicBezTo>
                <a:cubicBezTo>
                  <a:pt x="2340687" y="3968659"/>
                  <a:pt x="2331821" y="3974077"/>
                  <a:pt x="2327982" y="3956568"/>
                </a:cubicBezTo>
                <a:cubicBezTo>
                  <a:pt x="2324570" y="3941003"/>
                  <a:pt x="2328207" y="3930839"/>
                  <a:pt x="2337188" y="3930839"/>
                </a:cubicBezTo>
                <a:close/>
                <a:moveTo>
                  <a:pt x="2224989" y="3912997"/>
                </a:moveTo>
                <a:cubicBezTo>
                  <a:pt x="2226643" y="3913005"/>
                  <a:pt x="2228411" y="3914065"/>
                  <a:pt x="2230083" y="3916486"/>
                </a:cubicBezTo>
                <a:cubicBezTo>
                  <a:pt x="2235437" y="3924236"/>
                  <a:pt x="2232336" y="3943501"/>
                  <a:pt x="2225735" y="3943501"/>
                </a:cubicBezTo>
                <a:cubicBezTo>
                  <a:pt x="2223512" y="3943501"/>
                  <a:pt x="2220433" y="3938751"/>
                  <a:pt x="2218895" y="3932946"/>
                </a:cubicBezTo>
                <a:cubicBezTo>
                  <a:pt x="2216102" y="3922410"/>
                  <a:pt x="2220029" y="3912972"/>
                  <a:pt x="2224989" y="3912997"/>
                </a:cubicBezTo>
                <a:close/>
                <a:moveTo>
                  <a:pt x="1388112" y="3908577"/>
                </a:moveTo>
                <a:cubicBezTo>
                  <a:pt x="1385822" y="3908943"/>
                  <a:pt x="1383840" y="3911987"/>
                  <a:pt x="1380454" y="3917982"/>
                </a:cubicBezTo>
                <a:cubicBezTo>
                  <a:pt x="1372652" y="3931799"/>
                  <a:pt x="1363663" y="3935077"/>
                  <a:pt x="1363663" y="3924107"/>
                </a:cubicBezTo>
                <a:cubicBezTo>
                  <a:pt x="1363663" y="3920325"/>
                  <a:pt x="1357435" y="3918244"/>
                  <a:pt x="1349452" y="3919359"/>
                </a:cubicBezTo>
                <a:cubicBezTo>
                  <a:pt x="1337649" y="3921007"/>
                  <a:pt x="1335239" y="3923978"/>
                  <a:pt x="1335239" y="3936885"/>
                </a:cubicBezTo>
                <a:cubicBezTo>
                  <a:pt x="1335239" y="3948254"/>
                  <a:pt x="1338174" y="3953421"/>
                  <a:pt x="1346172" y="3956132"/>
                </a:cubicBezTo>
                <a:cubicBezTo>
                  <a:pt x="1354295" y="3958885"/>
                  <a:pt x="1358141" y="3965852"/>
                  <a:pt x="1361141" y="3983244"/>
                </a:cubicBezTo>
                <a:cubicBezTo>
                  <a:pt x="1366324" y="4013290"/>
                  <a:pt x="1379378" y="4020675"/>
                  <a:pt x="1390289" y="3999733"/>
                </a:cubicBezTo>
                <a:cubicBezTo>
                  <a:pt x="1399821" y="3981439"/>
                  <a:pt x="1405230" y="3987414"/>
                  <a:pt x="1400728" y="4011262"/>
                </a:cubicBezTo>
                <a:cubicBezTo>
                  <a:pt x="1394690" y="4043248"/>
                  <a:pt x="1398307" y="4072265"/>
                  <a:pt x="1410270" y="4087809"/>
                </a:cubicBezTo>
                <a:cubicBezTo>
                  <a:pt x="1420615" y="4101248"/>
                  <a:pt x="1421855" y="4101531"/>
                  <a:pt x="1426873" y="4091597"/>
                </a:cubicBezTo>
                <a:cubicBezTo>
                  <a:pt x="1430678" y="4084064"/>
                  <a:pt x="1433223" y="4083036"/>
                  <a:pt x="1435407" y="4088151"/>
                </a:cubicBezTo>
                <a:cubicBezTo>
                  <a:pt x="1439959" y="4098813"/>
                  <a:pt x="1455342" y="4097052"/>
                  <a:pt x="1458399" y="4085520"/>
                </a:cubicBezTo>
                <a:cubicBezTo>
                  <a:pt x="1459846" y="4080062"/>
                  <a:pt x="1458800" y="4072370"/>
                  <a:pt x="1456075" y="4068426"/>
                </a:cubicBezTo>
                <a:cubicBezTo>
                  <a:pt x="1453351" y="4064481"/>
                  <a:pt x="1451122" y="4056099"/>
                  <a:pt x="1451122" y="4049797"/>
                </a:cubicBezTo>
                <a:cubicBezTo>
                  <a:pt x="1451122" y="4043496"/>
                  <a:pt x="1447186" y="4033461"/>
                  <a:pt x="1442376" y="4027499"/>
                </a:cubicBezTo>
                <a:cubicBezTo>
                  <a:pt x="1437566" y="4021535"/>
                  <a:pt x="1433630" y="4012989"/>
                  <a:pt x="1433630" y="4008506"/>
                </a:cubicBezTo>
                <a:cubicBezTo>
                  <a:pt x="1433630" y="4004022"/>
                  <a:pt x="1429795" y="3995601"/>
                  <a:pt x="1425108" y="3989791"/>
                </a:cubicBezTo>
                <a:cubicBezTo>
                  <a:pt x="1420421" y="3983981"/>
                  <a:pt x="1417456" y="3977189"/>
                  <a:pt x="1418520" y="3974698"/>
                </a:cubicBezTo>
                <a:cubicBezTo>
                  <a:pt x="1422053" y="3966421"/>
                  <a:pt x="1407671" y="3925510"/>
                  <a:pt x="1397617" y="3915240"/>
                </a:cubicBezTo>
                <a:cubicBezTo>
                  <a:pt x="1392999" y="3910523"/>
                  <a:pt x="1390401" y="3908211"/>
                  <a:pt x="1388112" y="3908577"/>
                </a:cubicBezTo>
                <a:close/>
                <a:moveTo>
                  <a:pt x="523559" y="3899185"/>
                </a:moveTo>
                <a:cubicBezTo>
                  <a:pt x="532732" y="3899185"/>
                  <a:pt x="547770" y="3927730"/>
                  <a:pt x="543663" y="3937349"/>
                </a:cubicBezTo>
                <a:cubicBezTo>
                  <a:pt x="539177" y="3947859"/>
                  <a:pt x="529159" y="3944115"/>
                  <a:pt x="526248" y="3930839"/>
                </a:cubicBezTo>
                <a:cubicBezTo>
                  <a:pt x="524721" y="3923875"/>
                  <a:pt x="521637" y="3918177"/>
                  <a:pt x="519394" y="3918177"/>
                </a:cubicBezTo>
                <a:cubicBezTo>
                  <a:pt x="517151" y="3918177"/>
                  <a:pt x="515316" y="3913904"/>
                  <a:pt x="515316" y="3908681"/>
                </a:cubicBezTo>
                <a:cubicBezTo>
                  <a:pt x="515316" y="3903458"/>
                  <a:pt x="519025" y="3899185"/>
                  <a:pt x="523559" y="3899185"/>
                </a:cubicBezTo>
                <a:close/>
                <a:moveTo>
                  <a:pt x="4105488" y="3892854"/>
                </a:moveTo>
                <a:cubicBezTo>
                  <a:pt x="4107893" y="3892854"/>
                  <a:pt x="4109861" y="3895702"/>
                  <a:pt x="4109861" y="3899185"/>
                </a:cubicBezTo>
                <a:cubicBezTo>
                  <a:pt x="4109861" y="3902667"/>
                  <a:pt x="4107893" y="3905515"/>
                  <a:pt x="4105488" y="3905515"/>
                </a:cubicBezTo>
                <a:cubicBezTo>
                  <a:pt x="4103082" y="3905515"/>
                  <a:pt x="4101115" y="3902667"/>
                  <a:pt x="4101115" y="3899185"/>
                </a:cubicBezTo>
                <a:cubicBezTo>
                  <a:pt x="4101115" y="3895702"/>
                  <a:pt x="4103082" y="3892854"/>
                  <a:pt x="4105488" y="3892854"/>
                </a:cubicBezTo>
                <a:close/>
                <a:moveTo>
                  <a:pt x="2909492" y="3892854"/>
                </a:moveTo>
                <a:cubicBezTo>
                  <a:pt x="2913574" y="3892854"/>
                  <a:pt x="2916052" y="3898833"/>
                  <a:pt x="2916052" y="3908681"/>
                </a:cubicBezTo>
                <a:cubicBezTo>
                  <a:pt x="2916052" y="3918529"/>
                  <a:pt x="2913574" y="3924508"/>
                  <a:pt x="2909492" y="3924508"/>
                </a:cubicBezTo>
                <a:cubicBezTo>
                  <a:pt x="2905412" y="3924508"/>
                  <a:pt x="2902933" y="3918529"/>
                  <a:pt x="2902933" y="3908681"/>
                </a:cubicBezTo>
                <a:cubicBezTo>
                  <a:pt x="2902933" y="3898833"/>
                  <a:pt x="2905412" y="3892854"/>
                  <a:pt x="2909492" y="3892854"/>
                </a:cubicBezTo>
                <a:close/>
                <a:moveTo>
                  <a:pt x="2655863" y="3892854"/>
                </a:moveTo>
                <a:cubicBezTo>
                  <a:pt x="2659470" y="3892854"/>
                  <a:pt x="2662423" y="3895535"/>
                  <a:pt x="2662423" y="3898811"/>
                </a:cubicBezTo>
                <a:cubicBezTo>
                  <a:pt x="2662423" y="3906794"/>
                  <a:pt x="2655593" y="3912512"/>
                  <a:pt x="2652101" y="3907454"/>
                </a:cubicBezTo>
                <a:cubicBezTo>
                  <a:pt x="2647175" y="3900324"/>
                  <a:pt x="2649101" y="3892854"/>
                  <a:pt x="2655863" y="3892854"/>
                </a:cubicBezTo>
                <a:close/>
                <a:moveTo>
                  <a:pt x="2015126" y="3890471"/>
                </a:moveTo>
                <a:cubicBezTo>
                  <a:pt x="2018179" y="3886051"/>
                  <a:pt x="2021270" y="3886407"/>
                  <a:pt x="2024850" y="3891588"/>
                </a:cubicBezTo>
                <a:cubicBezTo>
                  <a:pt x="2027736" y="3895766"/>
                  <a:pt x="2035607" y="3899185"/>
                  <a:pt x="2042341" y="3899185"/>
                </a:cubicBezTo>
                <a:cubicBezTo>
                  <a:pt x="2050646" y="3899185"/>
                  <a:pt x="2054585" y="3902441"/>
                  <a:pt x="2054585" y="3909307"/>
                </a:cubicBezTo>
                <a:cubicBezTo>
                  <a:pt x="2054585" y="3919304"/>
                  <a:pt x="2067171" y="3962689"/>
                  <a:pt x="2071849" y="3968824"/>
                </a:cubicBezTo>
                <a:cubicBezTo>
                  <a:pt x="2075939" y="3974186"/>
                  <a:pt x="2084746" y="3996282"/>
                  <a:pt x="2091632" y="4018461"/>
                </a:cubicBezTo>
                <a:cubicBezTo>
                  <a:pt x="2096420" y="4033881"/>
                  <a:pt x="2096979" y="4042908"/>
                  <a:pt x="2093696" y="4051792"/>
                </a:cubicBezTo>
                <a:cubicBezTo>
                  <a:pt x="2090178" y="4061308"/>
                  <a:pt x="2090784" y="4064859"/>
                  <a:pt x="2096463" y="4068015"/>
                </a:cubicBezTo>
                <a:cubicBezTo>
                  <a:pt x="2102527" y="4071383"/>
                  <a:pt x="2103267" y="4077823"/>
                  <a:pt x="2100916" y="4106782"/>
                </a:cubicBezTo>
                <a:cubicBezTo>
                  <a:pt x="2098452" y="4137132"/>
                  <a:pt x="2099212" y="4142640"/>
                  <a:pt x="2106951" y="4150489"/>
                </a:cubicBezTo>
                <a:cubicBezTo>
                  <a:pt x="2111822" y="4155427"/>
                  <a:pt x="2115806" y="4164434"/>
                  <a:pt x="2115806" y="4170504"/>
                </a:cubicBezTo>
                <a:cubicBezTo>
                  <a:pt x="2115806" y="4176574"/>
                  <a:pt x="2118021" y="4184746"/>
                  <a:pt x="2120728" y="4188665"/>
                </a:cubicBezTo>
                <a:cubicBezTo>
                  <a:pt x="2125881" y="4196127"/>
                  <a:pt x="2122376" y="4241389"/>
                  <a:pt x="2116702" y="4240650"/>
                </a:cubicBezTo>
                <a:cubicBezTo>
                  <a:pt x="2115007" y="4240429"/>
                  <a:pt x="2109193" y="4237672"/>
                  <a:pt x="2103781" y="4234523"/>
                </a:cubicBezTo>
                <a:lnTo>
                  <a:pt x="2103781" y="4234523"/>
                </a:lnTo>
                <a:cubicBezTo>
                  <a:pt x="2098369" y="4231374"/>
                  <a:pt x="2093605" y="4223720"/>
                  <a:pt x="2093194" y="4217514"/>
                </a:cubicBezTo>
                <a:cubicBezTo>
                  <a:pt x="2092783" y="4211309"/>
                  <a:pt x="2092225" y="4201681"/>
                  <a:pt x="2091953" y="4196119"/>
                </a:cubicBezTo>
                <a:cubicBezTo>
                  <a:pt x="2091475" y="4186310"/>
                  <a:pt x="2071274" y="4155196"/>
                  <a:pt x="2062695" y="4151056"/>
                </a:cubicBezTo>
                <a:cubicBezTo>
                  <a:pt x="2060057" y="4149784"/>
                  <a:pt x="2060504" y="4137905"/>
                  <a:pt x="2063875" y="4119655"/>
                </a:cubicBezTo>
                <a:cubicBezTo>
                  <a:pt x="2068214" y="4096172"/>
                  <a:pt x="2068187" y="4082900"/>
                  <a:pt x="2063743" y="4053303"/>
                </a:cubicBezTo>
                <a:cubicBezTo>
                  <a:pt x="2060687" y="4032954"/>
                  <a:pt x="2056643" y="4011938"/>
                  <a:pt x="2054756" y="4006601"/>
                </a:cubicBezTo>
                <a:cubicBezTo>
                  <a:pt x="2052869" y="4001264"/>
                  <a:pt x="2049979" y="3988027"/>
                  <a:pt x="2048334" y="3977186"/>
                </a:cubicBezTo>
                <a:cubicBezTo>
                  <a:pt x="2046690" y="3966345"/>
                  <a:pt x="2041520" y="3952465"/>
                  <a:pt x="2036846" y="3946341"/>
                </a:cubicBezTo>
                <a:cubicBezTo>
                  <a:pt x="2032172" y="3940218"/>
                  <a:pt x="2028348" y="3931817"/>
                  <a:pt x="2028348" y="3927674"/>
                </a:cubicBezTo>
                <a:cubicBezTo>
                  <a:pt x="2028348" y="3923530"/>
                  <a:pt x="2024366" y="3914922"/>
                  <a:pt x="2019499" y="3908546"/>
                </a:cubicBezTo>
                <a:cubicBezTo>
                  <a:pt x="2013463" y="3900638"/>
                  <a:pt x="2012073" y="3894892"/>
                  <a:pt x="2015126" y="3890471"/>
                </a:cubicBezTo>
                <a:close/>
                <a:moveTo>
                  <a:pt x="3762359" y="3882921"/>
                </a:moveTo>
                <a:cubicBezTo>
                  <a:pt x="3765128" y="3881912"/>
                  <a:pt x="3768444" y="3886099"/>
                  <a:pt x="3771539" y="3895761"/>
                </a:cubicBezTo>
                <a:cubicBezTo>
                  <a:pt x="3777140" y="3913245"/>
                  <a:pt x="3775346" y="3918177"/>
                  <a:pt x="3763380" y="3918177"/>
                </a:cubicBezTo>
                <a:cubicBezTo>
                  <a:pt x="3756946" y="3918177"/>
                  <a:pt x="3755385" y="3914362"/>
                  <a:pt x="3756456" y="3901256"/>
                </a:cubicBezTo>
                <a:cubicBezTo>
                  <a:pt x="3757366" y="3890135"/>
                  <a:pt x="3759589" y="3883930"/>
                  <a:pt x="3762359" y="3882921"/>
                </a:cubicBezTo>
                <a:close/>
                <a:moveTo>
                  <a:pt x="4054105" y="3868673"/>
                </a:moveTo>
                <a:cubicBezTo>
                  <a:pt x="4062485" y="3870396"/>
                  <a:pt x="4064004" y="3874724"/>
                  <a:pt x="4064349" y="3897845"/>
                </a:cubicBezTo>
                <a:cubicBezTo>
                  <a:pt x="4064572" y="3912776"/>
                  <a:pt x="4063565" y="3926057"/>
                  <a:pt x="4062113" y="3927356"/>
                </a:cubicBezTo>
                <a:cubicBezTo>
                  <a:pt x="4060660" y="3928655"/>
                  <a:pt x="4054083" y="3924035"/>
                  <a:pt x="4047496" y="3917089"/>
                </a:cubicBezTo>
                <a:cubicBezTo>
                  <a:pt x="4035765" y="3904717"/>
                  <a:pt x="4031239" y="3886523"/>
                  <a:pt x="4039894" y="3886523"/>
                </a:cubicBezTo>
                <a:cubicBezTo>
                  <a:pt x="4042299" y="3886523"/>
                  <a:pt x="4044267" y="3882052"/>
                  <a:pt x="4044267" y="3876586"/>
                </a:cubicBezTo>
                <a:cubicBezTo>
                  <a:pt x="4044267" y="3869903"/>
                  <a:pt x="4047487" y="3867312"/>
                  <a:pt x="4054105" y="3868673"/>
                </a:cubicBezTo>
                <a:close/>
                <a:moveTo>
                  <a:pt x="2218103" y="3867530"/>
                </a:moveTo>
                <a:cubicBezTo>
                  <a:pt x="2221453" y="3867530"/>
                  <a:pt x="2225327" y="3871803"/>
                  <a:pt x="2226711" y="3877027"/>
                </a:cubicBezTo>
                <a:cubicBezTo>
                  <a:pt x="2228423" y="3883486"/>
                  <a:pt x="2226475" y="3886523"/>
                  <a:pt x="2220619" y="3886523"/>
                </a:cubicBezTo>
                <a:cubicBezTo>
                  <a:pt x="2215883" y="3886523"/>
                  <a:pt x="2212011" y="3882252"/>
                  <a:pt x="2212011" y="3877027"/>
                </a:cubicBezTo>
                <a:cubicBezTo>
                  <a:pt x="2212011" y="3871803"/>
                  <a:pt x="2214752" y="3867530"/>
                  <a:pt x="2218103" y="3867530"/>
                </a:cubicBezTo>
                <a:close/>
                <a:moveTo>
                  <a:pt x="1971688" y="3857866"/>
                </a:moveTo>
                <a:cubicBezTo>
                  <a:pt x="1977160" y="3852970"/>
                  <a:pt x="1988801" y="3895709"/>
                  <a:pt x="1986087" y="3910735"/>
                </a:cubicBezTo>
                <a:cubicBezTo>
                  <a:pt x="1984860" y="3917524"/>
                  <a:pt x="1985996" y="3924993"/>
                  <a:pt x="1988610" y="3927333"/>
                </a:cubicBezTo>
                <a:cubicBezTo>
                  <a:pt x="1991226" y="3929672"/>
                  <a:pt x="1993364" y="3941041"/>
                  <a:pt x="1993364" y="3952596"/>
                </a:cubicBezTo>
                <a:cubicBezTo>
                  <a:pt x="1993364" y="3964151"/>
                  <a:pt x="1996120" y="3976915"/>
                  <a:pt x="1999487" y="3980960"/>
                </a:cubicBezTo>
                <a:cubicBezTo>
                  <a:pt x="2002854" y="3985006"/>
                  <a:pt x="2005609" y="3998543"/>
                  <a:pt x="2005609" y="4011042"/>
                </a:cubicBezTo>
                <a:cubicBezTo>
                  <a:pt x="2005609" y="4023542"/>
                  <a:pt x="2007464" y="4035537"/>
                  <a:pt x="2009731" y="4037699"/>
                </a:cubicBezTo>
                <a:cubicBezTo>
                  <a:pt x="2011999" y="4039861"/>
                  <a:pt x="2015098" y="4050888"/>
                  <a:pt x="2016619" y="4062204"/>
                </a:cubicBezTo>
                <a:cubicBezTo>
                  <a:pt x="2019841" y="4086182"/>
                  <a:pt x="2010010" y="4091486"/>
                  <a:pt x="2002084" y="4070047"/>
                </a:cubicBezTo>
                <a:cubicBezTo>
                  <a:pt x="1999495" y="4063042"/>
                  <a:pt x="1997871" y="4053784"/>
                  <a:pt x="1998475" y="4049471"/>
                </a:cubicBezTo>
                <a:cubicBezTo>
                  <a:pt x="2000402" y="4035704"/>
                  <a:pt x="1988985" y="4013140"/>
                  <a:pt x="1980092" y="4013140"/>
                </a:cubicBezTo>
                <a:cubicBezTo>
                  <a:pt x="1975366" y="4013140"/>
                  <a:pt x="1971500" y="4008867"/>
                  <a:pt x="1971500" y="4003644"/>
                </a:cubicBezTo>
                <a:cubicBezTo>
                  <a:pt x="1971500" y="3998421"/>
                  <a:pt x="1973468" y="3994147"/>
                  <a:pt x="1975873" y="3994147"/>
                </a:cubicBezTo>
                <a:cubicBezTo>
                  <a:pt x="1981430" y="3994147"/>
                  <a:pt x="1981644" y="3970593"/>
                  <a:pt x="1976112" y="3967769"/>
                </a:cubicBezTo>
                <a:cubicBezTo>
                  <a:pt x="1970708" y="3965010"/>
                  <a:pt x="1966578" y="3862438"/>
                  <a:pt x="1971688" y="3857866"/>
                </a:cubicBezTo>
                <a:close/>
                <a:moveTo>
                  <a:pt x="502197" y="3851703"/>
                </a:moveTo>
                <a:cubicBezTo>
                  <a:pt x="504602" y="3849551"/>
                  <a:pt x="506570" y="3852232"/>
                  <a:pt x="506570" y="3857660"/>
                </a:cubicBezTo>
                <a:cubicBezTo>
                  <a:pt x="506570" y="3863089"/>
                  <a:pt x="504602" y="3867530"/>
                  <a:pt x="502197" y="3867530"/>
                </a:cubicBezTo>
                <a:cubicBezTo>
                  <a:pt x="499792" y="3867530"/>
                  <a:pt x="497824" y="3864850"/>
                  <a:pt x="497824" y="3861573"/>
                </a:cubicBezTo>
                <a:cubicBezTo>
                  <a:pt x="497824" y="3858297"/>
                  <a:pt x="499792" y="3853855"/>
                  <a:pt x="502197" y="3851703"/>
                </a:cubicBezTo>
                <a:close/>
                <a:moveTo>
                  <a:pt x="2255504" y="3849289"/>
                </a:moveTo>
                <a:cubicBezTo>
                  <a:pt x="2258339" y="3850660"/>
                  <a:pt x="2260113" y="3856731"/>
                  <a:pt x="2260113" y="3867157"/>
                </a:cubicBezTo>
                <a:cubicBezTo>
                  <a:pt x="2260113" y="3890357"/>
                  <a:pt x="2254613" y="3895889"/>
                  <a:pt x="2245726" y="3881626"/>
                </a:cubicBezTo>
                <a:cubicBezTo>
                  <a:pt x="2240091" y="3872582"/>
                  <a:pt x="2239885" y="3868784"/>
                  <a:pt x="2244530" y="3859617"/>
                </a:cubicBezTo>
                <a:cubicBezTo>
                  <a:pt x="2248773" y="3851245"/>
                  <a:pt x="2252669" y="3847917"/>
                  <a:pt x="2255504" y="3849289"/>
                </a:cubicBezTo>
                <a:close/>
                <a:moveTo>
                  <a:pt x="3417010" y="3829545"/>
                </a:moveTo>
                <a:cubicBezTo>
                  <a:pt x="3420476" y="3829545"/>
                  <a:pt x="3423312" y="3833818"/>
                  <a:pt x="3423312" y="3839042"/>
                </a:cubicBezTo>
                <a:cubicBezTo>
                  <a:pt x="3423312" y="3848577"/>
                  <a:pt x="3414080" y="3852056"/>
                  <a:pt x="3408853" y="3844489"/>
                </a:cubicBezTo>
                <a:cubicBezTo>
                  <a:pt x="3404773" y="3838581"/>
                  <a:pt x="3409705" y="3829545"/>
                  <a:pt x="3417010" y="3829545"/>
                </a:cubicBezTo>
                <a:close/>
                <a:moveTo>
                  <a:pt x="2738431" y="3824454"/>
                </a:moveTo>
                <a:cubicBezTo>
                  <a:pt x="2739993" y="3823468"/>
                  <a:pt x="2743623" y="3824329"/>
                  <a:pt x="2750318" y="3826407"/>
                </a:cubicBezTo>
                <a:cubicBezTo>
                  <a:pt x="2758495" y="3828947"/>
                  <a:pt x="2765412" y="3831404"/>
                  <a:pt x="2765687" y="3831867"/>
                </a:cubicBezTo>
                <a:cubicBezTo>
                  <a:pt x="2765963" y="3832331"/>
                  <a:pt x="2767474" y="3847325"/>
                  <a:pt x="2769047" y="3865187"/>
                </a:cubicBezTo>
                <a:cubicBezTo>
                  <a:pt x="2771804" y="3896481"/>
                  <a:pt x="2771493" y="3897778"/>
                  <a:pt x="2760550" y="3900807"/>
                </a:cubicBezTo>
                <a:cubicBezTo>
                  <a:pt x="2754148" y="3902579"/>
                  <a:pt x="2748519" y="3900839"/>
                  <a:pt x="2747649" y="3896820"/>
                </a:cubicBezTo>
                <a:cubicBezTo>
                  <a:pt x="2746801" y="3892898"/>
                  <a:pt x="2745288" y="3879717"/>
                  <a:pt x="2744287" y="3867530"/>
                </a:cubicBezTo>
                <a:cubicBezTo>
                  <a:pt x="2743287" y="3855344"/>
                  <a:pt x="2740888" y="3840067"/>
                  <a:pt x="2738958" y="3833582"/>
                </a:cubicBezTo>
                <a:cubicBezTo>
                  <a:pt x="2737378" y="3828273"/>
                  <a:pt x="2736870" y="3825440"/>
                  <a:pt x="2738431" y="3824454"/>
                </a:cubicBezTo>
                <a:close/>
                <a:moveTo>
                  <a:pt x="1314629" y="3823496"/>
                </a:moveTo>
                <a:cubicBezTo>
                  <a:pt x="1309924" y="3824382"/>
                  <a:pt x="1305359" y="3827673"/>
                  <a:pt x="1304002" y="3832791"/>
                </a:cubicBezTo>
                <a:cubicBezTo>
                  <a:pt x="1302606" y="3838059"/>
                  <a:pt x="1303933" y="3846674"/>
                  <a:pt x="1306949" y="3851937"/>
                </a:cubicBezTo>
                <a:cubicBezTo>
                  <a:pt x="1314633" y="3865340"/>
                  <a:pt x="1317317" y="3858785"/>
                  <a:pt x="1311067" y="3841880"/>
                </a:cubicBezTo>
                <a:cubicBezTo>
                  <a:pt x="1306233" y="3828802"/>
                  <a:pt x="1306662" y="3828027"/>
                  <a:pt x="1317140" y="3830926"/>
                </a:cubicBezTo>
                <a:cubicBezTo>
                  <a:pt x="1323341" y="3832643"/>
                  <a:pt x="1327375" y="3831610"/>
                  <a:pt x="1326103" y="3828631"/>
                </a:cubicBezTo>
                <a:cubicBezTo>
                  <a:pt x="1324181" y="3824130"/>
                  <a:pt x="1319335" y="3822610"/>
                  <a:pt x="1314629" y="3823496"/>
                </a:cubicBezTo>
                <a:close/>
                <a:moveTo>
                  <a:pt x="3892163" y="3819903"/>
                </a:moveTo>
                <a:cubicBezTo>
                  <a:pt x="3896293" y="3817585"/>
                  <a:pt x="3904890" y="3818207"/>
                  <a:pt x="3911267" y="3821285"/>
                </a:cubicBezTo>
                <a:cubicBezTo>
                  <a:pt x="3920929" y="3825948"/>
                  <a:pt x="3923141" y="3831329"/>
                  <a:pt x="3924522" y="3853537"/>
                </a:cubicBezTo>
                <a:cubicBezTo>
                  <a:pt x="3925968" y="3876764"/>
                  <a:pt x="3925057" y="3880192"/>
                  <a:pt x="3917443" y="3880192"/>
                </a:cubicBezTo>
                <a:cubicBezTo>
                  <a:pt x="3911118" y="3880192"/>
                  <a:pt x="3908706" y="3875967"/>
                  <a:pt x="3908706" y="3864893"/>
                </a:cubicBezTo>
                <a:cubicBezTo>
                  <a:pt x="3908706" y="3855512"/>
                  <a:pt x="3904055" y="3844666"/>
                  <a:pt x="3896680" y="3836855"/>
                </a:cubicBezTo>
                <a:cubicBezTo>
                  <a:pt x="3886276" y="3825832"/>
                  <a:pt x="3885667" y="3823549"/>
                  <a:pt x="3892163" y="3819903"/>
                </a:cubicBezTo>
                <a:close/>
                <a:moveTo>
                  <a:pt x="1959090" y="3812273"/>
                </a:moveTo>
                <a:cubicBezTo>
                  <a:pt x="1962026" y="3813352"/>
                  <a:pt x="1965749" y="3817761"/>
                  <a:pt x="1968903" y="3825000"/>
                </a:cubicBezTo>
                <a:cubicBezTo>
                  <a:pt x="1972200" y="3832566"/>
                  <a:pt x="1971980" y="3837713"/>
                  <a:pt x="1968122" y="3843299"/>
                </a:cubicBezTo>
                <a:cubicBezTo>
                  <a:pt x="1965170" y="3847573"/>
                  <a:pt x="1962521" y="3848364"/>
                  <a:pt x="1962236" y="3845056"/>
                </a:cubicBezTo>
                <a:cubicBezTo>
                  <a:pt x="1961951" y="3841748"/>
                  <a:pt x="1961951" y="3836905"/>
                  <a:pt x="1962236" y="3834293"/>
                </a:cubicBezTo>
                <a:cubicBezTo>
                  <a:pt x="1962521" y="3831682"/>
                  <a:pt x="1960786" y="3829545"/>
                  <a:pt x="1958381" y="3829545"/>
                </a:cubicBezTo>
                <a:cubicBezTo>
                  <a:pt x="1955976" y="3829545"/>
                  <a:pt x="1954008" y="3825035"/>
                  <a:pt x="1954008" y="3819521"/>
                </a:cubicBezTo>
                <a:cubicBezTo>
                  <a:pt x="1954008" y="3813443"/>
                  <a:pt x="1956155" y="3811193"/>
                  <a:pt x="1959090" y="3812273"/>
                </a:cubicBezTo>
                <a:close/>
                <a:moveTo>
                  <a:pt x="486892" y="3810553"/>
                </a:moveTo>
                <a:cubicBezTo>
                  <a:pt x="490500" y="3810553"/>
                  <a:pt x="493451" y="3814826"/>
                  <a:pt x="493451" y="3820049"/>
                </a:cubicBezTo>
                <a:cubicBezTo>
                  <a:pt x="493451" y="3825272"/>
                  <a:pt x="490500" y="3829545"/>
                  <a:pt x="486892" y="3829545"/>
                </a:cubicBezTo>
                <a:cubicBezTo>
                  <a:pt x="483284" y="3829545"/>
                  <a:pt x="480332" y="3825272"/>
                  <a:pt x="480332" y="3820049"/>
                </a:cubicBezTo>
                <a:cubicBezTo>
                  <a:pt x="480332" y="3814826"/>
                  <a:pt x="483284" y="3810553"/>
                  <a:pt x="486892" y="3810553"/>
                </a:cubicBezTo>
                <a:close/>
                <a:moveTo>
                  <a:pt x="4113305" y="3809050"/>
                </a:moveTo>
                <a:cubicBezTo>
                  <a:pt x="4121709" y="3813106"/>
                  <a:pt x="4119461" y="3823215"/>
                  <a:pt x="4110156" y="3823215"/>
                </a:cubicBezTo>
                <a:cubicBezTo>
                  <a:pt x="4105506" y="3823215"/>
                  <a:pt x="4100455" y="3828912"/>
                  <a:pt x="4098927" y="3835877"/>
                </a:cubicBezTo>
                <a:cubicBezTo>
                  <a:pt x="4094805" y="3854684"/>
                  <a:pt x="4087996" y="3851200"/>
                  <a:pt x="4087996" y="3830284"/>
                </a:cubicBezTo>
                <a:cubicBezTo>
                  <a:pt x="4087996" y="3816291"/>
                  <a:pt x="4090332" y="3811382"/>
                  <a:pt x="4098000" y="3809260"/>
                </a:cubicBezTo>
                <a:cubicBezTo>
                  <a:pt x="4103503" y="3807737"/>
                  <a:pt x="4110390" y="3807643"/>
                  <a:pt x="4113305" y="3809050"/>
                </a:cubicBezTo>
                <a:close/>
                <a:moveTo>
                  <a:pt x="2043084" y="3794750"/>
                </a:moveTo>
                <a:cubicBezTo>
                  <a:pt x="2041816" y="3795042"/>
                  <a:pt x="2041467" y="3797207"/>
                  <a:pt x="2041467" y="3801376"/>
                </a:cubicBezTo>
                <a:cubicBezTo>
                  <a:pt x="2041467" y="3806834"/>
                  <a:pt x="2043435" y="3809539"/>
                  <a:pt x="2045840" y="3807387"/>
                </a:cubicBezTo>
                <a:cubicBezTo>
                  <a:pt x="2048245" y="3805235"/>
                  <a:pt x="2050212" y="3806492"/>
                  <a:pt x="2050212" y="3810179"/>
                </a:cubicBezTo>
                <a:cubicBezTo>
                  <a:pt x="2050212" y="3813867"/>
                  <a:pt x="2052181" y="3816883"/>
                  <a:pt x="2054585" y="3816883"/>
                </a:cubicBezTo>
                <a:cubicBezTo>
                  <a:pt x="2056991" y="3816883"/>
                  <a:pt x="2058958" y="3814720"/>
                  <a:pt x="2058958" y="3812075"/>
                </a:cubicBezTo>
                <a:cubicBezTo>
                  <a:pt x="2058958" y="3809431"/>
                  <a:pt x="2055023" y="3803709"/>
                  <a:pt x="2050212" y="3799360"/>
                </a:cubicBezTo>
                <a:cubicBezTo>
                  <a:pt x="2046538" y="3796038"/>
                  <a:pt x="2044352" y="3794458"/>
                  <a:pt x="2043084" y="3794750"/>
                </a:cubicBezTo>
                <a:close/>
                <a:moveTo>
                  <a:pt x="1790937" y="3787564"/>
                </a:moveTo>
                <a:cubicBezTo>
                  <a:pt x="1790740" y="3787287"/>
                  <a:pt x="1790249" y="3790113"/>
                  <a:pt x="1789378" y="3795919"/>
                </a:cubicBezTo>
                <a:cubicBezTo>
                  <a:pt x="1788235" y="3803539"/>
                  <a:pt x="1783976" y="3811211"/>
                  <a:pt x="1779916" y="3812965"/>
                </a:cubicBezTo>
                <a:cubicBezTo>
                  <a:pt x="1774602" y="3815262"/>
                  <a:pt x="1774984" y="3815797"/>
                  <a:pt x="1781278" y="3814873"/>
                </a:cubicBezTo>
                <a:cubicBezTo>
                  <a:pt x="1787214" y="3814001"/>
                  <a:pt x="1790254" y="3808526"/>
                  <a:pt x="1790740" y="3797826"/>
                </a:cubicBezTo>
                <a:cubicBezTo>
                  <a:pt x="1791040" y="3791221"/>
                  <a:pt x="1791135" y="3787841"/>
                  <a:pt x="1790937" y="3787564"/>
                </a:cubicBezTo>
                <a:close/>
                <a:moveTo>
                  <a:pt x="2023582" y="3786360"/>
                </a:moveTo>
                <a:cubicBezTo>
                  <a:pt x="2022843" y="3786156"/>
                  <a:pt x="2021117" y="3788463"/>
                  <a:pt x="2017887" y="3793139"/>
                </a:cubicBezTo>
                <a:cubicBezTo>
                  <a:pt x="2009485" y="3805302"/>
                  <a:pt x="2008763" y="3812617"/>
                  <a:pt x="2016323" y="3808973"/>
                </a:cubicBezTo>
                <a:cubicBezTo>
                  <a:pt x="2019329" y="3807524"/>
                  <a:pt x="2022493" y="3801078"/>
                  <a:pt x="2023354" y="3794649"/>
                </a:cubicBezTo>
                <a:cubicBezTo>
                  <a:pt x="2024072" y="3789280"/>
                  <a:pt x="2024321" y="3786564"/>
                  <a:pt x="2023582" y="3786360"/>
                </a:cubicBezTo>
                <a:close/>
                <a:moveTo>
                  <a:pt x="2013093" y="3774587"/>
                </a:moveTo>
                <a:cubicBezTo>
                  <a:pt x="2008310" y="3775297"/>
                  <a:pt x="2004185" y="3780119"/>
                  <a:pt x="2003926" y="3785302"/>
                </a:cubicBezTo>
                <a:cubicBezTo>
                  <a:pt x="2003667" y="3790485"/>
                  <a:pt x="2004257" y="3791340"/>
                  <a:pt x="2005238" y="3787201"/>
                </a:cubicBezTo>
                <a:cubicBezTo>
                  <a:pt x="2006219" y="3783063"/>
                  <a:pt x="2010344" y="3778241"/>
                  <a:pt x="2014405" y="3776486"/>
                </a:cubicBezTo>
                <a:cubicBezTo>
                  <a:pt x="2019760" y="3774171"/>
                  <a:pt x="2019399" y="3773649"/>
                  <a:pt x="2013093" y="3774587"/>
                </a:cubicBezTo>
                <a:close/>
                <a:moveTo>
                  <a:pt x="2633998" y="3759906"/>
                </a:moveTo>
                <a:cubicBezTo>
                  <a:pt x="2637606" y="3759906"/>
                  <a:pt x="2640558" y="3764179"/>
                  <a:pt x="2640558" y="3769402"/>
                </a:cubicBezTo>
                <a:cubicBezTo>
                  <a:pt x="2640558" y="3774625"/>
                  <a:pt x="2637606" y="3778898"/>
                  <a:pt x="2633998" y="3778898"/>
                </a:cubicBezTo>
                <a:cubicBezTo>
                  <a:pt x="2630391" y="3778898"/>
                  <a:pt x="2627439" y="3774625"/>
                  <a:pt x="2627439" y="3769402"/>
                </a:cubicBezTo>
                <a:cubicBezTo>
                  <a:pt x="2627439" y="3764179"/>
                  <a:pt x="2630391" y="3759906"/>
                  <a:pt x="2633998" y="3759906"/>
                </a:cubicBezTo>
                <a:close/>
                <a:moveTo>
                  <a:pt x="4107673" y="3751286"/>
                </a:moveTo>
                <a:cubicBezTo>
                  <a:pt x="4115157" y="3755443"/>
                  <a:pt x="4115150" y="3755412"/>
                  <a:pt x="4111580" y="3768885"/>
                </a:cubicBezTo>
                <a:cubicBezTo>
                  <a:pt x="4107513" y="3784222"/>
                  <a:pt x="4101115" y="3780789"/>
                  <a:pt x="4101115" y="3763270"/>
                </a:cubicBezTo>
                <a:cubicBezTo>
                  <a:pt x="4101115" y="3751979"/>
                  <a:pt x="4102934" y="3748653"/>
                  <a:pt x="4107673" y="3751286"/>
                </a:cubicBezTo>
                <a:close/>
                <a:moveTo>
                  <a:pt x="1769471" y="3740913"/>
                </a:moveTo>
                <a:cubicBezTo>
                  <a:pt x="1760672" y="3740913"/>
                  <a:pt x="1759276" y="3754454"/>
                  <a:pt x="1766156" y="3773065"/>
                </a:cubicBezTo>
                <a:cubicBezTo>
                  <a:pt x="1769816" y="3782965"/>
                  <a:pt x="1772397" y="3784085"/>
                  <a:pt x="1779275" y="3778756"/>
                </a:cubicBezTo>
                <a:cubicBezTo>
                  <a:pt x="1783984" y="3775107"/>
                  <a:pt x="1787837" y="3768519"/>
                  <a:pt x="1787837" y="3764115"/>
                </a:cubicBezTo>
                <a:cubicBezTo>
                  <a:pt x="1787837" y="3752569"/>
                  <a:pt x="1778610" y="3740913"/>
                  <a:pt x="1769471" y="3740913"/>
                </a:cubicBezTo>
                <a:close/>
                <a:moveTo>
                  <a:pt x="2273182" y="3737793"/>
                </a:moveTo>
                <a:cubicBezTo>
                  <a:pt x="2270804" y="3739920"/>
                  <a:pt x="2268859" y="3744341"/>
                  <a:pt x="2268859" y="3747618"/>
                </a:cubicBezTo>
                <a:cubicBezTo>
                  <a:pt x="2268859" y="3756725"/>
                  <a:pt x="2271994" y="3754718"/>
                  <a:pt x="2274901" y="3743750"/>
                </a:cubicBezTo>
                <a:cubicBezTo>
                  <a:pt x="2276394" y="3738116"/>
                  <a:pt x="2275661" y="3735575"/>
                  <a:pt x="2273182" y="3737793"/>
                </a:cubicBezTo>
                <a:close/>
                <a:moveTo>
                  <a:pt x="2067015" y="3729938"/>
                </a:moveTo>
                <a:cubicBezTo>
                  <a:pt x="2065032" y="3730426"/>
                  <a:pt x="2062949" y="3732424"/>
                  <a:pt x="2060477" y="3736003"/>
                </a:cubicBezTo>
                <a:cubicBezTo>
                  <a:pt x="2051676" y="3748743"/>
                  <a:pt x="2056577" y="3772567"/>
                  <a:pt x="2067999" y="3772567"/>
                </a:cubicBezTo>
                <a:cubicBezTo>
                  <a:pt x="2072647" y="3772567"/>
                  <a:pt x="2076450" y="3775416"/>
                  <a:pt x="2076450" y="3778898"/>
                </a:cubicBezTo>
                <a:cubicBezTo>
                  <a:pt x="2076450" y="3786965"/>
                  <a:pt x="2077951" y="3786852"/>
                  <a:pt x="2091750" y="3777750"/>
                </a:cubicBezTo>
                <a:cubicBezTo>
                  <a:pt x="2106590" y="3767961"/>
                  <a:pt x="2105195" y="3745019"/>
                  <a:pt x="2089569" y="3741890"/>
                </a:cubicBezTo>
                <a:cubicBezTo>
                  <a:pt x="2083556" y="3740685"/>
                  <a:pt x="2076078" y="3736657"/>
                  <a:pt x="2072951" y="3732937"/>
                </a:cubicBezTo>
                <a:cubicBezTo>
                  <a:pt x="2070881" y="3730474"/>
                  <a:pt x="2068998" y="3729451"/>
                  <a:pt x="2067015" y="3729938"/>
                </a:cubicBezTo>
                <a:close/>
                <a:moveTo>
                  <a:pt x="1479546" y="3728251"/>
                </a:moveTo>
                <a:cubicBezTo>
                  <a:pt x="1483154" y="3728251"/>
                  <a:pt x="1486105" y="3732524"/>
                  <a:pt x="1486105" y="3737748"/>
                </a:cubicBezTo>
                <a:cubicBezTo>
                  <a:pt x="1486105" y="3742971"/>
                  <a:pt x="1483154" y="3747244"/>
                  <a:pt x="1479546" y="3747244"/>
                </a:cubicBezTo>
                <a:cubicBezTo>
                  <a:pt x="1475938" y="3747244"/>
                  <a:pt x="1472986" y="3742971"/>
                  <a:pt x="1472986" y="3737748"/>
                </a:cubicBezTo>
                <a:cubicBezTo>
                  <a:pt x="1472986" y="3732524"/>
                  <a:pt x="1475938" y="3728251"/>
                  <a:pt x="1479546" y="3728251"/>
                </a:cubicBezTo>
                <a:close/>
                <a:moveTo>
                  <a:pt x="2608904" y="3725099"/>
                </a:moveTo>
                <a:cubicBezTo>
                  <a:pt x="2610542" y="3726827"/>
                  <a:pt x="2610330" y="3730229"/>
                  <a:pt x="2607432" y="3734424"/>
                </a:cubicBezTo>
                <a:cubicBezTo>
                  <a:pt x="2605168" y="3737704"/>
                  <a:pt x="2600706" y="3738052"/>
                  <a:pt x="2597518" y="3735200"/>
                </a:cubicBezTo>
                <a:cubicBezTo>
                  <a:pt x="2592964" y="3731125"/>
                  <a:pt x="2593340" y="3729115"/>
                  <a:pt x="2599274" y="3725818"/>
                </a:cubicBezTo>
                <a:cubicBezTo>
                  <a:pt x="2603777" y="3723317"/>
                  <a:pt x="2607266" y="3723371"/>
                  <a:pt x="2608904" y="3725099"/>
                </a:cubicBezTo>
                <a:close/>
                <a:moveTo>
                  <a:pt x="2581523" y="3714641"/>
                </a:moveTo>
                <a:cubicBezTo>
                  <a:pt x="2583808" y="3714641"/>
                  <a:pt x="2586382" y="3717703"/>
                  <a:pt x="2587244" y="3721446"/>
                </a:cubicBezTo>
                <a:cubicBezTo>
                  <a:pt x="2588106" y="3725189"/>
                  <a:pt x="2585532" y="3728251"/>
                  <a:pt x="2581523" y="3728251"/>
                </a:cubicBezTo>
                <a:cubicBezTo>
                  <a:pt x="2577515" y="3728251"/>
                  <a:pt x="2574940" y="3725189"/>
                  <a:pt x="2575802" y="3721446"/>
                </a:cubicBezTo>
                <a:cubicBezTo>
                  <a:pt x="2576664" y="3717703"/>
                  <a:pt x="2579238" y="3714641"/>
                  <a:pt x="2581523" y="3714641"/>
                </a:cubicBezTo>
                <a:close/>
                <a:moveTo>
                  <a:pt x="1636912" y="3707003"/>
                </a:moveTo>
                <a:cubicBezTo>
                  <a:pt x="1641037" y="3704711"/>
                  <a:pt x="1642869" y="3705686"/>
                  <a:pt x="1641308" y="3709343"/>
                </a:cubicBezTo>
                <a:cubicBezTo>
                  <a:pt x="1639836" y="3712791"/>
                  <a:pt x="1643575" y="3718335"/>
                  <a:pt x="1649617" y="3721661"/>
                </a:cubicBezTo>
                <a:cubicBezTo>
                  <a:pt x="1655660" y="3724987"/>
                  <a:pt x="1663448" y="3735671"/>
                  <a:pt x="1666924" y="3745404"/>
                </a:cubicBezTo>
                <a:cubicBezTo>
                  <a:pt x="1670401" y="3755137"/>
                  <a:pt x="1677383" y="3768522"/>
                  <a:pt x="1682439" y="3775146"/>
                </a:cubicBezTo>
                <a:cubicBezTo>
                  <a:pt x="1687496" y="3781772"/>
                  <a:pt x="1691633" y="3792215"/>
                  <a:pt x="1691633" y="3798355"/>
                </a:cubicBezTo>
                <a:cubicBezTo>
                  <a:pt x="1691633" y="3819130"/>
                  <a:pt x="1696899" y="3829545"/>
                  <a:pt x="1707406" y="3829545"/>
                </a:cubicBezTo>
                <a:cubicBezTo>
                  <a:pt x="1722195" y="3829545"/>
                  <a:pt x="1720827" y="3847204"/>
                  <a:pt x="1705845" y="3849700"/>
                </a:cubicBezTo>
                <a:cubicBezTo>
                  <a:pt x="1697234" y="3851135"/>
                  <a:pt x="1693422" y="3855749"/>
                  <a:pt x="1692422" y="3865948"/>
                </a:cubicBezTo>
                <a:cubicBezTo>
                  <a:pt x="1690837" y="3882100"/>
                  <a:pt x="1690316" y="3882167"/>
                  <a:pt x="1670861" y="3868731"/>
                </a:cubicBezTo>
                <a:cubicBezTo>
                  <a:pt x="1663044" y="3863332"/>
                  <a:pt x="1656649" y="3855297"/>
                  <a:pt x="1656649" y="3850875"/>
                </a:cubicBezTo>
                <a:cubicBezTo>
                  <a:pt x="1656649" y="3846454"/>
                  <a:pt x="1653206" y="3839680"/>
                  <a:pt x="1648997" y="3835823"/>
                </a:cubicBezTo>
                <a:cubicBezTo>
                  <a:pt x="1643517" y="3830801"/>
                  <a:pt x="1642896" y="3827866"/>
                  <a:pt x="1646810" y="3825485"/>
                </a:cubicBezTo>
                <a:cubicBezTo>
                  <a:pt x="1649816" y="3823656"/>
                  <a:pt x="1652276" y="3817048"/>
                  <a:pt x="1652276" y="3810800"/>
                </a:cubicBezTo>
                <a:cubicBezTo>
                  <a:pt x="1652276" y="3794762"/>
                  <a:pt x="1642985" y="3785837"/>
                  <a:pt x="1632598" y="3791898"/>
                </a:cubicBezTo>
                <a:cubicBezTo>
                  <a:pt x="1619750" y="3799395"/>
                  <a:pt x="1617293" y="3798890"/>
                  <a:pt x="1617293" y="3788754"/>
                </a:cubicBezTo>
                <a:cubicBezTo>
                  <a:pt x="1617293" y="3783728"/>
                  <a:pt x="1621429" y="3775422"/>
                  <a:pt x="1626485" y="3770295"/>
                </a:cubicBezTo>
                <a:cubicBezTo>
                  <a:pt x="1634218" y="3762454"/>
                  <a:pt x="1635214" y="3757000"/>
                  <a:pt x="1632758" y="3735953"/>
                </a:cubicBezTo>
                <a:cubicBezTo>
                  <a:pt x="1630444" y="3716125"/>
                  <a:pt x="1631307" y="3710117"/>
                  <a:pt x="1636912" y="3707003"/>
                </a:cubicBezTo>
                <a:close/>
                <a:moveTo>
                  <a:pt x="777691" y="3702928"/>
                </a:moveTo>
                <a:cubicBezTo>
                  <a:pt x="783522" y="3702928"/>
                  <a:pt x="786437" y="3707149"/>
                  <a:pt x="786437" y="3715590"/>
                </a:cubicBezTo>
                <a:cubicBezTo>
                  <a:pt x="786437" y="3729940"/>
                  <a:pt x="781903" y="3731816"/>
                  <a:pt x="774193" y="3720654"/>
                </a:cubicBezTo>
                <a:cubicBezTo>
                  <a:pt x="766484" y="3709493"/>
                  <a:pt x="767779" y="3702928"/>
                  <a:pt x="777691" y="3702928"/>
                </a:cubicBezTo>
                <a:close/>
                <a:moveTo>
                  <a:pt x="2265717" y="3690468"/>
                </a:moveTo>
                <a:cubicBezTo>
                  <a:pt x="2258314" y="3690659"/>
                  <a:pt x="2258307" y="3691087"/>
                  <a:pt x="2265579" y="3699080"/>
                </a:cubicBezTo>
                <a:cubicBezTo>
                  <a:pt x="2269788" y="3703705"/>
                  <a:pt x="2273387" y="3711449"/>
                  <a:pt x="2273577" y="3716288"/>
                </a:cubicBezTo>
                <a:cubicBezTo>
                  <a:pt x="2273840" y="3722989"/>
                  <a:pt x="2274459" y="3723150"/>
                  <a:pt x="2276176" y="3716964"/>
                </a:cubicBezTo>
                <a:cubicBezTo>
                  <a:pt x="2277416" y="3712496"/>
                  <a:pt x="2277322" y="3704662"/>
                  <a:pt x="2275968" y="3699554"/>
                </a:cubicBezTo>
                <a:cubicBezTo>
                  <a:pt x="2274614" y="3694446"/>
                  <a:pt x="2270001" y="3690357"/>
                  <a:pt x="2265717" y="3690468"/>
                </a:cubicBezTo>
                <a:close/>
                <a:moveTo>
                  <a:pt x="4393541" y="3685390"/>
                </a:moveTo>
                <a:cubicBezTo>
                  <a:pt x="4407007" y="3683826"/>
                  <a:pt x="4408035" y="3684924"/>
                  <a:pt x="4405396" y="3698051"/>
                </a:cubicBezTo>
                <a:cubicBezTo>
                  <a:pt x="4396982" y="3739892"/>
                  <a:pt x="4397299" y="3752219"/>
                  <a:pt x="4406971" y="3759714"/>
                </a:cubicBezTo>
                <a:cubicBezTo>
                  <a:pt x="4414177" y="3765297"/>
                  <a:pt x="4416149" y="3771834"/>
                  <a:pt x="4415127" y="3786745"/>
                </a:cubicBezTo>
                <a:cubicBezTo>
                  <a:pt x="4413808" y="3805985"/>
                  <a:pt x="4407473" y="3815139"/>
                  <a:pt x="4401479" y="3806464"/>
                </a:cubicBezTo>
                <a:cubicBezTo>
                  <a:pt x="4399826" y="3804070"/>
                  <a:pt x="4398473" y="3794243"/>
                  <a:pt x="4398473" y="3784626"/>
                </a:cubicBezTo>
                <a:cubicBezTo>
                  <a:pt x="4398473" y="3775009"/>
                  <a:pt x="4395522" y="3762868"/>
                  <a:pt x="4391914" y="3757645"/>
                </a:cubicBezTo>
                <a:cubicBezTo>
                  <a:pt x="4388306" y="3752422"/>
                  <a:pt x="4385355" y="3739398"/>
                  <a:pt x="4385355" y="3728704"/>
                </a:cubicBezTo>
                <a:cubicBezTo>
                  <a:pt x="4385355" y="3715640"/>
                  <a:pt x="4383203" y="3709259"/>
                  <a:pt x="4378795" y="3709259"/>
                </a:cubicBezTo>
                <a:cubicBezTo>
                  <a:pt x="4375187" y="3709259"/>
                  <a:pt x="4372266" y="3707123"/>
                  <a:pt x="4372303" y="3704511"/>
                </a:cubicBezTo>
                <a:cubicBezTo>
                  <a:pt x="4372456" y="3693518"/>
                  <a:pt x="4379702" y="3686995"/>
                  <a:pt x="4393541" y="3685390"/>
                </a:cubicBezTo>
                <a:close/>
                <a:moveTo>
                  <a:pt x="444041" y="3678411"/>
                </a:moveTo>
                <a:cubicBezTo>
                  <a:pt x="446083" y="3677038"/>
                  <a:pt x="449144" y="3679301"/>
                  <a:pt x="453220" y="3685202"/>
                </a:cubicBezTo>
                <a:cubicBezTo>
                  <a:pt x="461267" y="3696852"/>
                  <a:pt x="459463" y="3709259"/>
                  <a:pt x="449722" y="3709259"/>
                </a:cubicBezTo>
                <a:cubicBezTo>
                  <a:pt x="443308" y="3709259"/>
                  <a:pt x="440976" y="3705038"/>
                  <a:pt x="440976" y="3693432"/>
                </a:cubicBezTo>
                <a:cubicBezTo>
                  <a:pt x="440976" y="3684792"/>
                  <a:pt x="441999" y="3679784"/>
                  <a:pt x="444041" y="3678411"/>
                </a:cubicBezTo>
                <a:close/>
                <a:moveTo>
                  <a:pt x="4470885" y="3671274"/>
                </a:moveTo>
                <a:cubicBezTo>
                  <a:pt x="4471945" y="3671274"/>
                  <a:pt x="4472813" y="3674122"/>
                  <a:pt x="4472813" y="3677605"/>
                </a:cubicBezTo>
                <a:cubicBezTo>
                  <a:pt x="4472813" y="3681087"/>
                  <a:pt x="4470729" y="3683935"/>
                  <a:pt x="4468182" y="3683935"/>
                </a:cubicBezTo>
                <a:cubicBezTo>
                  <a:pt x="4465635" y="3683935"/>
                  <a:pt x="4464767" y="3681087"/>
                  <a:pt x="4466253" y="3677605"/>
                </a:cubicBezTo>
                <a:cubicBezTo>
                  <a:pt x="4467740" y="3674122"/>
                  <a:pt x="4469825" y="3671274"/>
                  <a:pt x="4470885" y="3671274"/>
                </a:cubicBezTo>
                <a:close/>
                <a:moveTo>
                  <a:pt x="4171728" y="3669684"/>
                </a:moveTo>
                <a:cubicBezTo>
                  <a:pt x="4182148" y="3673629"/>
                  <a:pt x="4193120" y="3699191"/>
                  <a:pt x="4194226" y="3722097"/>
                </a:cubicBezTo>
                <a:cubicBezTo>
                  <a:pt x="4194724" y="3732432"/>
                  <a:pt x="4196608" y="3740894"/>
                  <a:pt x="4198412" y="3740901"/>
                </a:cubicBezTo>
                <a:cubicBezTo>
                  <a:pt x="4200216" y="3740907"/>
                  <a:pt x="4201692" y="3745186"/>
                  <a:pt x="4201692" y="3750410"/>
                </a:cubicBezTo>
                <a:cubicBezTo>
                  <a:pt x="4201692" y="3755633"/>
                  <a:pt x="4198741" y="3759906"/>
                  <a:pt x="4195132" y="3759906"/>
                </a:cubicBezTo>
                <a:cubicBezTo>
                  <a:pt x="4191525" y="3759906"/>
                  <a:pt x="4188573" y="3755633"/>
                  <a:pt x="4188573" y="3750410"/>
                </a:cubicBezTo>
                <a:cubicBezTo>
                  <a:pt x="4188573" y="3745186"/>
                  <a:pt x="4186391" y="3740913"/>
                  <a:pt x="4183725" y="3740913"/>
                </a:cubicBezTo>
                <a:cubicBezTo>
                  <a:pt x="4180698" y="3740913"/>
                  <a:pt x="4179943" y="3734777"/>
                  <a:pt x="4181714" y="3724559"/>
                </a:cubicBezTo>
                <a:cubicBezTo>
                  <a:pt x="4183943" y="3711701"/>
                  <a:pt x="4182736" y="3707519"/>
                  <a:pt x="4176068" y="3704994"/>
                </a:cubicBezTo>
                <a:cubicBezTo>
                  <a:pt x="4170917" y="3703045"/>
                  <a:pt x="4166888" y="3694907"/>
                  <a:pt x="4165810" y="3684278"/>
                </a:cubicBezTo>
                <a:cubicBezTo>
                  <a:pt x="4164369" y="3670065"/>
                  <a:pt x="4165483" y="3667320"/>
                  <a:pt x="4171728" y="3669684"/>
                </a:cubicBezTo>
                <a:close/>
                <a:moveTo>
                  <a:pt x="3781533" y="3666259"/>
                </a:moveTo>
                <a:cubicBezTo>
                  <a:pt x="3778911" y="3667379"/>
                  <a:pt x="3776058" y="3670574"/>
                  <a:pt x="3772184" y="3676181"/>
                </a:cubicBezTo>
                <a:cubicBezTo>
                  <a:pt x="3763730" y="3688422"/>
                  <a:pt x="3763132" y="3692204"/>
                  <a:pt x="3767900" y="3703257"/>
                </a:cubicBezTo>
                <a:cubicBezTo>
                  <a:pt x="3770948" y="3710324"/>
                  <a:pt x="3772274" y="3718838"/>
                  <a:pt x="3770849" y="3722178"/>
                </a:cubicBezTo>
                <a:cubicBezTo>
                  <a:pt x="3769423" y="3725518"/>
                  <a:pt x="3770340" y="3728251"/>
                  <a:pt x="3772888" y="3728251"/>
                </a:cubicBezTo>
                <a:cubicBezTo>
                  <a:pt x="3775434" y="3728251"/>
                  <a:pt x="3777518" y="3731574"/>
                  <a:pt x="3777518" y="3735634"/>
                </a:cubicBezTo>
                <a:cubicBezTo>
                  <a:pt x="3777518" y="3745550"/>
                  <a:pt x="3791721" y="3765852"/>
                  <a:pt x="3797197" y="3763763"/>
                </a:cubicBezTo>
                <a:cubicBezTo>
                  <a:pt x="3799601" y="3762847"/>
                  <a:pt x="3802141" y="3753769"/>
                  <a:pt x="3802839" y="3743591"/>
                </a:cubicBezTo>
                <a:cubicBezTo>
                  <a:pt x="3804782" y="3715301"/>
                  <a:pt x="3797843" y="3676411"/>
                  <a:pt x="3789493" y="3668785"/>
                </a:cubicBezTo>
                <a:cubicBezTo>
                  <a:pt x="3786545" y="3666092"/>
                  <a:pt x="3784154" y="3665138"/>
                  <a:pt x="3781533" y="3666259"/>
                </a:cubicBezTo>
                <a:close/>
                <a:moveTo>
                  <a:pt x="440976" y="3652281"/>
                </a:moveTo>
                <a:cubicBezTo>
                  <a:pt x="443381" y="3652281"/>
                  <a:pt x="445349" y="3654962"/>
                  <a:pt x="445349" y="3658238"/>
                </a:cubicBezTo>
                <a:cubicBezTo>
                  <a:pt x="445349" y="3661515"/>
                  <a:pt x="443381" y="3665956"/>
                  <a:pt x="440976" y="3668109"/>
                </a:cubicBezTo>
                <a:cubicBezTo>
                  <a:pt x="438571" y="3670260"/>
                  <a:pt x="436603" y="3667580"/>
                  <a:pt x="436603" y="3662151"/>
                </a:cubicBezTo>
                <a:cubicBezTo>
                  <a:pt x="436603" y="3656723"/>
                  <a:pt x="438571" y="3652281"/>
                  <a:pt x="440976" y="3652281"/>
                </a:cubicBezTo>
                <a:close/>
                <a:moveTo>
                  <a:pt x="3171373" y="3641045"/>
                </a:moveTo>
                <a:cubicBezTo>
                  <a:pt x="3176439" y="3643882"/>
                  <a:pt x="3179653" y="3659430"/>
                  <a:pt x="3181007" y="3687671"/>
                </a:cubicBezTo>
                <a:cubicBezTo>
                  <a:pt x="3181977" y="3707877"/>
                  <a:pt x="3184744" y="3727268"/>
                  <a:pt x="3187158" y="3730762"/>
                </a:cubicBezTo>
                <a:cubicBezTo>
                  <a:pt x="3194625" y="3741571"/>
                  <a:pt x="3192227" y="3759906"/>
                  <a:pt x="3183347" y="3759906"/>
                </a:cubicBezTo>
                <a:cubicBezTo>
                  <a:pt x="3177662" y="3759906"/>
                  <a:pt x="3174310" y="3753839"/>
                  <a:pt x="3172415" y="3740122"/>
                </a:cubicBezTo>
                <a:cubicBezTo>
                  <a:pt x="3170911" y="3729240"/>
                  <a:pt x="3169682" y="3712147"/>
                  <a:pt x="3169682" y="3702136"/>
                </a:cubicBezTo>
                <a:cubicBezTo>
                  <a:pt x="3169682" y="3692126"/>
                  <a:pt x="3167713" y="3683935"/>
                  <a:pt x="3165309" y="3683935"/>
                </a:cubicBezTo>
                <a:cubicBezTo>
                  <a:pt x="3159389" y="3683935"/>
                  <a:pt x="3159720" y="3647785"/>
                  <a:pt x="3165690" y="3642444"/>
                </a:cubicBezTo>
                <a:cubicBezTo>
                  <a:pt x="3167790" y="3640565"/>
                  <a:pt x="3169684" y="3640099"/>
                  <a:pt x="3171373" y="3641045"/>
                </a:cubicBezTo>
                <a:close/>
                <a:moveTo>
                  <a:pt x="4333348" y="3639619"/>
                </a:moveTo>
                <a:cubicBezTo>
                  <a:pt x="4335495" y="3639619"/>
                  <a:pt x="4337253" y="3646742"/>
                  <a:pt x="4337253" y="3655447"/>
                </a:cubicBezTo>
                <a:cubicBezTo>
                  <a:pt x="4337253" y="3671092"/>
                  <a:pt x="4331327" y="3676672"/>
                  <a:pt x="4326564" y="3665514"/>
                </a:cubicBezTo>
                <a:cubicBezTo>
                  <a:pt x="4323404" y="3658110"/>
                  <a:pt x="4328247" y="3639619"/>
                  <a:pt x="4333348" y="3639619"/>
                </a:cubicBezTo>
                <a:close/>
                <a:moveTo>
                  <a:pt x="3189618" y="3639619"/>
                </a:moveTo>
                <a:cubicBezTo>
                  <a:pt x="3190679" y="3639619"/>
                  <a:pt x="3191547" y="3642468"/>
                  <a:pt x="3191547" y="3645950"/>
                </a:cubicBezTo>
                <a:cubicBezTo>
                  <a:pt x="3191547" y="3649432"/>
                  <a:pt x="3189462" y="3652281"/>
                  <a:pt x="3186916" y="3652281"/>
                </a:cubicBezTo>
                <a:cubicBezTo>
                  <a:pt x="3184368" y="3652281"/>
                  <a:pt x="3183500" y="3649432"/>
                  <a:pt x="3184987" y="3645950"/>
                </a:cubicBezTo>
                <a:cubicBezTo>
                  <a:pt x="3186474" y="3642468"/>
                  <a:pt x="3188557" y="3639619"/>
                  <a:pt x="3189618" y="3639619"/>
                </a:cubicBezTo>
                <a:close/>
                <a:moveTo>
                  <a:pt x="682150" y="3636920"/>
                </a:moveTo>
                <a:cubicBezTo>
                  <a:pt x="682988" y="3635911"/>
                  <a:pt x="691160" y="3636436"/>
                  <a:pt x="700310" y="3638085"/>
                </a:cubicBezTo>
                <a:cubicBezTo>
                  <a:pt x="714294" y="3640607"/>
                  <a:pt x="716734" y="3643239"/>
                  <a:pt x="715615" y="3654597"/>
                </a:cubicBezTo>
                <a:cubicBezTo>
                  <a:pt x="713678" y="3674264"/>
                  <a:pt x="698421" y="3674483"/>
                  <a:pt x="688710" y="3654982"/>
                </a:cubicBezTo>
                <a:cubicBezTo>
                  <a:pt x="684265" y="3646057"/>
                  <a:pt x="681313" y="3637928"/>
                  <a:pt x="682150" y="3636920"/>
                </a:cubicBezTo>
                <a:close/>
                <a:moveTo>
                  <a:pt x="1590882" y="3636609"/>
                </a:moveTo>
                <a:cubicBezTo>
                  <a:pt x="1596011" y="3632020"/>
                  <a:pt x="1603945" y="3642372"/>
                  <a:pt x="1604107" y="3653864"/>
                </a:cubicBezTo>
                <a:cubicBezTo>
                  <a:pt x="1604200" y="3660428"/>
                  <a:pt x="1602682" y="3659892"/>
                  <a:pt x="1593415" y="3650082"/>
                </a:cubicBezTo>
                <a:cubicBezTo>
                  <a:pt x="1587302" y="3643611"/>
                  <a:pt x="1586691" y="3640359"/>
                  <a:pt x="1590882" y="3636609"/>
                </a:cubicBezTo>
                <a:close/>
                <a:moveTo>
                  <a:pt x="4351611" y="3620852"/>
                </a:moveTo>
                <a:cubicBezTo>
                  <a:pt x="4351946" y="3620814"/>
                  <a:pt x="4352455" y="3623386"/>
                  <a:pt x="4353385" y="3628541"/>
                </a:cubicBezTo>
                <a:cubicBezTo>
                  <a:pt x="4354486" y="3634634"/>
                  <a:pt x="4358948" y="3639620"/>
                  <a:pt x="4363301" y="3639620"/>
                </a:cubicBezTo>
                <a:cubicBezTo>
                  <a:pt x="4371610" y="3639620"/>
                  <a:pt x="4378995" y="3664825"/>
                  <a:pt x="4372776" y="3671956"/>
                </a:cubicBezTo>
                <a:cubicBezTo>
                  <a:pt x="4370826" y="3674193"/>
                  <a:pt x="4369697" y="3674781"/>
                  <a:pt x="4370269" y="3673264"/>
                </a:cubicBezTo>
                <a:cubicBezTo>
                  <a:pt x="4370841" y="3671748"/>
                  <a:pt x="4366598" y="3663687"/>
                  <a:pt x="4360839" y="3655351"/>
                </a:cubicBezTo>
                <a:cubicBezTo>
                  <a:pt x="4355082" y="3647015"/>
                  <a:pt x="4350599" y="3635080"/>
                  <a:pt x="4350879" y="3628828"/>
                </a:cubicBezTo>
                <a:cubicBezTo>
                  <a:pt x="4351115" y="3623540"/>
                  <a:pt x="4351276" y="3620890"/>
                  <a:pt x="4351611" y="3620852"/>
                </a:cubicBezTo>
                <a:close/>
                <a:moveTo>
                  <a:pt x="1737013" y="3614296"/>
                </a:moveTo>
                <a:cubicBezTo>
                  <a:pt x="1729036" y="3614296"/>
                  <a:pt x="1726616" y="3617735"/>
                  <a:pt x="1726616" y="3629068"/>
                </a:cubicBezTo>
                <a:cubicBezTo>
                  <a:pt x="1726616" y="3653909"/>
                  <a:pt x="1738955" y="3660646"/>
                  <a:pt x="1751414" y="3642608"/>
                </a:cubicBezTo>
                <a:cubicBezTo>
                  <a:pt x="1760065" y="3630084"/>
                  <a:pt x="1752034" y="3614296"/>
                  <a:pt x="1737013" y="3614296"/>
                </a:cubicBezTo>
                <a:close/>
                <a:moveTo>
                  <a:pt x="807126" y="3610806"/>
                </a:moveTo>
                <a:cubicBezTo>
                  <a:pt x="808349" y="3613130"/>
                  <a:pt x="808030" y="3617221"/>
                  <a:pt x="805224" y="3621284"/>
                </a:cubicBezTo>
                <a:cubicBezTo>
                  <a:pt x="802084" y="3625831"/>
                  <a:pt x="799638" y="3625940"/>
                  <a:pt x="797792" y="3621616"/>
                </a:cubicBezTo>
                <a:cubicBezTo>
                  <a:pt x="796279" y="3618071"/>
                  <a:pt x="797171" y="3613264"/>
                  <a:pt x="799775" y="3610934"/>
                </a:cubicBezTo>
                <a:cubicBezTo>
                  <a:pt x="803137" y="3607926"/>
                  <a:pt x="805903" y="3608482"/>
                  <a:pt x="807126" y="3610806"/>
                </a:cubicBezTo>
                <a:close/>
                <a:moveTo>
                  <a:pt x="2205452" y="3601634"/>
                </a:moveTo>
                <a:cubicBezTo>
                  <a:pt x="2201844" y="3601634"/>
                  <a:pt x="2198892" y="3604483"/>
                  <a:pt x="2198892" y="3607965"/>
                </a:cubicBezTo>
                <a:cubicBezTo>
                  <a:pt x="2198892" y="3611447"/>
                  <a:pt x="2201844" y="3614296"/>
                  <a:pt x="2205452" y="3614296"/>
                </a:cubicBezTo>
                <a:cubicBezTo>
                  <a:pt x="2209059" y="3614296"/>
                  <a:pt x="2212011" y="3611447"/>
                  <a:pt x="2212011" y="3607965"/>
                </a:cubicBezTo>
                <a:cubicBezTo>
                  <a:pt x="2212011" y="3604483"/>
                  <a:pt x="2209059" y="3601634"/>
                  <a:pt x="2205452" y="3601634"/>
                </a:cubicBezTo>
                <a:close/>
                <a:moveTo>
                  <a:pt x="2052748" y="3583925"/>
                </a:moveTo>
                <a:cubicBezTo>
                  <a:pt x="2039055" y="3586759"/>
                  <a:pt x="2037764" y="3623601"/>
                  <a:pt x="2050662" y="3643478"/>
                </a:cubicBezTo>
                <a:cubicBezTo>
                  <a:pt x="2061876" y="3660759"/>
                  <a:pt x="2072077" y="3663267"/>
                  <a:pt x="2072077" y="3648742"/>
                </a:cubicBezTo>
                <a:cubicBezTo>
                  <a:pt x="2072077" y="3643018"/>
                  <a:pt x="2074153" y="3640729"/>
                  <a:pt x="2077017" y="3643293"/>
                </a:cubicBezTo>
                <a:cubicBezTo>
                  <a:pt x="2079734" y="3645724"/>
                  <a:pt x="2081070" y="3645179"/>
                  <a:pt x="2079985" y="3642083"/>
                </a:cubicBezTo>
                <a:cubicBezTo>
                  <a:pt x="2078900" y="3638987"/>
                  <a:pt x="2074374" y="3624211"/>
                  <a:pt x="2069928" y="3609249"/>
                </a:cubicBezTo>
                <a:cubicBezTo>
                  <a:pt x="2063652" y="3588133"/>
                  <a:pt x="2059807" y="3582465"/>
                  <a:pt x="2052748" y="3583925"/>
                </a:cubicBezTo>
                <a:close/>
                <a:moveTo>
                  <a:pt x="2102688" y="3582642"/>
                </a:moveTo>
                <a:cubicBezTo>
                  <a:pt x="2091905" y="3582642"/>
                  <a:pt x="2087616" y="3595839"/>
                  <a:pt x="2091367" y="3617476"/>
                </a:cubicBezTo>
                <a:cubicBezTo>
                  <a:pt x="2093125" y="3627617"/>
                  <a:pt x="2097186" y="3633289"/>
                  <a:pt x="2102688" y="3633289"/>
                </a:cubicBezTo>
                <a:cubicBezTo>
                  <a:pt x="2108190" y="3633289"/>
                  <a:pt x="2112250" y="3627617"/>
                  <a:pt x="2114008" y="3617476"/>
                </a:cubicBezTo>
                <a:cubicBezTo>
                  <a:pt x="2117759" y="3595839"/>
                  <a:pt x="2113470" y="3582642"/>
                  <a:pt x="2102688" y="3582642"/>
                </a:cubicBezTo>
                <a:close/>
                <a:moveTo>
                  <a:pt x="2147146" y="3571020"/>
                </a:moveTo>
                <a:cubicBezTo>
                  <a:pt x="2141182" y="3572202"/>
                  <a:pt x="2137807" y="3585205"/>
                  <a:pt x="2137738" y="3608493"/>
                </a:cubicBezTo>
                <a:cubicBezTo>
                  <a:pt x="2137660" y="3635013"/>
                  <a:pt x="2140599" y="3640832"/>
                  <a:pt x="2152797" y="3638304"/>
                </a:cubicBezTo>
                <a:cubicBezTo>
                  <a:pt x="2160233" y="3636763"/>
                  <a:pt x="2161723" y="3631816"/>
                  <a:pt x="2161723" y="3608655"/>
                </a:cubicBezTo>
                <a:cubicBezTo>
                  <a:pt x="2161723" y="3588863"/>
                  <a:pt x="2159482" y="3578834"/>
                  <a:pt x="2153945" y="3573836"/>
                </a:cubicBezTo>
                <a:cubicBezTo>
                  <a:pt x="2151409" y="3571546"/>
                  <a:pt x="2149133" y="3570627"/>
                  <a:pt x="2147146" y="3571020"/>
                </a:cubicBezTo>
                <a:close/>
                <a:moveTo>
                  <a:pt x="1798001" y="3564738"/>
                </a:moveTo>
                <a:cubicBezTo>
                  <a:pt x="1781204" y="3569368"/>
                  <a:pt x="1787367" y="3690226"/>
                  <a:pt x="1804404" y="3690298"/>
                </a:cubicBezTo>
                <a:cubicBezTo>
                  <a:pt x="1808521" y="3690317"/>
                  <a:pt x="1817791" y="3697377"/>
                  <a:pt x="1825007" y="3705989"/>
                </a:cubicBezTo>
                <a:cubicBezTo>
                  <a:pt x="1839540" y="3723338"/>
                  <a:pt x="1848022" y="3724009"/>
                  <a:pt x="1854833" y="3708350"/>
                </a:cubicBezTo>
                <a:cubicBezTo>
                  <a:pt x="1858206" y="3700595"/>
                  <a:pt x="1857490" y="3695239"/>
                  <a:pt x="1852022" y="3687323"/>
                </a:cubicBezTo>
                <a:cubicBezTo>
                  <a:pt x="1847987" y="3681480"/>
                  <a:pt x="1844685" y="3672630"/>
                  <a:pt x="1844685" y="3667656"/>
                </a:cubicBezTo>
                <a:cubicBezTo>
                  <a:pt x="1844685" y="3662682"/>
                  <a:pt x="1842507" y="3658612"/>
                  <a:pt x="1839844" y="3658612"/>
                </a:cubicBezTo>
                <a:cubicBezTo>
                  <a:pt x="1837182" y="3658612"/>
                  <a:pt x="1836165" y="3654231"/>
                  <a:pt x="1837584" y="3648876"/>
                </a:cubicBezTo>
                <a:cubicBezTo>
                  <a:pt x="1839003" y="3643522"/>
                  <a:pt x="1837479" y="3637647"/>
                  <a:pt x="1834195" y="3635824"/>
                </a:cubicBezTo>
                <a:cubicBezTo>
                  <a:pt x="1830912" y="3634000"/>
                  <a:pt x="1827039" y="3621768"/>
                  <a:pt x="1825589" y="3608642"/>
                </a:cubicBezTo>
                <a:cubicBezTo>
                  <a:pt x="1822611" y="3581679"/>
                  <a:pt x="1809905" y="3561458"/>
                  <a:pt x="1798001" y="3564738"/>
                </a:cubicBezTo>
                <a:close/>
                <a:moveTo>
                  <a:pt x="4146521" y="3557318"/>
                </a:moveTo>
                <a:cubicBezTo>
                  <a:pt x="4149847" y="3557318"/>
                  <a:pt x="4153705" y="3563604"/>
                  <a:pt x="4155093" y="3571287"/>
                </a:cubicBezTo>
                <a:cubicBezTo>
                  <a:pt x="4158027" y="3587536"/>
                  <a:pt x="4158105" y="3587392"/>
                  <a:pt x="4148124" y="3584178"/>
                </a:cubicBezTo>
                <a:cubicBezTo>
                  <a:pt x="4139112" y="3581276"/>
                  <a:pt x="4137681" y="3557318"/>
                  <a:pt x="4146521" y="3557318"/>
                </a:cubicBezTo>
                <a:close/>
                <a:moveTo>
                  <a:pt x="1509191" y="3547053"/>
                </a:moveTo>
                <a:cubicBezTo>
                  <a:pt x="1508732" y="3547719"/>
                  <a:pt x="1508420" y="3549938"/>
                  <a:pt x="1508315" y="3553625"/>
                </a:cubicBezTo>
                <a:cubicBezTo>
                  <a:pt x="1508125" y="3560299"/>
                  <a:pt x="1509159" y="3564039"/>
                  <a:pt x="1510612" y="3561935"/>
                </a:cubicBezTo>
                <a:cubicBezTo>
                  <a:pt x="1512065" y="3559831"/>
                  <a:pt x="1512220" y="3554371"/>
                  <a:pt x="1510957" y="3549800"/>
                </a:cubicBezTo>
                <a:lnTo>
                  <a:pt x="1510957" y="3549800"/>
                </a:lnTo>
                <a:cubicBezTo>
                  <a:pt x="1510259" y="3547275"/>
                  <a:pt x="1509651" y="3546388"/>
                  <a:pt x="1509191" y="3547053"/>
                </a:cubicBezTo>
                <a:close/>
                <a:moveTo>
                  <a:pt x="4384535" y="3546663"/>
                </a:moveTo>
                <a:cubicBezTo>
                  <a:pt x="4381046" y="3548684"/>
                  <a:pt x="4382082" y="3550184"/>
                  <a:pt x="4387177" y="3550488"/>
                </a:cubicBezTo>
                <a:cubicBezTo>
                  <a:pt x="4391786" y="3550763"/>
                  <a:pt x="4394370" y="3549267"/>
                  <a:pt x="4392916" y="3547163"/>
                </a:cubicBezTo>
                <a:lnTo>
                  <a:pt x="4392916" y="3547162"/>
                </a:lnTo>
                <a:cubicBezTo>
                  <a:pt x="4391463" y="3545059"/>
                  <a:pt x="4387691" y="3544834"/>
                  <a:pt x="4384535" y="3546663"/>
                </a:cubicBezTo>
                <a:close/>
                <a:moveTo>
                  <a:pt x="2522488" y="3535161"/>
                </a:moveTo>
                <a:cubicBezTo>
                  <a:pt x="2507315" y="3535161"/>
                  <a:pt x="2502057" y="3552202"/>
                  <a:pt x="2512028" y="3569062"/>
                </a:cubicBezTo>
                <a:cubicBezTo>
                  <a:pt x="2521362" y="3584844"/>
                  <a:pt x="2530250" y="3584610"/>
                  <a:pt x="2537303" y="3568397"/>
                </a:cubicBezTo>
                <a:cubicBezTo>
                  <a:pt x="2543826" y="3553401"/>
                  <a:pt x="2535696" y="3535161"/>
                  <a:pt x="2522488" y="3535161"/>
                </a:cubicBezTo>
                <a:close/>
                <a:moveTo>
                  <a:pt x="4512472" y="3529100"/>
                </a:moveTo>
                <a:cubicBezTo>
                  <a:pt x="4518537" y="3534527"/>
                  <a:pt x="4517405" y="3538326"/>
                  <a:pt x="4509725" y="3538326"/>
                </a:cubicBezTo>
                <a:cubicBezTo>
                  <a:pt x="4505975" y="3538326"/>
                  <a:pt x="4504144" y="3535430"/>
                  <a:pt x="4505654" y="3531892"/>
                </a:cubicBezTo>
                <a:cubicBezTo>
                  <a:pt x="4507165" y="3528353"/>
                  <a:pt x="4510233" y="3527096"/>
                  <a:pt x="4512472" y="3529100"/>
                </a:cubicBezTo>
                <a:close/>
                <a:moveTo>
                  <a:pt x="1784685" y="3528061"/>
                </a:moveTo>
                <a:cubicBezTo>
                  <a:pt x="1785145" y="3527396"/>
                  <a:pt x="1785753" y="3528283"/>
                  <a:pt x="1786451" y="3530808"/>
                </a:cubicBezTo>
                <a:cubicBezTo>
                  <a:pt x="1787714" y="3535378"/>
                  <a:pt x="1787559" y="3540839"/>
                  <a:pt x="1786106" y="3542942"/>
                </a:cubicBezTo>
                <a:cubicBezTo>
                  <a:pt x="1784653" y="3545046"/>
                  <a:pt x="1783620" y="3541307"/>
                  <a:pt x="1783809" y="3534633"/>
                </a:cubicBezTo>
                <a:cubicBezTo>
                  <a:pt x="1783914" y="3530946"/>
                  <a:pt x="1784226" y="3528727"/>
                  <a:pt x="1784685" y="3528061"/>
                </a:cubicBezTo>
                <a:close/>
                <a:moveTo>
                  <a:pt x="2708921" y="3527919"/>
                </a:moveTo>
                <a:cubicBezTo>
                  <a:pt x="2712790" y="3526048"/>
                  <a:pt x="2717257" y="3527196"/>
                  <a:pt x="2719644" y="3532655"/>
                </a:cubicBezTo>
                <a:cubicBezTo>
                  <a:pt x="2725875" y="3546899"/>
                  <a:pt x="2724328" y="3550987"/>
                  <a:pt x="2712711" y="3550987"/>
                </a:cubicBezTo>
                <a:cubicBezTo>
                  <a:pt x="2705809" y="3550987"/>
                  <a:pt x="2701779" y="3547414"/>
                  <a:pt x="2701779" y="3541293"/>
                </a:cubicBezTo>
                <a:cubicBezTo>
                  <a:pt x="2701779" y="3534679"/>
                  <a:pt x="2705051" y="3529790"/>
                  <a:pt x="2708921" y="3527919"/>
                </a:cubicBezTo>
                <a:close/>
                <a:moveTo>
                  <a:pt x="4454649" y="3527292"/>
                </a:moveTo>
                <a:cubicBezTo>
                  <a:pt x="4457341" y="3526735"/>
                  <a:pt x="4459694" y="3529043"/>
                  <a:pt x="4459694" y="3534633"/>
                </a:cubicBezTo>
                <a:cubicBezTo>
                  <a:pt x="4459694" y="3540146"/>
                  <a:pt x="4456578" y="3544657"/>
                  <a:pt x="4452770" y="3544657"/>
                </a:cubicBezTo>
                <a:cubicBezTo>
                  <a:pt x="4448962" y="3544657"/>
                  <a:pt x="4446626" y="3541273"/>
                  <a:pt x="4447578" y="3537139"/>
                </a:cubicBezTo>
                <a:cubicBezTo>
                  <a:pt x="4448929" y="3531270"/>
                  <a:pt x="4451958" y="3527848"/>
                  <a:pt x="4454649" y="3527292"/>
                </a:cubicBezTo>
                <a:close/>
                <a:moveTo>
                  <a:pt x="4330693" y="3513002"/>
                </a:moveTo>
                <a:cubicBezTo>
                  <a:pt x="4334301" y="3513002"/>
                  <a:pt x="4337253" y="3517444"/>
                  <a:pt x="4337253" y="3522872"/>
                </a:cubicBezTo>
                <a:cubicBezTo>
                  <a:pt x="4337253" y="3528301"/>
                  <a:pt x="4339220" y="3530981"/>
                  <a:pt x="4341625" y="3528830"/>
                </a:cubicBezTo>
                <a:cubicBezTo>
                  <a:pt x="4344031" y="3526678"/>
                  <a:pt x="4345998" y="3527934"/>
                  <a:pt x="4345998" y="3531621"/>
                </a:cubicBezTo>
                <a:cubicBezTo>
                  <a:pt x="4345998" y="3538577"/>
                  <a:pt x="4344596" y="3538808"/>
                  <a:pt x="4331787" y="3533962"/>
                </a:cubicBezTo>
                <a:cubicBezTo>
                  <a:pt x="4322453" y="3530431"/>
                  <a:pt x="4321544" y="3513002"/>
                  <a:pt x="4330693" y="3513002"/>
                </a:cubicBezTo>
                <a:close/>
                <a:moveTo>
                  <a:pt x="1781278" y="3513002"/>
                </a:moveTo>
                <a:cubicBezTo>
                  <a:pt x="1778259" y="3513002"/>
                  <a:pt x="1773340" y="3517275"/>
                  <a:pt x="1770345" y="3522499"/>
                </a:cubicBezTo>
                <a:cubicBezTo>
                  <a:pt x="1766002" y="3530075"/>
                  <a:pt x="1766002" y="3533915"/>
                  <a:pt x="1770345" y="3541491"/>
                </a:cubicBezTo>
                <a:cubicBezTo>
                  <a:pt x="1773340" y="3546714"/>
                  <a:pt x="1778259" y="3550987"/>
                  <a:pt x="1781278" y="3550987"/>
                </a:cubicBezTo>
                <a:cubicBezTo>
                  <a:pt x="1784296" y="3550987"/>
                  <a:pt x="1789216" y="3546714"/>
                  <a:pt x="1792210" y="3541491"/>
                </a:cubicBezTo>
                <a:cubicBezTo>
                  <a:pt x="1796553" y="3533915"/>
                  <a:pt x="1796553" y="3530075"/>
                  <a:pt x="1792210" y="3522499"/>
                </a:cubicBezTo>
                <a:cubicBezTo>
                  <a:pt x="1789216" y="3517275"/>
                  <a:pt x="1784296" y="3513002"/>
                  <a:pt x="1781278" y="3513002"/>
                </a:cubicBezTo>
                <a:close/>
                <a:moveTo>
                  <a:pt x="2765727" y="3506671"/>
                </a:moveTo>
                <a:cubicBezTo>
                  <a:pt x="2772587" y="3506671"/>
                  <a:pt x="2773316" y="3511755"/>
                  <a:pt x="2771915" y="3549820"/>
                </a:cubicBezTo>
                <a:cubicBezTo>
                  <a:pt x="2771281" y="3567051"/>
                  <a:pt x="2773350" y="3581080"/>
                  <a:pt x="2777517" y="3587805"/>
                </a:cubicBezTo>
                <a:cubicBezTo>
                  <a:pt x="2785544" y="3600760"/>
                  <a:pt x="2785603" y="3645950"/>
                  <a:pt x="2777592" y="3645950"/>
                </a:cubicBezTo>
                <a:cubicBezTo>
                  <a:pt x="2774546" y="3645950"/>
                  <a:pt x="2769842" y="3639969"/>
                  <a:pt x="2767140" y="3632658"/>
                </a:cubicBezTo>
                <a:cubicBezTo>
                  <a:pt x="2763472" y="3622736"/>
                  <a:pt x="2759317" y="3620170"/>
                  <a:pt x="2750756" y="3622540"/>
                </a:cubicBezTo>
                <a:cubicBezTo>
                  <a:pt x="2743212" y="3624627"/>
                  <a:pt x="2737404" y="3622134"/>
                  <a:pt x="2733789" y="3615257"/>
                </a:cubicBezTo>
                <a:cubicBezTo>
                  <a:pt x="2726359" y="3601118"/>
                  <a:pt x="2726680" y="3595303"/>
                  <a:pt x="2734887" y="3595303"/>
                </a:cubicBezTo>
                <a:cubicBezTo>
                  <a:pt x="2747519" y="3595303"/>
                  <a:pt x="2755756" y="3575677"/>
                  <a:pt x="2757753" y="3540827"/>
                </a:cubicBezTo>
                <a:cubicBezTo>
                  <a:pt x="2759094" y="3517425"/>
                  <a:pt x="2761605" y="3506671"/>
                  <a:pt x="2765727" y="3506671"/>
                </a:cubicBezTo>
                <a:close/>
                <a:moveTo>
                  <a:pt x="740522" y="3475017"/>
                </a:moveTo>
                <a:cubicBezTo>
                  <a:pt x="744129" y="3475017"/>
                  <a:pt x="747081" y="3479290"/>
                  <a:pt x="747081" y="3484514"/>
                </a:cubicBezTo>
                <a:cubicBezTo>
                  <a:pt x="747081" y="3489737"/>
                  <a:pt x="744129" y="3494010"/>
                  <a:pt x="740522" y="3494010"/>
                </a:cubicBezTo>
                <a:cubicBezTo>
                  <a:pt x="736914" y="3494010"/>
                  <a:pt x="733962" y="3489737"/>
                  <a:pt x="733962" y="3484514"/>
                </a:cubicBezTo>
                <a:cubicBezTo>
                  <a:pt x="733962" y="3479290"/>
                  <a:pt x="736914" y="3475017"/>
                  <a:pt x="740522" y="3475017"/>
                </a:cubicBezTo>
                <a:close/>
                <a:moveTo>
                  <a:pt x="2881943" y="3462355"/>
                </a:moveTo>
                <a:cubicBezTo>
                  <a:pt x="2894195" y="3462355"/>
                  <a:pt x="2891755" y="3486670"/>
                  <a:pt x="2878636" y="3495324"/>
                </a:cubicBezTo>
                <a:cubicBezTo>
                  <a:pt x="2869292" y="3501488"/>
                  <a:pt x="2867766" y="3506034"/>
                  <a:pt x="2869346" y="3523011"/>
                </a:cubicBezTo>
                <a:cubicBezTo>
                  <a:pt x="2871849" y="3549903"/>
                  <a:pt x="2875441" y="3557318"/>
                  <a:pt x="2885957" y="3557318"/>
                </a:cubicBezTo>
                <a:cubicBezTo>
                  <a:pt x="2890768" y="3557318"/>
                  <a:pt x="2893487" y="3554470"/>
                  <a:pt x="2892001" y="3550987"/>
                </a:cubicBezTo>
                <a:cubicBezTo>
                  <a:pt x="2890515" y="3547505"/>
                  <a:pt x="2893450" y="3544657"/>
                  <a:pt x="2898525" y="3544657"/>
                </a:cubicBezTo>
                <a:cubicBezTo>
                  <a:pt x="2906735" y="3544657"/>
                  <a:pt x="2907560" y="3547620"/>
                  <a:pt x="2906022" y="3571563"/>
                </a:cubicBezTo>
                <a:cubicBezTo>
                  <a:pt x="2904716" y="3591896"/>
                  <a:pt x="2902259" y="3599006"/>
                  <a:pt x="2895961" y="3600666"/>
                </a:cubicBezTo>
                <a:cubicBezTo>
                  <a:pt x="2891378" y="3601875"/>
                  <a:pt x="2885758" y="3605436"/>
                  <a:pt x="2883473" y="3608579"/>
                </a:cubicBezTo>
                <a:cubicBezTo>
                  <a:pt x="2877147" y="3617286"/>
                  <a:pt x="2873437" y="3615573"/>
                  <a:pt x="2866193" y="3600603"/>
                </a:cubicBezTo>
                <a:cubicBezTo>
                  <a:pt x="2862551" y="3593071"/>
                  <a:pt x="2860640" y="3584400"/>
                  <a:pt x="2861950" y="3581332"/>
                </a:cubicBezTo>
                <a:cubicBezTo>
                  <a:pt x="2863259" y="3578266"/>
                  <a:pt x="2861976" y="3571647"/>
                  <a:pt x="2859095" y="3566625"/>
                </a:cubicBezTo>
                <a:cubicBezTo>
                  <a:pt x="2856216" y="3561602"/>
                  <a:pt x="2854647" y="3547741"/>
                  <a:pt x="2855607" y="3535822"/>
                </a:cubicBezTo>
                <a:cubicBezTo>
                  <a:pt x="2857084" y="3517519"/>
                  <a:pt x="2855474" y="3512542"/>
                  <a:pt x="2845247" y="3503796"/>
                </a:cubicBezTo>
                <a:cubicBezTo>
                  <a:pt x="2834450" y="3494563"/>
                  <a:pt x="2833721" y="3491927"/>
                  <a:pt x="2838518" y="3479481"/>
                </a:cubicBezTo>
                <a:cubicBezTo>
                  <a:pt x="2841477" y="3471803"/>
                  <a:pt x="2844199" y="3464611"/>
                  <a:pt x="2844567" y="3463500"/>
                </a:cubicBezTo>
                <a:cubicBezTo>
                  <a:pt x="2844933" y="3462388"/>
                  <a:pt x="2849312" y="3465166"/>
                  <a:pt x="2854296" y="3469672"/>
                </a:cubicBezTo>
                <a:cubicBezTo>
                  <a:pt x="2861447" y="3476138"/>
                  <a:pt x="2864488" y="3476230"/>
                  <a:pt x="2868715" y="3470111"/>
                </a:cubicBezTo>
                <a:cubicBezTo>
                  <a:pt x="2871661" y="3465846"/>
                  <a:pt x="2877614" y="3462355"/>
                  <a:pt x="2881943" y="3462355"/>
                </a:cubicBezTo>
                <a:close/>
                <a:moveTo>
                  <a:pt x="3212720" y="3424461"/>
                </a:moveTo>
                <a:cubicBezTo>
                  <a:pt x="3210761" y="3424317"/>
                  <a:pt x="3208239" y="3426087"/>
                  <a:pt x="3204212" y="3429702"/>
                </a:cubicBezTo>
                <a:cubicBezTo>
                  <a:pt x="3196994" y="3436182"/>
                  <a:pt x="3193983" y="3436409"/>
                  <a:pt x="3191529" y="3430662"/>
                </a:cubicBezTo>
                <a:cubicBezTo>
                  <a:pt x="3185716" y="3417044"/>
                  <a:pt x="3171810" y="3426461"/>
                  <a:pt x="3172515" y="3443537"/>
                </a:cubicBezTo>
                <a:cubicBezTo>
                  <a:pt x="3174170" y="3483584"/>
                  <a:pt x="3176852" y="3497988"/>
                  <a:pt x="3184563" y="3508254"/>
                </a:cubicBezTo>
                <a:cubicBezTo>
                  <a:pt x="3194326" y="3521253"/>
                  <a:pt x="3200919" y="3522226"/>
                  <a:pt x="3208164" y="3511736"/>
                </a:cubicBezTo>
                <a:cubicBezTo>
                  <a:pt x="3214518" y="3502537"/>
                  <a:pt x="3215128" y="3481348"/>
                  <a:pt x="3209038" y="3481348"/>
                </a:cubicBezTo>
                <a:cubicBezTo>
                  <a:pt x="3200919" y="3481348"/>
                  <a:pt x="3204591" y="3463861"/>
                  <a:pt x="3213411" y="3460521"/>
                </a:cubicBezTo>
                <a:cubicBezTo>
                  <a:pt x="3222848" y="3456948"/>
                  <a:pt x="3224502" y="3445839"/>
                  <a:pt x="3217851" y="3430701"/>
                </a:cubicBezTo>
                <a:cubicBezTo>
                  <a:pt x="3216075" y="3426661"/>
                  <a:pt x="3214679" y="3424604"/>
                  <a:pt x="3212720" y="3424461"/>
                </a:cubicBezTo>
                <a:close/>
                <a:moveTo>
                  <a:pt x="4431270" y="3405378"/>
                </a:moveTo>
                <a:cubicBezTo>
                  <a:pt x="4439132" y="3405378"/>
                  <a:pt x="4442203" y="3408789"/>
                  <a:pt x="4442203" y="3417522"/>
                </a:cubicBezTo>
                <a:cubicBezTo>
                  <a:pt x="4442203" y="3424201"/>
                  <a:pt x="4443397" y="3434172"/>
                  <a:pt x="4444857" y="3439680"/>
                </a:cubicBezTo>
                <a:cubicBezTo>
                  <a:pt x="4448227" y="3452396"/>
                  <a:pt x="4442500" y="3452457"/>
                  <a:pt x="4430057" y="3439839"/>
                </a:cubicBezTo>
                <a:cubicBezTo>
                  <a:pt x="4416418" y="3426008"/>
                  <a:pt x="4417145" y="3405378"/>
                  <a:pt x="4431270" y="3405378"/>
                </a:cubicBezTo>
                <a:close/>
                <a:moveTo>
                  <a:pt x="549890" y="3399047"/>
                </a:moveTo>
                <a:cubicBezTo>
                  <a:pt x="545314" y="3399047"/>
                  <a:pt x="544506" y="3420204"/>
                  <a:pt x="548842" y="3426481"/>
                </a:cubicBezTo>
                <a:cubicBezTo>
                  <a:pt x="550445" y="3428802"/>
                  <a:pt x="554873" y="3430371"/>
                  <a:pt x="558681" y="3429967"/>
                </a:cubicBezTo>
                <a:cubicBezTo>
                  <a:pt x="563849" y="3429419"/>
                  <a:pt x="563561" y="3428469"/>
                  <a:pt x="557546" y="3426224"/>
                </a:cubicBezTo>
                <a:cubicBezTo>
                  <a:pt x="552135" y="3424204"/>
                  <a:pt x="550205" y="3419246"/>
                  <a:pt x="551671" y="3411132"/>
                </a:cubicBezTo>
                <a:cubicBezTo>
                  <a:pt x="552871" y="3404485"/>
                  <a:pt x="552070" y="3399047"/>
                  <a:pt x="549890" y="3399047"/>
                </a:cubicBezTo>
                <a:close/>
                <a:moveTo>
                  <a:pt x="4493782" y="3361062"/>
                </a:moveTo>
                <a:cubicBezTo>
                  <a:pt x="4504549" y="3361062"/>
                  <a:pt x="4512737" y="3387401"/>
                  <a:pt x="4515201" y="3429955"/>
                </a:cubicBezTo>
                <a:cubicBezTo>
                  <a:pt x="4517467" y="3469086"/>
                  <a:pt x="4516864" y="3475017"/>
                  <a:pt x="4510617" y="3475017"/>
                </a:cubicBezTo>
                <a:cubicBezTo>
                  <a:pt x="4505926" y="3475017"/>
                  <a:pt x="4503423" y="3469697"/>
                  <a:pt x="4503423" y="3459717"/>
                </a:cubicBezTo>
                <a:cubicBezTo>
                  <a:pt x="4503423" y="3451303"/>
                  <a:pt x="4501737" y="3443469"/>
                  <a:pt x="4499676" y="3442307"/>
                </a:cubicBezTo>
                <a:cubicBezTo>
                  <a:pt x="4494542" y="3439417"/>
                  <a:pt x="4488859" y="3361062"/>
                  <a:pt x="4493782" y="3361062"/>
                </a:cubicBezTo>
                <a:close/>
                <a:moveTo>
                  <a:pt x="2909492" y="3361062"/>
                </a:moveTo>
                <a:cubicBezTo>
                  <a:pt x="2913574" y="3361062"/>
                  <a:pt x="2916052" y="3367041"/>
                  <a:pt x="2916052" y="3376889"/>
                </a:cubicBezTo>
                <a:cubicBezTo>
                  <a:pt x="2916052" y="3385593"/>
                  <a:pt x="2915560" y="3392491"/>
                  <a:pt x="2914958" y="3392216"/>
                </a:cubicBezTo>
                <a:cubicBezTo>
                  <a:pt x="2914358" y="3391942"/>
                  <a:pt x="2911405" y="3390279"/>
                  <a:pt x="2908399" y="3388523"/>
                </a:cubicBezTo>
                <a:cubicBezTo>
                  <a:pt x="2900670" y="3384008"/>
                  <a:pt x="2901584" y="3361062"/>
                  <a:pt x="2909492" y="3361062"/>
                </a:cubicBezTo>
                <a:close/>
                <a:moveTo>
                  <a:pt x="4276032" y="3354731"/>
                </a:moveTo>
                <a:cubicBezTo>
                  <a:pt x="4271735" y="3354731"/>
                  <a:pt x="4267027" y="3359237"/>
                  <a:pt x="4265567" y="3364745"/>
                </a:cubicBezTo>
                <a:cubicBezTo>
                  <a:pt x="4261468" y="3380210"/>
                  <a:pt x="4262429" y="3405378"/>
                  <a:pt x="4267117" y="3405378"/>
                </a:cubicBezTo>
                <a:cubicBezTo>
                  <a:pt x="4269429" y="3405378"/>
                  <a:pt x="4273441" y="3416773"/>
                  <a:pt x="4276032" y="3430701"/>
                </a:cubicBezTo>
                <a:cubicBezTo>
                  <a:pt x="4281041" y="3457634"/>
                  <a:pt x="4291986" y="3464466"/>
                  <a:pt x="4302037" y="3446933"/>
                </a:cubicBezTo>
                <a:cubicBezTo>
                  <a:pt x="4307700" y="3437054"/>
                  <a:pt x="4301464" y="3411709"/>
                  <a:pt x="4293369" y="3411709"/>
                </a:cubicBezTo>
                <a:cubicBezTo>
                  <a:pt x="4291049" y="3411709"/>
                  <a:pt x="4289150" y="3403395"/>
                  <a:pt x="4289150" y="3393234"/>
                </a:cubicBezTo>
                <a:cubicBezTo>
                  <a:pt x="4289150" y="3366871"/>
                  <a:pt x="4285014" y="3354731"/>
                  <a:pt x="4276032" y="3354731"/>
                </a:cubicBezTo>
                <a:close/>
                <a:moveTo>
                  <a:pt x="2669069" y="3336073"/>
                </a:moveTo>
                <a:cubicBezTo>
                  <a:pt x="2665559" y="3335774"/>
                  <a:pt x="2662564" y="3338266"/>
                  <a:pt x="2661312" y="3343652"/>
                </a:cubicBezTo>
                <a:cubicBezTo>
                  <a:pt x="2659866" y="3349871"/>
                  <a:pt x="2657960" y="3349759"/>
                  <a:pt x="2652411" y="3343129"/>
                </a:cubicBezTo>
                <a:cubicBezTo>
                  <a:pt x="2648409" y="3338348"/>
                  <a:pt x="2641470" y="3336475"/>
                  <a:pt x="2636395" y="3338808"/>
                </a:cubicBezTo>
                <a:cubicBezTo>
                  <a:pt x="2629019" y="3342196"/>
                  <a:pt x="2627439" y="3348247"/>
                  <a:pt x="2627439" y="3373095"/>
                </a:cubicBezTo>
                <a:cubicBezTo>
                  <a:pt x="2627439" y="3389690"/>
                  <a:pt x="2628751" y="3405167"/>
                  <a:pt x="2630354" y="3407488"/>
                </a:cubicBezTo>
                <a:cubicBezTo>
                  <a:pt x="2635193" y="3414494"/>
                  <a:pt x="2648560" y="3412235"/>
                  <a:pt x="2652210" y="3403795"/>
                </a:cubicBezTo>
                <a:cubicBezTo>
                  <a:pt x="2654092" y="3399442"/>
                  <a:pt x="2655684" y="3391608"/>
                  <a:pt x="2655748" y="3386385"/>
                </a:cubicBezTo>
                <a:cubicBezTo>
                  <a:pt x="2655811" y="3381162"/>
                  <a:pt x="2660148" y="3376006"/>
                  <a:pt x="2665384" y="3374926"/>
                </a:cubicBezTo>
                <a:cubicBezTo>
                  <a:pt x="2679476" y="3372021"/>
                  <a:pt x="2686749" y="3357158"/>
                  <a:pt x="2679914" y="3345235"/>
                </a:cubicBezTo>
                <a:cubicBezTo>
                  <a:pt x="2676604" y="3339460"/>
                  <a:pt x="2672579" y="3336371"/>
                  <a:pt x="2669069" y="3336073"/>
                </a:cubicBezTo>
                <a:close/>
                <a:moveTo>
                  <a:pt x="587549" y="3300251"/>
                </a:moveTo>
                <a:cubicBezTo>
                  <a:pt x="585292" y="3297131"/>
                  <a:pt x="581333" y="3297816"/>
                  <a:pt x="574278" y="3300379"/>
                </a:cubicBezTo>
                <a:cubicBezTo>
                  <a:pt x="564976" y="3303760"/>
                  <a:pt x="563120" y="3307703"/>
                  <a:pt x="564236" y="3321715"/>
                </a:cubicBezTo>
                <a:cubicBezTo>
                  <a:pt x="565211" y="3333958"/>
                  <a:pt x="568436" y="3339486"/>
                  <a:pt x="575444" y="3340927"/>
                </a:cubicBezTo>
                <a:cubicBezTo>
                  <a:pt x="581595" y="3342191"/>
                  <a:pt x="585283" y="3347337"/>
                  <a:pt x="585283" y="3354654"/>
                </a:cubicBezTo>
                <a:cubicBezTo>
                  <a:pt x="585283" y="3383278"/>
                  <a:pt x="595253" y="3394742"/>
                  <a:pt x="606273" y="3378788"/>
                </a:cubicBezTo>
                <a:cubicBezTo>
                  <a:pt x="614472" y="3366918"/>
                  <a:pt x="612474" y="3354943"/>
                  <a:pt x="601264" y="3348772"/>
                </a:cubicBezTo>
                <a:cubicBezTo>
                  <a:pt x="593614" y="3344562"/>
                  <a:pt x="590907" y="3338001"/>
                  <a:pt x="590611" y="3322956"/>
                </a:cubicBezTo>
                <a:cubicBezTo>
                  <a:pt x="590363" y="3310298"/>
                  <a:pt x="589807" y="3303372"/>
                  <a:pt x="587549" y="3300251"/>
                </a:cubicBezTo>
                <a:close/>
                <a:moveTo>
                  <a:pt x="4154664" y="3279903"/>
                </a:moveTo>
                <a:cubicBezTo>
                  <a:pt x="4140613" y="3277009"/>
                  <a:pt x="4136422" y="3296689"/>
                  <a:pt x="4148160" y="3310449"/>
                </a:cubicBezTo>
                <a:cubicBezTo>
                  <a:pt x="4155681" y="3319265"/>
                  <a:pt x="4156874" y="3325844"/>
                  <a:pt x="4154873" y="3347448"/>
                </a:cubicBezTo>
                <a:cubicBezTo>
                  <a:pt x="4153260" y="3364859"/>
                  <a:pt x="4154107" y="3373723"/>
                  <a:pt x="4157387" y="3373723"/>
                </a:cubicBezTo>
                <a:cubicBezTo>
                  <a:pt x="4160108" y="3373723"/>
                  <a:pt x="4162336" y="3382799"/>
                  <a:pt x="4162336" y="3393890"/>
                </a:cubicBezTo>
                <a:cubicBezTo>
                  <a:pt x="4162336" y="3405884"/>
                  <a:pt x="4166190" y="3419997"/>
                  <a:pt x="4171844" y="3428710"/>
                </a:cubicBezTo>
                <a:cubicBezTo>
                  <a:pt x="4183547" y="3446745"/>
                  <a:pt x="4187175" y="3447056"/>
                  <a:pt x="4190840" y="3430334"/>
                </a:cubicBezTo>
                <a:cubicBezTo>
                  <a:pt x="4194319" y="3414464"/>
                  <a:pt x="4189124" y="3354731"/>
                  <a:pt x="4184264" y="3354731"/>
                </a:cubicBezTo>
                <a:cubicBezTo>
                  <a:pt x="4182345" y="3354731"/>
                  <a:pt x="4179540" y="3347608"/>
                  <a:pt x="4178032" y="3338904"/>
                </a:cubicBezTo>
                <a:cubicBezTo>
                  <a:pt x="4176523" y="3330199"/>
                  <a:pt x="4172366" y="3323077"/>
                  <a:pt x="4168795" y="3323077"/>
                </a:cubicBezTo>
                <a:cubicBezTo>
                  <a:pt x="4164157" y="3323077"/>
                  <a:pt x="4162620" y="3317198"/>
                  <a:pt x="4163412" y="3302505"/>
                </a:cubicBezTo>
                <a:cubicBezTo>
                  <a:pt x="4164336" y="3285391"/>
                  <a:pt x="4162865" y="3281593"/>
                  <a:pt x="4154664" y="3279903"/>
                </a:cubicBezTo>
                <a:close/>
                <a:moveTo>
                  <a:pt x="3384462" y="3266400"/>
                </a:moveTo>
                <a:cubicBezTo>
                  <a:pt x="3382627" y="3266785"/>
                  <a:pt x="3381140" y="3268762"/>
                  <a:pt x="3379525" y="3272430"/>
                </a:cubicBezTo>
                <a:cubicBezTo>
                  <a:pt x="3373763" y="3285514"/>
                  <a:pt x="3374087" y="3353134"/>
                  <a:pt x="3379925" y="3355951"/>
                </a:cubicBezTo>
                <a:cubicBezTo>
                  <a:pt x="3382518" y="3357203"/>
                  <a:pt x="3384978" y="3368123"/>
                  <a:pt x="3385390" y="3380219"/>
                </a:cubicBezTo>
                <a:cubicBezTo>
                  <a:pt x="3386068" y="3400055"/>
                  <a:pt x="3384906" y="3402417"/>
                  <a:pt x="3373548" y="3404295"/>
                </a:cubicBezTo>
                <a:cubicBezTo>
                  <a:pt x="3361139" y="3406347"/>
                  <a:pt x="3360992" y="3406842"/>
                  <a:pt x="3363543" y="3438014"/>
                </a:cubicBezTo>
                <a:cubicBezTo>
                  <a:pt x="3365474" y="3461632"/>
                  <a:pt x="3368943" y="3472854"/>
                  <a:pt x="3377229" y="3482289"/>
                </a:cubicBezTo>
                <a:cubicBezTo>
                  <a:pt x="3383333" y="3489241"/>
                  <a:pt x="3388329" y="3500251"/>
                  <a:pt x="3388329" y="3506757"/>
                </a:cubicBezTo>
                <a:cubicBezTo>
                  <a:pt x="3388329" y="3513263"/>
                  <a:pt x="3390296" y="3520347"/>
                  <a:pt x="3392701" y="3522499"/>
                </a:cubicBezTo>
                <a:cubicBezTo>
                  <a:pt x="3395106" y="3524650"/>
                  <a:pt x="3397074" y="3531749"/>
                  <a:pt x="3397074" y="3538273"/>
                </a:cubicBezTo>
                <a:cubicBezTo>
                  <a:pt x="3397074" y="3544797"/>
                  <a:pt x="3401009" y="3551943"/>
                  <a:pt x="3405820" y="3554153"/>
                </a:cubicBezTo>
                <a:cubicBezTo>
                  <a:pt x="3410630" y="3556363"/>
                  <a:pt x="3414566" y="3563678"/>
                  <a:pt x="3414566" y="3570407"/>
                </a:cubicBezTo>
                <a:cubicBezTo>
                  <a:pt x="3414566" y="3577136"/>
                  <a:pt x="3416533" y="3582642"/>
                  <a:pt x="3418939" y="3582642"/>
                </a:cubicBezTo>
                <a:cubicBezTo>
                  <a:pt x="3421344" y="3582642"/>
                  <a:pt x="3423312" y="3589289"/>
                  <a:pt x="3423312" y="3597414"/>
                </a:cubicBezTo>
                <a:cubicBezTo>
                  <a:pt x="3423312" y="3605538"/>
                  <a:pt x="3424623" y="3614085"/>
                  <a:pt x="3426227" y="3616406"/>
                </a:cubicBezTo>
                <a:cubicBezTo>
                  <a:pt x="3431633" y="3624232"/>
                  <a:pt x="3444220" y="3620704"/>
                  <a:pt x="3446895" y="3610613"/>
                </a:cubicBezTo>
                <a:cubicBezTo>
                  <a:pt x="3450838" y="3595735"/>
                  <a:pt x="3450106" y="3569980"/>
                  <a:pt x="3445741" y="3569980"/>
                </a:cubicBezTo>
                <a:cubicBezTo>
                  <a:pt x="3443646" y="3569980"/>
                  <a:pt x="3440597" y="3552886"/>
                  <a:pt x="3438964" y="3531995"/>
                </a:cubicBezTo>
                <a:cubicBezTo>
                  <a:pt x="3437332" y="3511103"/>
                  <a:pt x="3434331" y="3494010"/>
                  <a:pt x="3432296" y="3494010"/>
                </a:cubicBezTo>
                <a:cubicBezTo>
                  <a:pt x="3430260" y="3494010"/>
                  <a:pt x="3427201" y="3471219"/>
                  <a:pt x="3425497" y="3443363"/>
                </a:cubicBezTo>
                <a:cubicBezTo>
                  <a:pt x="3423795" y="3415507"/>
                  <a:pt x="3420637" y="3392716"/>
                  <a:pt x="3418484" y="3392716"/>
                </a:cubicBezTo>
                <a:cubicBezTo>
                  <a:pt x="3416328" y="3392716"/>
                  <a:pt x="3414566" y="3384519"/>
                  <a:pt x="3414566" y="3374498"/>
                </a:cubicBezTo>
                <a:cubicBezTo>
                  <a:pt x="3414566" y="3364479"/>
                  <a:pt x="3411711" y="3352852"/>
                  <a:pt x="3408222" y="3348660"/>
                </a:cubicBezTo>
                <a:cubicBezTo>
                  <a:pt x="3404618" y="3344329"/>
                  <a:pt x="3401314" y="3327191"/>
                  <a:pt x="3400570" y="3308969"/>
                </a:cubicBezTo>
                <a:cubicBezTo>
                  <a:pt x="3399653" y="3286524"/>
                  <a:pt x="3396926" y="3274803"/>
                  <a:pt x="3391484" y="3269917"/>
                </a:cubicBezTo>
                <a:cubicBezTo>
                  <a:pt x="3388479" y="3267220"/>
                  <a:pt x="3386297" y="3266014"/>
                  <a:pt x="3384462" y="3266400"/>
                </a:cubicBezTo>
                <a:close/>
                <a:moveTo>
                  <a:pt x="3348864" y="3248793"/>
                </a:moveTo>
                <a:cubicBezTo>
                  <a:pt x="3345735" y="3247498"/>
                  <a:pt x="3342333" y="3248277"/>
                  <a:pt x="3339131" y="3252124"/>
                </a:cubicBezTo>
                <a:cubicBezTo>
                  <a:pt x="3328886" y="3264436"/>
                  <a:pt x="3334271" y="3297753"/>
                  <a:pt x="3346508" y="3297753"/>
                </a:cubicBezTo>
                <a:cubicBezTo>
                  <a:pt x="3349679" y="3297753"/>
                  <a:pt x="3354371" y="3294095"/>
                  <a:pt x="3356934" y="3289624"/>
                </a:cubicBezTo>
                <a:cubicBezTo>
                  <a:pt x="3365185" y="3275229"/>
                  <a:pt x="3358250" y="3252677"/>
                  <a:pt x="3348864" y="3248793"/>
                </a:cubicBezTo>
                <a:close/>
                <a:moveTo>
                  <a:pt x="313287" y="3234445"/>
                </a:moveTo>
                <a:cubicBezTo>
                  <a:pt x="307242" y="3234445"/>
                  <a:pt x="305415" y="3239467"/>
                  <a:pt x="305415" y="3256085"/>
                </a:cubicBezTo>
                <a:cubicBezTo>
                  <a:pt x="305415" y="3285553"/>
                  <a:pt x="309257" y="3297753"/>
                  <a:pt x="318534" y="3297753"/>
                </a:cubicBezTo>
                <a:cubicBezTo>
                  <a:pt x="322830" y="3297753"/>
                  <a:pt x="327539" y="3293247"/>
                  <a:pt x="328998" y="3287739"/>
                </a:cubicBezTo>
                <a:cubicBezTo>
                  <a:pt x="336318" y="3260124"/>
                  <a:pt x="328747" y="3234445"/>
                  <a:pt x="313287" y="3234445"/>
                </a:cubicBezTo>
                <a:close/>
                <a:moveTo>
                  <a:pt x="4380392" y="3159521"/>
                </a:moveTo>
                <a:cubicBezTo>
                  <a:pt x="4370345" y="3161580"/>
                  <a:pt x="4370094" y="3163088"/>
                  <a:pt x="4371629" y="3212287"/>
                </a:cubicBezTo>
                <a:cubicBezTo>
                  <a:pt x="4372498" y="3240143"/>
                  <a:pt x="4374957" y="3263884"/>
                  <a:pt x="4377095" y="3265043"/>
                </a:cubicBezTo>
                <a:cubicBezTo>
                  <a:pt x="4379233" y="3266204"/>
                  <a:pt x="4380982" y="3271100"/>
                  <a:pt x="4380982" y="3275924"/>
                </a:cubicBezTo>
                <a:cubicBezTo>
                  <a:pt x="4380982" y="3287969"/>
                  <a:pt x="4393153" y="3280395"/>
                  <a:pt x="4396210" y="3266447"/>
                </a:cubicBezTo>
                <a:cubicBezTo>
                  <a:pt x="4400868" y="3245201"/>
                  <a:pt x="4400394" y="3171384"/>
                  <a:pt x="4395554" y="3164378"/>
                </a:cubicBezTo>
                <a:cubicBezTo>
                  <a:pt x="4392905" y="3160541"/>
                  <a:pt x="4386082" y="3158356"/>
                  <a:pt x="4380392" y="3159521"/>
                </a:cubicBezTo>
                <a:close/>
                <a:moveTo>
                  <a:pt x="608431" y="3076110"/>
                </a:moveTo>
                <a:cubicBezTo>
                  <a:pt x="606192" y="3077029"/>
                  <a:pt x="604049" y="3079406"/>
                  <a:pt x="602272" y="3083464"/>
                </a:cubicBezTo>
                <a:cubicBezTo>
                  <a:pt x="597025" y="3095452"/>
                  <a:pt x="597492" y="3125259"/>
                  <a:pt x="603005" y="3130192"/>
                </a:cubicBezTo>
                <a:cubicBezTo>
                  <a:pt x="605537" y="3132458"/>
                  <a:pt x="606802" y="3137611"/>
                  <a:pt x="605816" y="3141644"/>
                </a:cubicBezTo>
                <a:cubicBezTo>
                  <a:pt x="604830" y="3145678"/>
                  <a:pt x="612106" y="3161798"/>
                  <a:pt x="621984" y="3177467"/>
                </a:cubicBezTo>
                <a:lnTo>
                  <a:pt x="639944" y="3205956"/>
                </a:lnTo>
                <a:lnTo>
                  <a:pt x="626855" y="3208107"/>
                </a:lnTo>
                <a:cubicBezTo>
                  <a:pt x="616428" y="3209822"/>
                  <a:pt x="611314" y="3206007"/>
                  <a:pt x="601711" y="3189354"/>
                </a:cubicBezTo>
                <a:cubicBezTo>
                  <a:pt x="595080" y="3177856"/>
                  <a:pt x="589531" y="3171190"/>
                  <a:pt x="589378" y="3174540"/>
                </a:cubicBezTo>
                <a:cubicBezTo>
                  <a:pt x="589226" y="3177891"/>
                  <a:pt x="587275" y="3174039"/>
                  <a:pt x="585043" y="3165981"/>
                </a:cubicBezTo>
                <a:cubicBezTo>
                  <a:pt x="582810" y="3157923"/>
                  <a:pt x="579284" y="3152851"/>
                  <a:pt x="577206" y="3154710"/>
                </a:cubicBezTo>
                <a:cubicBezTo>
                  <a:pt x="575127" y="3156570"/>
                  <a:pt x="574357" y="3151055"/>
                  <a:pt x="575492" y="3142456"/>
                </a:cubicBezTo>
                <a:cubicBezTo>
                  <a:pt x="576628" y="3133856"/>
                  <a:pt x="579295" y="3126820"/>
                  <a:pt x="581420" y="3126820"/>
                </a:cubicBezTo>
                <a:cubicBezTo>
                  <a:pt x="589701" y="3126820"/>
                  <a:pt x="584711" y="3109483"/>
                  <a:pt x="574489" y="3102739"/>
                </a:cubicBezTo>
                <a:cubicBezTo>
                  <a:pt x="565212" y="3096621"/>
                  <a:pt x="562753" y="3097566"/>
                  <a:pt x="556997" y="3109463"/>
                </a:cubicBezTo>
                <a:cubicBezTo>
                  <a:pt x="548748" y="3126512"/>
                  <a:pt x="548298" y="3140196"/>
                  <a:pt x="556129" y="3135846"/>
                </a:cubicBezTo>
                <a:cubicBezTo>
                  <a:pt x="560434" y="3133454"/>
                  <a:pt x="561446" y="3137659"/>
                  <a:pt x="560000" y="3151929"/>
                </a:cubicBezTo>
                <a:cubicBezTo>
                  <a:pt x="558904" y="3162741"/>
                  <a:pt x="560595" y="3175707"/>
                  <a:pt x="563838" y="3181366"/>
                </a:cubicBezTo>
                <a:cubicBezTo>
                  <a:pt x="567027" y="3186928"/>
                  <a:pt x="571680" y="3196390"/>
                  <a:pt x="574180" y="3202392"/>
                </a:cubicBezTo>
                <a:cubicBezTo>
                  <a:pt x="591104" y="3243042"/>
                  <a:pt x="597600" y="3253960"/>
                  <a:pt x="600152" y="3246045"/>
                </a:cubicBezTo>
                <a:cubicBezTo>
                  <a:pt x="601648" y="3241406"/>
                  <a:pt x="602050" y="3244020"/>
                  <a:pt x="601046" y="3251855"/>
                </a:cubicBezTo>
                <a:cubicBezTo>
                  <a:pt x="600042" y="3259689"/>
                  <a:pt x="600966" y="3266099"/>
                  <a:pt x="603100" y="3266099"/>
                </a:cubicBezTo>
                <a:cubicBezTo>
                  <a:pt x="605235" y="3266099"/>
                  <a:pt x="608273" y="3273933"/>
                  <a:pt x="609854" y="3283509"/>
                </a:cubicBezTo>
                <a:cubicBezTo>
                  <a:pt x="611433" y="3293085"/>
                  <a:pt x="614664" y="3304479"/>
                  <a:pt x="617032" y="3308832"/>
                </a:cubicBezTo>
                <a:cubicBezTo>
                  <a:pt x="619400" y="3313184"/>
                  <a:pt x="619811" y="3316746"/>
                  <a:pt x="617946" y="3316746"/>
                </a:cubicBezTo>
                <a:cubicBezTo>
                  <a:pt x="616081" y="3316746"/>
                  <a:pt x="618792" y="3322066"/>
                  <a:pt x="623970" y="3328567"/>
                </a:cubicBezTo>
                <a:cubicBezTo>
                  <a:pt x="629148" y="3335070"/>
                  <a:pt x="633385" y="3345990"/>
                  <a:pt x="633385" y="3352836"/>
                </a:cubicBezTo>
                <a:cubicBezTo>
                  <a:pt x="633385" y="3373477"/>
                  <a:pt x="639067" y="3377284"/>
                  <a:pt x="658577" y="3369716"/>
                </a:cubicBezTo>
                <a:cubicBezTo>
                  <a:pt x="664086" y="3367578"/>
                  <a:pt x="669621" y="3359206"/>
                  <a:pt x="671077" y="3350809"/>
                </a:cubicBezTo>
                <a:cubicBezTo>
                  <a:pt x="674135" y="3333168"/>
                  <a:pt x="679944" y="3331754"/>
                  <a:pt x="690819" y="3346003"/>
                </a:cubicBezTo>
                <a:cubicBezTo>
                  <a:pt x="707087" y="3367317"/>
                  <a:pt x="719876" y="3339683"/>
                  <a:pt x="704860" y="3315662"/>
                </a:cubicBezTo>
                <a:cubicBezTo>
                  <a:pt x="696086" y="3301624"/>
                  <a:pt x="686481" y="3300707"/>
                  <a:pt x="683069" y="3313581"/>
                </a:cubicBezTo>
                <a:cubicBezTo>
                  <a:pt x="677390" y="3335002"/>
                  <a:pt x="653576" y="3313004"/>
                  <a:pt x="648396" y="3281551"/>
                </a:cubicBezTo>
                <a:cubicBezTo>
                  <a:pt x="646709" y="3271312"/>
                  <a:pt x="642464" y="3258153"/>
                  <a:pt x="638964" y="3252310"/>
                </a:cubicBezTo>
                <a:cubicBezTo>
                  <a:pt x="634458" y="3244789"/>
                  <a:pt x="633839" y="3238477"/>
                  <a:pt x="636844" y="3230703"/>
                </a:cubicBezTo>
                <a:cubicBezTo>
                  <a:pt x="640711" y="3220699"/>
                  <a:pt x="641357" y="3220941"/>
                  <a:pt x="644091" y="3233414"/>
                </a:cubicBezTo>
                <a:cubicBezTo>
                  <a:pt x="645742" y="3240944"/>
                  <a:pt x="649912" y="3247106"/>
                  <a:pt x="653357" y="3247106"/>
                </a:cubicBezTo>
                <a:cubicBezTo>
                  <a:pt x="656803" y="3247106"/>
                  <a:pt x="659622" y="3250938"/>
                  <a:pt x="659622" y="3255622"/>
                </a:cubicBezTo>
                <a:cubicBezTo>
                  <a:pt x="659622" y="3260305"/>
                  <a:pt x="663668" y="3269437"/>
                  <a:pt x="668613" y="3275916"/>
                </a:cubicBezTo>
                <a:cubicBezTo>
                  <a:pt x="676292" y="3285977"/>
                  <a:pt x="678929" y="3286497"/>
                  <a:pt x="686690" y="3279479"/>
                </a:cubicBezTo>
                <a:cubicBezTo>
                  <a:pt x="693647" y="3273190"/>
                  <a:pt x="696533" y="3273031"/>
                  <a:pt x="698996" y="3278800"/>
                </a:cubicBezTo>
                <a:cubicBezTo>
                  <a:pt x="704713" y="3292193"/>
                  <a:pt x="718657" y="3283123"/>
                  <a:pt x="718657" y="3266012"/>
                </a:cubicBezTo>
                <a:cubicBezTo>
                  <a:pt x="718657" y="3252393"/>
                  <a:pt x="716447" y="3250007"/>
                  <a:pt x="702258" y="3248307"/>
                </a:cubicBezTo>
                <a:cubicBezTo>
                  <a:pt x="686019" y="3246361"/>
                  <a:pt x="685860" y="3246074"/>
                  <a:pt x="685860" y="3218686"/>
                </a:cubicBezTo>
                <a:cubicBezTo>
                  <a:pt x="685860" y="3195981"/>
                  <a:pt x="683223" y="3186983"/>
                  <a:pt x="671132" y="3168421"/>
                </a:cubicBezTo>
                <a:cubicBezTo>
                  <a:pt x="663031" y="3155986"/>
                  <a:pt x="653493" y="3145813"/>
                  <a:pt x="649936" y="3145813"/>
                </a:cubicBezTo>
                <a:cubicBezTo>
                  <a:pt x="638352" y="3145813"/>
                  <a:pt x="625360" y="3123579"/>
                  <a:pt x="623889" y="3101236"/>
                </a:cubicBezTo>
                <a:cubicBezTo>
                  <a:pt x="622735" y="3083732"/>
                  <a:pt x="615150" y="3073356"/>
                  <a:pt x="608431" y="3076110"/>
                </a:cubicBezTo>
                <a:close/>
                <a:moveTo>
                  <a:pt x="299116" y="2844933"/>
                </a:moveTo>
                <a:cubicBezTo>
                  <a:pt x="303196" y="2846859"/>
                  <a:pt x="305415" y="2851711"/>
                  <a:pt x="305415" y="2859317"/>
                </a:cubicBezTo>
                <a:cubicBezTo>
                  <a:pt x="305415" y="2865615"/>
                  <a:pt x="308538" y="2877223"/>
                  <a:pt x="312354" y="2885111"/>
                </a:cubicBezTo>
                <a:cubicBezTo>
                  <a:pt x="317852" y="2896473"/>
                  <a:pt x="318194" y="2901370"/>
                  <a:pt x="314006" y="2908678"/>
                </a:cubicBezTo>
                <a:cubicBezTo>
                  <a:pt x="311097" y="2913751"/>
                  <a:pt x="306217" y="2917902"/>
                  <a:pt x="303161" y="2917902"/>
                </a:cubicBezTo>
                <a:cubicBezTo>
                  <a:pt x="300106" y="2917902"/>
                  <a:pt x="296536" y="2921936"/>
                  <a:pt x="295229" y="2926867"/>
                </a:cubicBezTo>
                <a:cubicBezTo>
                  <a:pt x="292244" y="2938128"/>
                  <a:pt x="296760" y="3007519"/>
                  <a:pt x="301032" y="3016030"/>
                </a:cubicBezTo>
                <a:cubicBezTo>
                  <a:pt x="302780" y="3019512"/>
                  <a:pt x="305502" y="3030195"/>
                  <a:pt x="307082" y="3039770"/>
                </a:cubicBezTo>
                <a:cubicBezTo>
                  <a:pt x="308662" y="3049346"/>
                  <a:pt x="311885" y="3057181"/>
                  <a:pt x="314244" y="3057181"/>
                </a:cubicBezTo>
                <a:cubicBezTo>
                  <a:pt x="321268" y="3057181"/>
                  <a:pt x="319314" y="3111671"/>
                  <a:pt x="311975" y="3120489"/>
                </a:cubicBezTo>
                <a:cubicBezTo>
                  <a:pt x="302206" y="3132227"/>
                  <a:pt x="303689" y="3156344"/>
                  <a:pt x="314431" y="3160411"/>
                </a:cubicBezTo>
                <a:cubicBezTo>
                  <a:pt x="319389" y="3162288"/>
                  <a:pt x="323092" y="3167606"/>
                  <a:pt x="322659" y="3172228"/>
                </a:cubicBezTo>
                <a:cubicBezTo>
                  <a:pt x="320920" y="3190782"/>
                  <a:pt x="323366" y="3196459"/>
                  <a:pt x="333101" y="3196459"/>
                </a:cubicBezTo>
                <a:cubicBezTo>
                  <a:pt x="346142" y="3196459"/>
                  <a:pt x="355695" y="3221025"/>
                  <a:pt x="351673" y="3244221"/>
                </a:cubicBezTo>
                <a:cubicBezTo>
                  <a:pt x="349397" y="3257353"/>
                  <a:pt x="350784" y="3263404"/>
                  <a:pt x="357674" y="3270391"/>
                </a:cubicBezTo>
                <a:cubicBezTo>
                  <a:pt x="368216" y="3281081"/>
                  <a:pt x="369336" y="3294899"/>
                  <a:pt x="360077" y="3300043"/>
                </a:cubicBezTo>
                <a:cubicBezTo>
                  <a:pt x="350697" y="3305254"/>
                  <a:pt x="351979" y="3331760"/>
                  <a:pt x="362263" y="3345235"/>
                </a:cubicBezTo>
                <a:cubicBezTo>
                  <a:pt x="367074" y="3351537"/>
                  <a:pt x="371009" y="3363374"/>
                  <a:pt x="371009" y="3371539"/>
                </a:cubicBezTo>
                <a:cubicBezTo>
                  <a:pt x="371009" y="3383203"/>
                  <a:pt x="368637" y="3386385"/>
                  <a:pt x="359940" y="3386385"/>
                </a:cubicBezTo>
                <a:cubicBezTo>
                  <a:pt x="348442" y="3386385"/>
                  <a:pt x="339041" y="3405778"/>
                  <a:pt x="348358" y="3410274"/>
                </a:cubicBezTo>
                <a:cubicBezTo>
                  <a:pt x="351196" y="3411643"/>
                  <a:pt x="353518" y="3421320"/>
                  <a:pt x="353518" y="3431779"/>
                </a:cubicBezTo>
                <a:cubicBezTo>
                  <a:pt x="353518" y="3446987"/>
                  <a:pt x="356080" y="3452194"/>
                  <a:pt x="366316" y="3457788"/>
                </a:cubicBezTo>
                <a:cubicBezTo>
                  <a:pt x="378646" y="3464526"/>
                  <a:pt x="388501" y="3484868"/>
                  <a:pt x="388501" y="3503581"/>
                </a:cubicBezTo>
                <a:cubicBezTo>
                  <a:pt x="388501" y="3508518"/>
                  <a:pt x="392437" y="3515606"/>
                  <a:pt x="397247" y="3519333"/>
                </a:cubicBezTo>
                <a:cubicBezTo>
                  <a:pt x="402057" y="3523060"/>
                  <a:pt x="405993" y="3531897"/>
                  <a:pt x="405993" y="3538971"/>
                </a:cubicBezTo>
                <a:cubicBezTo>
                  <a:pt x="405993" y="3546044"/>
                  <a:pt x="410912" y="3561170"/>
                  <a:pt x="416925" y="3572583"/>
                </a:cubicBezTo>
                <a:cubicBezTo>
                  <a:pt x="438773" y="3614051"/>
                  <a:pt x="425890" y="3621313"/>
                  <a:pt x="400289" y="3581960"/>
                </a:cubicBezTo>
                <a:cubicBezTo>
                  <a:pt x="391139" y="3567895"/>
                  <a:pt x="379425" y="3544489"/>
                  <a:pt x="374258" y="3529946"/>
                </a:cubicBezTo>
                <a:cubicBezTo>
                  <a:pt x="369091" y="3515404"/>
                  <a:pt x="361327" y="3499784"/>
                  <a:pt x="357004" y="3495233"/>
                </a:cubicBezTo>
                <a:cubicBezTo>
                  <a:pt x="352682" y="3490684"/>
                  <a:pt x="349145" y="3480338"/>
                  <a:pt x="349145" y="3472244"/>
                </a:cubicBezTo>
                <a:cubicBezTo>
                  <a:pt x="349145" y="3462865"/>
                  <a:pt x="343594" y="3451398"/>
                  <a:pt x="333840" y="3440626"/>
                </a:cubicBezTo>
                <a:cubicBezTo>
                  <a:pt x="325355" y="3431258"/>
                  <a:pt x="318534" y="3418093"/>
                  <a:pt x="318534" y="3411084"/>
                </a:cubicBezTo>
                <a:cubicBezTo>
                  <a:pt x="318534" y="3404131"/>
                  <a:pt x="313615" y="3391841"/>
                  <a:pt x="307602" y="3383774"/>
                </a:cubicBezTo>
                <a:cubicBezTo>
                  <a:pt x="301589" y="3375707"/>
                  <a:pt x="296670" y="3365833"/>
                  <a:pt x="296670" y="3361833"/>
                </a:cubicBezTo>
                <a:cubicBezTo>
                  <a:pt x="296670" y="3357832"/>
                  <a:pt x="294210" y="3348528"/>
                  <a:pt x="291204" y="3341156"/>
                </a:cubicBezTo>
                <a:cubicBezTo>
                  <a:pt x="286831" y="3330434"/>
                  <a:pt x="286831" y="3327180"/>
                  <a:pt x="291204" y="3324887"/>
                </a:cubicBezTo>
                <a:cubicBezTo>
                  <a:pt x="297713" y="3321474"/>
                  <a:pt x="298538" y="3293842"/>
                  <a:pt x="292297" y="3288257"/>
                </a:cubicBezTo>
                <a:cubicBezTo>
                  <a:pt x="289891" y="3286105"/>
                  <a:pt x="287924" y="3277123"/>
                  <a:pt x="287924" y="3268298"/>
                </a:cubicBezTo>
                <a:cubicBezTo>
                  <a:pt x="287924" y="3257662"/>
                  <a:pt x="285022" y="3251153"/>
                  <a:pt x="279316" y="3248993"/>
                </a:cubicBezTo>
                <a:cubicBezTo>
                  <a:pt x="271869" y="3246174"/>
                  <a:pt x="270836" y="3240854"/>
                  <a:pt x="271663" y="3209582"/>
                </a:cubicBezTo>
                <a:cubicBezTo>
                  <a:pt x="272576" y="3175025"/>
                  <a:pt x="271877" y="3172444"/>
                  <a:pt x="255824" y="3151135"/>
                </a:cubicBezTo>
                <a:cubicBezTo>
                  <a:pt x="243739" y="3135092"/>
                  <a:pt x="239448" y="3124700"/>
                  <a:pt x="240519" y="3114065"/>
                </a:cubicBezTo>
                <a:cubicBezTo>
                  <a:pt x="242026" y="3099109"/>
                  <a:pt x="262146" y="3077495"/>
                  <a:pt x="275363" y="3076636"/>
                </a:cubicBezTo>
                <a:cubicBezTo>
                  <a:pt x="279277" y="3076381"/>
                  <a:pt x="284521" y="3072612"/>
                  <a:pt x="287016" y="3068260"/>
                </a:cubicBezTo>
                <a:cubicBezTo>
                  <a:pt x="293564" y="3056837"/>
                  <a:pt x="281862" y="3019213"/>
                  <a:pt x="271736" y="3019134"/>
                </a:cubicBezTo>
                <a:cubicBezTo>
                  <a:pt x="267411" y="3019102"/>
                  <a:pt x="256985" y="3007731"/>
                  <a:pt x="248567" y="2993872"/>
                </a:cubicBezTo>
                <a:cubicBezTo>
                  <a:pt x="236873" y="2974617"/>
                  <a:pt x="230028" y="2968658"/>
                  <a:pt x="219553" y="2968611"/>
                </a:cubicBezTo>
                <a:cubicBezTo>
                  <a:pt x="209719" y="2968566"/>
                  <a:pt x="203783" y="2963994"/>
                  <a:pt x="198550" y="2952433"/>
                </a:cubicBezTo>
                <a:cubicBezTo>
                  <a:pt x="188371" y="2929942"/>
                  <a:pt x="193259" y="2911571"/>
                  <a:pt x="209422" y="2911571"/>
                </a:cubicBezTo>
                <a:cubicBezTo>
                  <a:pt x="219680" y="2911571"/>
                  <a:pt x="222747" y="2908178"/>
                  <a:pt x="225158" y="2894161"/>
                </a:cubicBezTo>
                <a:cubicBezTo>
                  <a:pt x="228039" y="2877407"/>
                  <a:pt x="237932" y="2861545"/>
                  <a:pt x="245762" y="2861125"/>
                </a:cubicBezTo>
                <a:cubicBezTo>
                  <a:pt x="247826" y="2861014"/>
                  <a:pt x="248389" y="2867420"/>
                  <a:pt x="247013" y="2875360"/>
                </a:cubicBezTo>
                <a:cubicBezTo>
                  <a:pt x="240820" y="2911084"/>
                  <a:pt x="258686" y="2935855"/>
                  <a:pt x="275118" y="2914326"/>
                </a:cubicBezTo>
                <a:cubicBezTo>
                  <a:pt x="285388" y="2900871"/>
                  <a:pt x="285718" y="2890590"/>
                  <a:pt x="276532" y="2870294"/>
                </a:cubicBezTo>
                <a:cubicBezTo>
                  <a:pt x="269749" y="2855307"/>
                  <a:pt x="269922" y="2854561"/>
                  <a:pt x="281659" y="2848100"/>
                </a:cubicBezTo>
                <a:cubicBezTo>
                  <a:pt x="289097" y="2844006"/>
                  <a:pt x="295037" y="2843007"/>
                  <a:pt x="299116" y="2844933"/>
                </a:cubicBezTo>
                <a:close/>
                <a:moveTo>
                  <a:pt x="4347140" y="2808314"/>
                </a:moveTo>
                <a:cubicBezTo>
                  <a:pt x="4337315" y="2807335"/>
                  <a:pt x="4335235" y="2809562"/>
                  <a:pt x="4335975" y="2820272"/>
                </a:cubicBezTo>
                <a:cubicBezTo>
                  <a:pt x="4336814" y="2832429"/>
                  <a:pt x="4335100" y="2833218"/>
                  <a:pt x="4313472" y="2830622"/>
                </a:cubicBezTo>
                <a:cubicBezTo>
                  <a:pt x="4292375" y="2828089"/>
                  <a:pt x="4289759" y="2829181"/>
                  <a:pt x="4287024" y="2841656"/>
                </a:cubicBezTo>
                <a:cubicBezTo>
                  <a:pt x="4285062" y="2850604"/>
                  <a:pt x="4286448" y="2859434"/>
                  <a:pt x="4290942" y="2866625"/>
                </a:cubicBezTo>
                <a:cubicBezTo>
                  <a:pt x="4298778" y="2879159"/>
                  <a:pt x="4300112" y="2892578"/>
                  <a:pt x="4293523" y="2892578"/>
                </a:cubicBezTo>
                <a:cubicBezTo>
                  <a:pt x="4285230" y="2892578"/>
                  <a:pt x="4289172" y="2910727"/>
                  <a:pt x="4298383" y="2914961"/>
                </a:cubicBezTo>
                <a:cubicBezTo>
                  <a:pt x="4308883" y="2919785"/>
                  <a:pt x="4326494" y="2899832"/>
                  <a:pt x="4316481" y="2894457"/>
                </a:cubicBezTo>
                <a:cubicBezTo>
                  <a:pt x="4307136" y="2889442"/>
                  <a:pt x="4310473" y="2873571"/>
                  <a:pt x="4322232" y="2867098"/>
                </a:cubicBezTo>
                <a:cubicBezTo>
                  <a:pt x="4337564" y="2858659"/>
                  <a:pt x="4336902" y="2858163"/>
                  <a:pt x="4344228" y="2883547"/>
                </a:cubicBezTo>
                <a:cubicBezTo>
                  <a:pt x="4350698" y="2905968"/>
                  <a:pt x="4349183" y="2930563"/>
                  <a:pt x="4341331" y="2930563"/>
                </a:cubicBezTo>
                <a:cubicBezTo>
                  <a:pt x="4336075" y="2930563"/>
                  <a:pt x="4335993" y="2947834"/>
                  <a:pt x="4341235" y="2950611"/>
                </a:cubicBezTo>
                <a:cubicBezTo>
                  <a:pt x="4343426" y="2951772"/>
                  <a:pt x="4345760" y="2964117"/>
                  <a:pt x="4346422" y="2978045"/>
                </a:cubicBezTo>
                <a:cubicBezTo>
                  <a:pt x="4347085" y="2991973"/>
                  <a:pt x="4349414" y="3006834"/>
                  <a:pt x="4351599" y="3011069"/>
                </a:cubicBezTo>
                <a:cubicBezTo>
                  <a:pt x="4353784" y="3015304"/>
                  <a:pt x="4354720" y="3022427"/>
                  <a:pt x="4353681" y="3026896"/>
                </a:cubicBezTo>
                <a:cubicBezTo>
                  <a:pt x="4352641" y="3031366"/>
                  <a:pt x="4354914" y="3038493"/>
                  <a:pt x="4358733" y="3042735"/>
                </a:cubicBezTo>
                <a:cubicBezTo>
                  <a:pt x="4367551" y="3052530"/>
                  <a:pt x="4367318" y="3052543"/>
                  <a:pt x="4374735" y="3041806"/>
                </a:cubicBezTo>
                <a:cubicBezTo>
                  <a:pt x="4381984" y="3031311"/>
                  <a:pt x="4382916" y="3015342"/>
                  <a:pt x="4376609" y="3009699"/>
                </a:cubicBezTo>
                <a:cubicBezTo>
                  <a:pt x="4374203" y="3007547"/>
                  <a:pt x="4372236" y="2993135"/>
                  <a:pt x="4372236" y="2977671"/>
                </a:cubicBezTo>
                <a:cubicBezTo>
                  <a:pt x="4372236" y="2962208"/>
                  <a:pt x="4374203" y="2949556"/>
                  <a:pt x="4376609" y="2949556"/>
                </a:cubicBezTo>
                <a:cubicBezTo>
                  <a:pt x="4382749" y="2949556"/>
                  <a:pt x="4382065" y="2928334"/>
                  <a:pt x="4375625" y="2919010"/>
                </a:cubicBezTo>
                <a:cubicBezTo>
                  <a:pt x="4371800" y="2913473"/>
                  <a:pt x="4371563" y="2908132"/>
                  <a:pt x="4374793" y="2900334"/>
                </a:cubicBezTo>
                <a:cubicBezTo>
                  <a:pt x="4380909" y="2885567"/>
                  <a:pt x="4382369" y="2841931"/>
                  <a:pt x="4376745" y="2841931"/>
                </a:cubicBezTo>
                <a:cubicBezTo>
                  <a:pt x="4374265" y="2841931"/>
                  <a:pt x="4372236" y="2838879"/>
                  <a:pt x="4372236" y="2835149"/>
                </a:cubicBezTo>
                <a:cubicBezTo>
                  <a:pt x="4372236" y="2823118"/>
                  <a:pt x="4359546" y="2809548"/>
                  <a:pt x="4347140" y="2808314"/>
                </a:cubicBezTo>
                <a:close/>
                <a:moveTo>
                  <a:pt x="185194" y="2800466"/>
                </a:moveTo>
                <a:cubicBezTo>
                  <a:pt x="189412" y="2798867"/>
                  <a:pt x="195472" y="2799995"/>
                  <a:pt x="202843" y="2804051"/>
                </a:cubicBezTo>
                <a:cubicBezTo>
                  <a:pt x="212914" y="2809595"/>
                  <a:pt x="214175" y="2812194"/>
                  <a:pt x="209063" y="2816874"/>
                </a:cubicBezTo>
                <a:cubicBezTo>
                  <a:pt x="198483" y="2826562"/>
                  <a:pt x="178601" y="2824192"/>
                  <a:pt x="178601" y="2813244"/>
                </a:cubicBezTo>
                <a:cubicBezTo>
                  <a:pt x="178601" y="2806392"/>
                  <a:pt x="180976" y="2802066"/>
                  <a:pt x="185194" y="2800466"/>
                </a:cubicBezTo>
                <a:close/>
                <a:moveTo>
                  <a:pt x="222256" y="2788186"/>
                </a:moveTo>
                <a:cubicBezTo>
                  <a:pt x="224620" y="2786070"/>
                  <a:pt x="233475" y="2786219"/>
                  <a:pt x="241934" y="2788517"/>
                </a:cubicBezTo>
                <a:cubicBezTo>
                  <a:pt x="255309" y="2792149"/>
                  <a:pt x="257313" y="2795077"/>
                  <a:pt x="257313" y="2810982"/>
                </a:cubicBezTo>
                <a:cubicBezTo>
                  <a:pt x="257313" y="2824652"/>
                  <a:pt x="255240" y="2829270"/>
                  <a:pt x="249103" y="2829270"/>
                </a:cubicBezTo>
                <a:cubicBezTo>
                  <a:pt x="244587" y="2829270"/>
                  <a:pt x="238443" y="2824997"/>
                  <a:pt x="235449" y="2819774"/>
                </a:cubicBezTo>
                <a:cubicBezTo>
                  <a:pt x="232454" y="2814551"/>
                  <a:pt x="227294" y="2810277"/>
                  <a:pt x="223981" y="2810277"/>
                </a:cubicBezTo>
                <a:cubicBezTo>
                  <a:pt x="217082" y="2810277"/>
                  <a:pt x="215807" y="2793955"/>
                  <a:pt x="222256" y="2788186"/>
                </a:cubicBezTo>
                <a:close/>
                <a:moveTo>
                  <a:pt x="4412081" y="2689991"/>
                </a:moveTo>
                <a:cubicBezTo>
                  <a:pt x="4424157" y="2689991"/>
                  <a:pt x="4429546" y="2714850"/>
                  <a:pt x="4428685" y="2766566"/>
                </a:cubicBezTo>
                <a:cubicBezTo>
                  <a:pt x="4427818" y="2818737"/>
                  <a:pt x="4424057" y="2832168"/>
                  <a:pt x="4416240" y="2811021"/>
                </a:cubicBezTo>
                <a:cubicBezTo>
                  <a:pt x="4413745" y="2804271"/>
                  <a:pt x="4410404" y="2774278"/>
                  <a:pt x="4408816" y="2744370"/>
                </a:cubicBezTo>
                <a:cubicBezTo>
                  <a:pt x="4406454" y="2699871"/>
                  <a:pt x="4407047" y="2689991"/>
                  <a:pt x="4412081" y="2689991"/>
                </a:cubicBezTo>
                <a:close/>
                <a:moveTo>
                  <a:pt x="127218" y="2621494"/>
                </a:moveTo>
                <a:cubicBezTo>
                  <a:pt x="145820" y="2625318"/>
                  <a:pt x="141816" y="2670565"/>
                  <a:pt x="122846" y="2670901"/>
                </a:cubicBezTo>
                <a:cubicBezTo>
                  <a:pt x="119358" y="2670964"/>
                  <a:pt x="117380" y="2661676"/>
                  <a:pt x="117380" y="2645235"/>
                </a:cubicBezTo>
                <a:cubicBezTo>
                  <a:pt x="117380" y="2622138"/>
                  <a:pt x="118398" y="2619680"/>
                  <a:pt x="127218" y="2621494"/>
                </a:cubicBezTo>
                <a:close/>
                <a:moveTo>
                  <a:pt x="202062" y="2494799"/>
                </a:moveTo>
                <a:cubicBezTo>
                  <a:pt x="208110" y="2493113"/>
                  <a:pt x="209587" y="2496021"/>
                  <a:pt x="208469" y="2507415"/>
                </a:cubicBezTo>
                <a:cubicBezTo>
                  <a:pt x="207535" y="2516934"/>
                  <a:pt x="210532" y="2526344"/>
                  <a:pt x="216859" y="2533762"/>
                </a:cubicBezTo>
                <a:cubicBezTo>
                  <a:pt x="222273" y="2540108"/>
                  <a:pt x="226703" y="2550221"/>
                  <a:pt x="226703" y="2556236"/>
                </a:cubicBezTo>
                <a:cubicBezTo>
                  <a:pt x="226703" y="2562251"/>
                  <a:pt x="228904" y="2570359"/>
                  <a:pt x="231595" y="2574254"/>
                </a:cubicBezTo>
                <a:cubicBezTo>
                  <a:pt x="235202" y="2579476"/>
                  <a:pt x="234053" y="2592559"/>
                  <a:pt x="227222" y="2624068"/>
                </a:cubicBezTo>
                <a:cubicBezTo>
                  <a:pt x="216136" y="2675200"/>
                  <a:pt x="215791" y="2685838"/>
                  <a:pt x="224867" y="2696743"/>
                </a:cubicBezTo>
                <a:cubicBezTo>
                  <a:pt x="230186" y="2703134"/>
                  <a:pt x="234717" y="2703439"/>
                  <a:pt x="244545" y="2698068"/>
                </a:cubicBezTo>
                <a:cubicBezTo>
                  <a:pt x="256458" y="2691558"/>
                  <a:pt x="257313" y="2692114"/>
                  <a:pt x="257313" y="2706368"/>
                </a:cubicBezTo>
                <a:cubicBezTo>
                  <a:pt x="257313" y="2719409"/>
                  <a:pt x="255216" y="2721645"/>
                  <a:pt x="242983" y="2721645"/>
                </a:cubicBezTo>
                <a:cubicBezTo>
                  <a:pt x="233167" y="2721645"/>
                  <a:pt x="224127" y="2727629"/>
                  <a:pt x="214289" y="2740638"/>
                </a:cubicBezTo>
                <a:cubicBezTo>
                  <a:pt x="193758" y="2767786"/>
                  <a:pt x="187346" y="2765651"/>
                  <a:pt x="187346" y="2731669"/>
                </a:cubicBezTo>
                <a:cubicBezTo>
                  <a:pt x="187346" y="2716208"/>
                  <a:pt x="185096" y="2702622"/>
                  <a:pt x="182313" y="2701279"/>
                </a:cubicBezTo>
                <a:cubicBezTo>
                  <a:pt x="179544" y="2699942"/>
                  <a:pt x="176345" y="2682559"/>
                  <a:pt x="175205" y="2662649"/>
                </a:cubicBezTo>
                <a:cubicBezTo>
                  <a:pt x="174064" y="2642739"/>
                  <a:pt x="171410" y="2624909"/>
                  <a:pt x="169307" y="2623027"/>
                </a:cubicBezTo>
                <a:cubicBezTo>
                  <a:pt x="167203" y="2621144"/>
                  <a:pt x="165482" y="2611226"/>
                  <a:pt x="165482" y="2600985"/>
                </a:cubicBezTo>
                <a:cubicBezTo>
                  <a:pt x="165482" y="2585465"/>
                  <a:pt x="167258" y="2582366"/>
                  <a:pt x="176156" y="2582366"/>
                </a:cubicBezTo>
                <a:cubicBezTo>
                  <a:pt x="190305" y="2582366"/>
                  <a:pt x="193356" y="2573656"/>
                  <a:pt x="193816" y="2531949"/>
                </a:cubicBezTo>
                <a:cubicBezTo>
                  <a:pt x="194128" y="2503601"/>
                  <a:pt x="195688" y="2496576"/>
                  <a:pt x="202062" y="2494799"/>
                </a:cubicBezTo>
                <a:close/>
                <a:moveTo>
                  <a:pt x="154003" y="2487403"/>
                </a:moveTo>
                <a:cubicBezTo>
                  <a:pt x="160250" y="2487403"/>
                  <a:pt x="165482" y="2513730"/>
                  <a:pt x="165482" y="2545173"/>
                </a:cubicBezTo>
                <a:cubicBezTo>
                  <a:pt x="165482" y="2564737"/>
                  <a:pt x="159039" y="2567728"/>
                  <a:pt x="140337" y="2556845"/>
                </a:cubicBezTo>
                <a:cubicBezTo>
                  <a:pt x="128127" y="2549740"/>
                  <a:pt x="127849" y="2541455"/>
                  <a:pt x="139428" y="2529713"/>
                </a:cubicBezTo>
                <a:cubicBezTo>
                  <a:pt x="144340" y="2524732"/>
                  <a:pt x="148043" y="2518161"/>
                  <a:pt x="147656" y="2515110"/>
                </a:cubicBezTo>
                <a:cubicBezTo>
                  <a:pt x="145740" y="2499961"/>
                  <a:pt x="148616" y="2487403"/>
                  <a:pt x="154003" y="2487403"/>
                </a:cubicBezTo>
                <a:close/>
                <a:moveTo>
                  <a:pt x="4489212" y="2459669"/>
                </a:moveTo>
                <a:cubicBezTo>
                  <a:pt x="4506938" y="2465803"/>
                  <a:pt x="4507796" y="2467224"/>
                  <a:pt x="4507796" y="2490415"/>
                </a:cubicBezTo>
                <a:cubicBezTo>
                  <a:pt x="4507796" y="2502106"/>
                  <a:pt x="4510118" y="2512793"/>
                  <a:pt x="4512956" y="2514162"/>
                </a:cubicBezTo>
                <a:cubicBezTo>
                  <a:pt x="4516322" y="2515787"/>
                  <a:pt x="4516842" y="2520920"/>
                  <a:pt x="4514448" y="2528934"/>
                </a:cubicBezTo>
                <a:cubicBezTo>
                  <a:pt x="4512431" y="2535689"/>
                  <a:pt x="4511135" y="2543535"/>
                  <a:pt x="4511569" y="2546369"/>
                </a:cubicBezTo>
                <a:cubicBezTo>
                  <a:pt x="4512002" y="2549203"/>
                  <a:pt x="4510191" y="2563161"/>
                  <a:pt x="4507545" y="2577386"/>
                </a:cubicBezTo>
                <a:cubicBezTo>
                  <a:pt x="4503120" y="2601177"/>
                  <a:pt x="4503569" y="2604315"/>
                  <a:pt x="4513150" y="2616549"/>
                </a:cubicBezTo>
                <a:cubicBezTo>
                  <a:pt x="4518879" y="2623863"/>
                  <a:pt x="4527279" y="2632901"/>
                  <a:pt x="4531819" y="2636631"/>
                </a:cubicBezTo>
                <a:cubicBezTo>
                  <a:pt x="4536358" y="2640362"/>
                  <a:pt x="4541899" y="2651342"/>
                  <a:pt x="4544130" y="2661031"/>
                </a:cubicBezTo>
                <a:cubicBezTo>
                  <a:pt x="4547409" y="2675279"/>
                  <a:pt x="4546498" y="2681091"/>
                  <a:pt x="4539364" y="2691419"/>
                </a:cubicBezTo>
                <a:cubicBezTo>
                  <a:pt x="4529460" y="2705758"/>
                  <a:pt x="4520915" y="2701899"/>
                  <a:pt x="4520915" y="2683088"/>
                </a:cubicBezTo>
                <a:cubicBezTo>
                  <a:pt x="4520915" y="2676220"/>
                  <a:pt x="4517964" y="2668962"/>
                  <a:pt x="4514355" y="2666957"/>
                </a:cubicBezTo>
                <a:cubicBezTo>
                  <a:pt x="4510748" y="2664953"/>
                  <a:pt x="4507796" y="2656729"/>
                  <a:pt x="4507796" y="2648681"/>
                </a:cubicBezTo>
                <a:cubicBezTo>
                  <a:pt x="4507796" y="2612677"/>
                  <a:pt x="4491969" y="2602005"/>
                  <a:pt x="4476606" y="2627651"/>
                </a:cubicBezTo>
                <a:cubicBezTo>
                  <a:pt x="4467602" y="2642680"/>
                  <a:pt x="4466499" y="2649522"/>
                  <a:pt x="4472248" y="2654666"/>
                </a:cubicBezTo>
                <a:cubicBezTo>
                  <a:pt x="4474343" y="2656540"/>
                  <a:pt x="4477189" y="2666270"/>
                  <a:pt x="4478572" y="2676289"/>
                </a:cubicBezTo>
                <a:cubicBezTo>
                  <a:pt x="4481394" y="2696713"/>
                  <a:pt x="4501448" y="2712864"/>
                  <a:pt x="4516779" y="2707060"/>
                </a:cubicBezTo>
                <a:cubicBezTo>
                  <a:pt x="4528708" y="2702543"/>
                  <a:pt x="4532889" y="2718650"/>
                  <a:pt x="4523632" y="2733459"/>
                </a:cubicBezTo>
                <a:cubicBezTo>
                  <a:pt x="4519041" y="2740804"/>
                  <a:pt x="4516542" y="2756205"/>
                  <a:pt x="4516542" y="2777165"/>
                </a:cubicBezTo>
                <a:cubicBezTo>
                  <a:pt x="4516542" y="2814008"/>
                  <a:pt x="4512711" y="2820860"/>
                  <a:pt x="4500806" y="2805311"/>
                </a:cubicBezTo>
                <a:lnTo>
                  <a:pt x="4500806" y="2805310"/>
                </a:lnTo>
                <a:cubicBezTo>
                  <a:pt x="4496233" y="2799337"/>
                  <a:pt x="4490031" y="2794165"/>
                  <a:pt x="4487024" y="2793817"/>
                </a:cubicBezTo>
                <a:cubicBezTo>
                  <a:pt x="4484019" y="2793469"/>
                  <a:pt x="4478608" y="2792757"/>
                  <a:pt x="4475000" y="2792234"/>
                </a:cubicBezTo>
                <a:cubicBezTo>
                  <a:pt x="4471093" y="2791669"/>
                  <a:pt x="4468440" y="2784883"/>
                  <a:pt x="4468440" y="2775457"/>
                </a:cubicBezTo>
                <a:cubicBezTo>
                  <a:pt x="4468440" y="2766753"/>
                  <a:pt x="4466472" y="2759630"/>
                  <a:pt x="4464067" y="2759630"/>
                </a:cubicBezTo>
                <a:cubicBezTo>
                  <a:pt x="4461662" y="2759630"/>
                  <a:pt x="4459694" y="2754101"/>
                  <a:pt x="4459694" y="2747342"/>
                </a:cubicBezTo>
                <a:cubicBezTo>
                  <a:pt x="4459694" y="2740584"/>
                  <a:pt x="4461662" y="2733293"/>
                  <a:pt x="4464067" y="2731141"/>
                </a:cubicBezTo>
                <a:cubicBezTo>
                  <a:pt x="4470062" y="2725778"/>
                  <a:pt x="4469618" y="2689991"/>
                  <a:pt x="4463558" y="2689991"/>
                </a:cubicBezTo>
                <a:cubicBezTo>
                  <a:pt x="4460828" y="2689991"/>
                  <a:pt x="4459682" y="2684408"/>
                  <a:pt x="4460961" y="2677329"/>
                </a:cubicBezTo>
                <a:cubicBezTo>
                  <a:pt x="4462219" y="2670365"/>
                  <a:pt x="4461465" y="2664667"/>
                  <a:pt x="4459285" y="2664667"/>
                </a:cubicBezTo>
                <a:cubicBezTo>
                  <a:pt x="4457105" y="2664667"/>
                  <a:pt x="4455321" y="2648666"/>
                  <a:pt x="4455321" y="2629110"/>
                </a:cubicBezTo>
                <a:cubicBezTo>
                  <a:pt x="4455321" y="2595782"/>
                  <a:pt x="4455915" y="2593776"/>
                  <a:pt x="4464775" y="2597130"/>
                </a:cubicBezTo>
                <a:cubicBezTo>
                  <a:pt x="4485373" y="2604929"/>
                  <a:pt x="4498727" y="2574663"/>
                  <a:pt x="4484058" y="2553425"/>
                </a:cubicBezTo>
                <a:cubicBezTo>
                  <a:pt x="4476151" y="2541978"/>
                  <a:pt x="4473076" y="2542075"/>
                  <a:pt x="4463930" y="2554058"/>
                </a:cubicBezTo>
                <a:cubicBezTo>
                  <a:pt x="4453905" y="2567191"/>
                  <a:pt x="4440547" y="2559078"/>
                  <a:pt x="4417058" y="2525589"/>
                </a:cubicBezTo>
                <a:cubicBezTo>
                  <a:pt x="4405156" y="2508619"/>
                  <a:pt x="4398473" y="2493472"/>
                  <a:pt x="4398473" y="2483464"/>
                </a:cubicBezTo>
                <a:cubicBezTo>
                  <a:pt x="4398473" y="2469034"/>
                  <a:pt x="4399645" y="2468156"/>
                  <a:pt x="4413779" y="2471995"/>
                </a:cubicBezTo>
                <a:cubicBezTo>
                  <a:pt x="4423811" y="2474719"/>
                  <a:pt x="4429084" y="2473727"/>
                  <a:pt x="4429084" y="2469116"/>
                </a:cubicBezTo>
                <a:cubicBezTo>
                  <a:pt x="4429084" y="2457459"/>
                  <a:pt x="4442832" y="2461193"/>
                  <a:pt x="4451173" y="2475117"/>
                </a:cubicBezTo>
                <a:cubicBezTo>
                  <a:pt x="4457941" y="2486414"/>
                  <a:pt x="4460198" y="2487055"/>
                  <a:pt x="4468085" y="2479925"/>
                </a:cubicBezTo>
                <a:cubicBezTo>
                  <a:pt x="4473091" y="2475399"/>
                  <a:pt x="4477186" y="2468054"/>
                  <a:pt x="4477186" y="2463602"/>
                </a:cubicBezTo>
                <a:cubicBezTo>
                  <a:pt x="4477186" y="2457984"/>
                  <a:pt x="4480865" y="2456781"/>
                  <a:pt x="4489212" y="2459669"/>
                </a:cubicBezTo>
                <a:close/>
                <a:moveTo>
                  <a:pt x="7746" y="2436756"/>
                </a:moveTo>
                <a:cubicBezTo>
                  <a:pt x="16623" y="2436756"/>
                  <a:pt x="17123" y="2439343"/>
                  <a:pt x="15909" y="2478985"/>
                </a:cubicBezTo>
                <a:cubicBezTo>
                  <a:pt x="15090" y="2505722"/>
                  <a:pt x="12610" y="2522174"/>
                  <a:pt x="9149" y="2523829"/>
                </a:cubicBezTo>
                <a:cubicBezTo>
                  <a:pt x="5287" y="2525677"/>
                  <a:pt x="3666" y="2517470"/>
                  <a:pt x="3624" y="2495844"/>
                </a:cubicBezTo>
                <a:cubicBezTo>
                  <a:pt x="3589" y="2479015"/>
                  <a:pt x="2378" y="2458836"/>
                  <a:pt x="927" y="2451001"/>
                </a:cubicBezTo>
                <a:cubicBezTo>
                  <a:pt x="-1212" y="2439444"/>
                  <a:pt x="75" y="2436756"/>
                  <a:pt x="7746" y="2436756"/>
                </a:cubicBezTo>
                <a:close/>
                <a:moveTo>
                  <a:pt x="4451449" y="2180169"/>
                </a:moveTo>
                <a:cubicBezTo>
                  <a:pt x="4454310" y="2178602"/>
                  <a:pt x="4458375" y="2179294"/>
                  <a:pt x="4461168" y="2183599"/>
                </a:cubicBezTo>
                <a:cubicBezTo>
                  <a:pt x="4465043" y="2189569"/>
                  <a:pt x="4464951" y="2192127"/>
                  <a:pt x="4460788" y="2194337"/>
                </a:cubicBezTo>
                <a:cubicBezTo>
                  <a:pt x="4457782" y="2195933"/>
                  <a:pt x="4455322" y="2206973"/>
                  <a:pt x="4455322" y="2218869"/>
                </a:cubicBezTo>
                <a:cubicBezTo>
                  <a:pt x="4455322" y="2230767"/>
                  <a:pt x="4453354" y="2240500"/>
                  <a:pt x="4450949" y="2240500"/>
                </a:cubicBezTo>
                <a:cubicBezTo>
                  <a:pt x="4444202" y="2240500"/>
                  <a:pt x="4445778" y="2263314"/>
                  <a:pt x="4453135" y="2272154"/>
                </a:cubicBezTo>
                <a:cubicBezTo>
                  <a:pt x="4461664" y="2282403"/>
                  <a:pt x="4461501" y="2295119"/>
                  <a:pt x="4452776" y="2299966"/>
                </a:cubicBezTo>
                <a:cubicBezTo>
                  <a:pt x="4448972" y="2302079"/>
                  <a:pt x="4445529" y="2303584"/>
                  <a:pt x="4445124" y="2303309"/>
                </a:cubicBezTo>
                <a:cubicBezTo>
                  <a:pt x="4444722" y="2303034"/>
                  <a:pt x="4441928" y="2301372"/>
                  <a:pt x="4438922" y="2299616"/>
                </a:cubicBezTo>
                <a:lnTo>
                  <a:pt x="4438923" y="2299616"/>
                </a:lnTo>
                <a:cubicBezTo>
                  <a:pt x="4431949" y="2295542"/>
                  <a:pt x="4431791" y="2258106"/>
                  <a:pt x="4438704" y="2248097"/>
                </a:cubicBezTo>
                <a:cubicBezTo>
                  <a:pt x="4442786" y="2242188"/>
                  <a:pt x="4442786" y="2240500"/>
                  <a:pt x="4438704" y="2240500"/>
                </a:cubicBezTo>
                <a:cubicBezTo>
                  <a:pt x="4435818" y="2240500"/>
                  <a:pt x="4433457" y="2234802"/>
                  <a:pt x="4433457" y="2227838"/>
                </a:cubicBezTo>
                <a:cubicBezTo>
                  <a:pt x="4433457" y="2220875"/>
                  <a:pt x="4435424" y="2215176"/>
                  <a:pt x="4437830" y="2215176"/>
                </a:cubicBezTo>
                <a:cubicBezTo>
                  <a:pt x="4440235" y="2215176"/>
                  <a:pt x="4442203" y="2210903"/>
                  <a:pt x="4442203" y="2205680"/>
                </a:cubicBezTo>
                <a:cubicBezTo>
                  <a:pt x="4442203" y="2200458"/>
                  <a:pt x="4444287" y="2196184"/>
                  <a:pt x="4446833" y="2196184"/>
                </a:cubicBezTo>
                <a:cubicBezTo>
                  <a:pt x="4449381" y="2196184"/>
                  <a:pt x="4450332" y="2193532"/>
                  <a:pt x="4448948" y="2190290"/>
                </a:cubicBezTo>
                <a:cubicBezTo>
                  <a:pt x="4446930" y="2185561"/>
                  <a:pt x="4448588" y="2181735"/>
                  <a:pt x="4451449" y="2180169"/>
                </a:cubicBezTo>
                <a:close/>
                <a:moveTo>
                  <a:pt x="34606" y="2069567"/>
                </a:moveTo>
                <a:cubicBezTo>
                  <a:pt x="41993" y="2069567"/>
                  <a:pt x="50608" y="2073128"/>
                  <a:pt x="53749" y="2077480"/>
                </a:cubicBezTo>
                <a:cubicBezTo>
                  <a:pt x="56890" y="2081833"/>
                  <a:pt x="63637" y="2089584"/>
                  <a:pt x="68742" y="2094705"/>
                </a:cubicBezTo>
                <a:cubicBezTo>
                  <a:pt x="73846" y="2099827"/>
                  <a:pt x="78086" y="2108373"/>
                  <a:pt x="78162" y="2113698"/>
                </a:cubicBezTo>
                <a:cubicBezTo>
                  <a:pt x="78239" y="2119023"/>
                  <a:pt x="81191" y="2128909"/>
                  <a:pt x="84722" y="2135668"/>
                </a:cubicBezTo>
                <a:cubicBezTo>
                  <a:pt x="88253" y="2142427"/>
                  <a:pt x="91142" y="2152969"/>
                  <a:pt x="91142" y="2159094"/>
                </a:cubicBezTo>
                <a:cubicBezTo>
                  <a:pt x="91142" y="2165220"/>
                  <a:pt x="94520" y="2172968"/>
                  <a:pt x="98649" y="2176313"/>
                </a:cubicBezTo>
                <a:cubicBezTo>
                  <a:pt x="105049" y="2181498"/>
                  <a:pt x="105348" y="2184580"/>
                  <a:pt x="100678" y="2197213"/>
                </a:cubicBezTo>
                <a:cubicBezTo>
                  <a:pt x="97665" y="2205363"/>
                  <a:pt x="94779" y="2224821"/>
                  <a:pt x="94264" y="2240455"/>
                </a:cubicBezTo>
                <a:cubicBezTo>
                  <a:pt x="93470" y="2264584"/>
                  <a:pt x="94825" y="2269837"/>
                  <a:pt x="103228" y="2275221"/>
                </a:cubicBezTo>
                <a:cubicBezTo>
                  <a:pt x="108672" y="2278708"/>
                  <a:pt x="112240" y="2284908"/>
                  <a:pt x="111157" y="2288996"/>
                </a:cubicBezTo>
                <a:cubicBezTo>
                  <a:pt x="110073" y="2293084"/>
                  <a:pt x="111871" y="2297922"/>
                  <a:pt x="115154" y="2299745"/>
                </a:cubicBezTo>
                <a:cubicBezTo>
                  <a:pt x="119360" y="2302082"/>
                  <a:pt x="120743" y="2312515"/>
                  <a:pt x="119839" y="2335089"/>
                </a:cubicBezTo>
                <a:cubicBezTo>
                  <a:pt x="119133" y="2352705"/>
                  <a:pt x="119767" y="2367139"/>
                  <a:pt x="121247" y="2367166"/>
                </a:cubicBezTo>
                <a:cubicBezTo>
                  <a:pt x="127529" y="2367282"/>
                  <a:pt x="134871" y="2403761"/>
                  <a:pt x="134871" y="2434853"/>
                </a:cubicBezTo>
                <a:cubicBezTo>
                  <a:pt x="134871" y="2471186"/>
                  <a:pt x="136638" y="2469452"/>
                  <a:pt x="105354" y="2463831"/>
                </a:cubicBezTo>
                <a:cubicBezTo>
                  <a:pt x="92947" y="2461602"/>
                  <a:pt x="91142" y="2458917"/>
                  <a:pt x="91142" y="2442687"/>
                </a:cubicBezTo>
                <a:cubicBezTo>
                  <a:pt x="91142" y="2432461"/>
                  <a:pt x="89019" y="2424095"/>
                  <a:pt x="86424" y="2424095"/>
                </a:cubicBezTo>
                <a:cubicBezTo>
                  <a:pt x="83339" y="2424095"/>
                  <a:pt x="82204" y="2407647"/>
                  <a:pt x="83144" y="2376598"/>
                </a:cubicBezTo>
                <a:cubicBezTo>
                  <a:pt x="83935" y="2350476"/>
                  <a:pt x="83105" y="2329109"/>
                  <a:pt x="81303" y="2329117"/>
                </a:cubicBezTo>
                <a:cubicBezTo>
                  <a:pt x="79499" y="2329123"/>
                  <a:pt x="78023" y="2308310"/>
                  <a:pt x="78023" y="2282860"/>
                </a:cubicBezTo>
                <a:cubicBezTo>
                  <a:pt x="78023" y="2233532"/>
                  <a:pt x="74047" y="2219757"/>
                  <a:pt x="56084" y="2206845"/>
                </a:cubicBezTo>
                <a:cubicBezTo>
                  <a:pt x="46323" y="2199829"/>
                  <a:pt x="45006" y="2194261"/>
                  <a:pt x="43040" y="2151714"/>
                </a:cubicBezTo>
                <a:cubicBezTo>
                  <a:pt x="41048" y="2108581"/>
                  <a:pt x="39981" y="2104207"/>
                  <a:pt x="31014" y="2102364"/>
                </a:cubicBezTo>
                <a:cubicBezTo>
                  <a:pt x="23893" y="2100899"/>
                  <a:pt x="21175" y="2096091"/>
                  <a:pt x="21175" y="2084954"/>
                </a:cubicBezTo>
                <a:cubicBezTo>
                  <a:pt x="21175" y="2071998"/>
                  <a:pt x="23298" y="2069567"/>
                  <a:pt x="34606" y="2069567"/>
                </a:cubicBezTo>
                <a:close/>
                <a:moveTo>
                  <a:pt x="4460614" y="2037913"/>
                </a:moveTo>
                <a:cubicBezTo>
                  <a:pt x="4468293" y="2037913"/>
                  <a:pt x="4468881" y="2040781"/>
                  <a:pt x="4466134" y="2064819"/>
                </a:cubicBezTo>
                <a:cubicBezTo>
                  <a:pt x="4462464" y="2096925"/>
                  <a:pt x="4460963" y="2101221"/>
                  <a:pt x="4453412" y="2101221"/>
                </a:cubicBezTo>
                <a:cubicBezTo>
                  <a:pt x="4450241" y="2101221"/>
                  <a:pt x="4445196" y="2105495"/>
                  <a:pt x="4442203" y="2110717"/>
                </a:cubicBezTo>
                <a:cubicBezTo>
                  <a:pt x="4439209" y="2115941"/>
                  <a:pt x="4435031" y="2120214"/>
                  <a:pt x="4432921" y="2120214"/>
                </a:cubicBezTo>
                <a:cubicBezTo>
                  <a:pt x="4430811" y="2120214"/>
                  <a:pt x="4429084" y="2115941"/>
                  <a:pt x="4429084" y="2110717"/>
                </a:cubicBezTo>
                <a:cubicBezTo>
                  <a:pt x="4429084" y="2105495"/>
                  <a:pt x="4427116" y="2101221"/>
                  <a:pt x="4424711" y="2101221"/>
                </a:cubicBezTo>
                <a:cubicBezTo>
                  <a:pt x="4422306" y="2101221"/>
                  <a:pt x="4420338" y="2097185"/>
                  <a:pt x="4420338" y="2092252"/>
                </a:cubicBezTo>
                <a:cubicBezTo>
                  <a:pt x="4420338" y="2087320"/>
                  <a:pt x="4418016" y="2082163"/>
                  <a:pt x="4415178" y="2080794"/>
                </a:cubicBezTo>
                <a:cubicBezTo>
                  <a:pt x="4404971" y="2075869"/>
                  <a:pt x="4415475" y="2056905"/>
                  <a:pt x="4428412" y="2056905"/>
                </a:cubicBezTo>
                <a:cubicBezTo>
                  <a:pt x="4435408" y="2056905"/>
                  <a:pt x="4443582" y="2052632"/>
                  <a:pt x="4446576" y="2047409"/>
                </a:cubicBezTo>
                <a:cubicBezTo>
                  <a:pt x="4449569" y="2042186"/>
                  <a:pt x="4455887" y="2037913"/>
                  <a:pt x="4460614" y="2037913"/>
                </a:cubicBezTo>
                <a:close/>
                <a:moveTo>
                  <a:pt x="103803" y="1997172"/>
                </a:moveTo>
                <a:cubicBezTo>
                  <a:pt x="108304" y="1993144"/>
                  <a:pt x="113732" y="2009429"/>
                  <a:pt x="109790" y="2015136"/>
                </a:cubicBezTo>
                <a:cubicBezTo>
                  <a:pt x="105098" y="2021929"/>
                  <a:pt x="99888" y="2019120"/>
                  <a:pt x="99888" y="2009798"/>
                </a:cubicBezTo>
                <a:cubicBezTo>
                  <a:pt x="99888" y="2004780"/>
                  <a:pt x="101649" y="1999099"/>
                  <a:pt x="103803" y="1997172"/>
                </a:cubicBezTo>
                <a:close/>
                <a:moveTo>
                  <a:pt x="4417411" y="1842865"/>
                </a:moveTo>
                <a:cubicBezTo>
                  <a:pt x="4426211" y="1841865"/>
                  <a:pt x="4436219" y="1843425"/>
                  <a:pt x="4440321" y="1848354"/>
                </a:cubicBezTo>
                <a:cubicBezTo>
                  <a:pt x="4444542" y="1853425"/>
                  <a:pt x="4446576" y="1868924"/>
                  <a:pt x="4446576" y="1896026"/>
                </a:cubicBezTo>
                <a:cubicBezTo>
                  <a:pt x="4446576" y="1932005"/>
                  <a:pt x="4445226" y="1938181"/>
                  <a:pt x="4433604" y="1955393"/>
                </a:cubicBezTo>
                <a:cubicBezTo>
                  <a:pt x="4420486" y="1974823"/>
                  <a:pt x="4415431" y="1978051"/>
                  <a:pt x="4410134" y="1970383"/>
                </a:cubicBezTo>
                <a:cubicBezTo>
                  <a:pt x="4408531" y="1968063"/>
                  <a:pt x="4407219" y="1958295"/>
                  <a:pt x="4407219" y="1948678"/>
                </a:cubicBezTo>
                <a:cubicBezTo>
                  <a:pt x="4407219" y="1939061"/>
                  <a:pt x="4404268" y="1926919"/>
                  <a:pt x="4400659" y="1921696"/>
                </a:cubicBezTo>
                <a:cubicBezTo>
                  <a:pt x="4393356" y="1911121"/>
                  <a:pt x="4391547" y="1860649"/>
                  <a:pt x="4398473" y="1860649"/>
                </a:cubicBezTo>
                <a:cubicBezTo>
                  <a:pt x="4400878" y="1860649"/>
                  <a:pt x="4402354" y="1857087"/>
                  <a:pt x="4401754" y="1852735"/>
                </a:cubicBezTo>
                <a:cubicBezTo>
                  <a:pt x="4401020" y="1847424"/>
                  <a:pt x="4408611" y="1843865"/>
                  <a:pt x="4417411" y="1842865"/>
                </a:cubicBezTo>
                <a:close/>
                <a:moveTo>
                  <a:pt x="4344905" y="1614950"/>
                </a:moveTo>
                <a:cubicBezTo>
                  <a:pt x="4349115" y="1616124"/>
                  <a:pt x="4352557" y="1621279"/>
                  <a:pt x="4352557" y="1626407"/>
                </a:cubicBezTo>
                <a:cubicBezTo>
                  <a:pt x="4352557" y="1631535"/>
                  <a:pt x="4349115" y="1636690"/>
                  <a:pt x="4344905" y="1637863"/>
                </a:cubicBezTo>
                <a:cubicBezTo>
                  <a:pt x="4339535" y="1639360"/>
                  <a:pt x="4337253" y="1635942"/>
                  <a:pt x="4337253" y="1626407"/>
                </a:cubicBezTo>
                <a:cubicBezTo>
                  <a:pt x="4337253" y="1616872"/>
                  <a:pt x="4339535" y="1613453"/>
                  <a:pt x="4344905" y="1614950"/>
                </a:cubicBezTo>
                <a:close/>
                <a:moveTo>
                  <a:pt x="4204363" y="1582188"/>
                </a:moveTo>
                <a:cubicBezTo>
                  <a:pt x="4197064" y="1582102"/>
                  <a:pt x="4196393" y="1585598"/>
                  <a:pt x="4198605" y="1612163"/>
                </a:cubicBezTo>
                <a:cubicBezTo>
                  <a:pt x="4200911" y="1639834"/>
                  <a:pt x="4214478" y="1693454"/>
                  <a:pt x="4221888" y="1704182"/>
                </a:cubicBezTo>
                <a:cubicBezTo>
                  <a:pt x="4226089" y="1710263"/>
                  <a:pt x="4227977" y="1709597"/>
                  <a:pt x="4243234" y="1696654"/>
                </a:cubicBezTo>
                <a:cubicBezTo>
                  <a:pt x="4250450" y="1690534"/>
                  <a:pt x="4257024" y="1680517"/>
                  <a:pt x="4257843" y="1674394"/>
                </a:cubicBezTo>
                <a:cubicBezTo>
                  <a:pt x="4259456" y="1662329"/>
                  <a:pt x="4242669" y="1632479"/>
                  <a:pt x="4235464" y="1634601"/>
                </a:cubicBezTo>
                <a:cubicBezTo>
                  <a:pt x="4233031" y="1635317"/>
                  <a:pt x="4229173" y="1625936"/>
                  <a:pt x="4226892" y="1613755"/>
                </a:cubicBezTo>
                <a:cubicBezTo>
                  <a:pt x="4222385" y="1589697"/>
                  <a:pt x="4217133" y="1582337"/>
                  <a:pt x="4204363" y="1582188"/>
                </a:cubicBezTo>
                <a:close/>
                <a:moveTo>
                  <a:pt x="4407219" y="1487128"/>
                </a:moveTo>
                <a:cubicBezTo>
                  <a:pt x="4409624" y="1487128"/>
                  <a:pt x="4411592" y="1491402"/>
                  <a:pt x="4411592" y="1496625"/>
                </a:cubicBezTo>
                <a:cubicBezTo>
                  <a:pt x="4411592" y="1501848"/>
                  <a:pt x="4409624" y="1506120"/>
                  <a:pt x="4407219" y="1506120"/>
                </a:cubicBezTo>
                <a:cubicBezTo>
                  <a:pt x="4404814" y="1506120"/>
                  <a:pt x="4402846" y="1501848"/>
                  <a:pt x="4402846" y="1496625"/>
                </a:cubicBezTo>
                <a:cubicBezTo>
                  <a:pt x="4402846" y="1491402"/>
                  <a:pt x="4404814" y="1487128"/>
                  <a:pt x="4407219" y="1487128"/>
                </a:cubicBezTo>
                <a:close/>
                <a:moveTo>
                  <a:pt x="4317718" y="1474466"/>
                </a:moveTo>
                <a:cubicBezTo>
                  <a:pt x="4321431" y="1474466"/>
                  <a:pt x="4345998" y="1512422"/>
                  <a:pt x="4345998" y="1518157"/>
                </a:cubicBezTo>
                <a:cubicBezTo>
                  <a:pt x="4345998" y="1527487"/>
                  <a:pt x="4336171" y="1526974"/>
                  <a:pt x="4327663" y="1517200"/>
                </a:cubicBezTo>
                <a:cubicBezTo>
                  <a:pt x="4322087" y="1510793"/>
                  <a:pt x="4313633" y="1474466"/>
                  <a:pt x="4317718" y="1474466"/>
                </a:cubicBezTo>
                <a:close/>
                <a:moveTo>
                  <a:pt x="4293987" y="1306730"/>
                </a:moveTo>
                <a:cubicBezTo>
                  <a:pt x="4296786" y="1305175"/>
                  <a:pt x="4300348" y="1306376"/>
                  <a:pt x="4303395" y="1311043"/>
                </a:cubicBezTo>
                <a:cubicBezTo>
                  <a:pt x="4314481" y="1328015"/>
                  <a:pt x="4320345" y="1352557"/>
                  <a:pt x="4318980" y="1376275"/>
                </a:cubicBezTo>
                <a:cubicBezTo>
                  <a:pt x="4317138" y="1408262"/>
                  <a:pt x="4308655" y="1411397"/>
                  <a:pt x="4300491" y="1383107"/>
                </a:cubicBezTo>
                <a:cubicBezTo>
                  <a:pt x="4296020" y="1367613"/>
                  <a:pt x="4291151" y="1360511"/>
                  <a:pt x="4285001" y="1360511"/>
                </a:cubicBezTo>
                <a:cubicBezTo>
                  <a:pt x="4274509" y="1360511"/>
                  <a:pt x="4273177" y="1346499"/>
                  <a:pt x="4282590" y="1335187"/>
                </a:cubicBezTo>
                <a:cubicBezTo>
                  <a:pt x="4286199" y="1330853"/>
                  <a:pt x="4289150" y="1323550"/>
                  <a:pt x="4289150" y="1318959"/>
                </a:cubicBezTo>
                <a:cubicBezTo>
                  <a:pt x="4289150" y="1312598"/>
                  <a:pt x="4291188" y="1308286"/>
                  <a:pt x="4293987" y="1306730"/>
                </a:cubicBezTo>
                <a:close/>
                <a:moveTo>
                  <a:pt x="4289150" y="1180082"/>
                </a:moveTo>
                <a:cubicBezTo>
                  <a:pt x="4291556" y="1177930"/>
                  <a:pt x="4293523" y="1180610"/>
                  <a:pt x="4293523" y="1186038"/>
                </a:cubicBezTo>
                <a:cubicBezTo>
                  <a:pt x="4293523" y="1191467"/>
                  <a:pt x="4291556" y="1195908"/>
                  <a:pt x="4289150" y="1195908"/>
                </a:cubicBezTo>
                <a:cubicBezTo>
                  <a:pt x="4286745" y="1195908"/>
                  <a:pt x="4284778" y="1193228"/>
                  <a:pt x="4284778" y="1189951"/>
                </a:cubicBezTo>
                <a:cubicBezTo>
                  <a:pt x="4284778" y="1186675"/>
                  <a:pt x="4286745" y="1182233"/>
                  <a:pt x="4289150" y="1180082"/>
                </a:cubicBezTo>
                <a:close/>
                <a:moveTo>
                  <a:pt x="4345236" y="1176916"/>
                </a:moveTo>
                <a:cubicBezTo>
                  <a:pt x="4356140" y="1176916"/>
                  <a:pt x="4373988" y="1205488"/>
                  <a:pt x="4370740" y="1217745"/>
                </a:cubicBezTo>
                <a:cubicBezTo>
                  <a:pt x="4367336" y="1230589"/>
                  <a:pt x="4345998" y="1230866"/>
                  <a:pt x="4345998" y="1218067"/>
                </a:cubicBezTo>
                <a:cubicBezTo>
                  <a:pt x="4345998" y="1212843"/>
                  <a:pt x="4344031" y="1208570"/>
                  <a:pt x="4341625" y="1208570"/>
                </a:cubicBezTo>
                <a:cubicBezTo>
                  <a:pt x="4339220" y="1208570"/>
                  <a:pt x="4337253" y="1201448"/>
                  <a:pt x="4337253" y="1192743"/>
                </a:cubicBezTo>
                <a:cubicBezTo>
                  <a:pt x="4337253" y="1181640"/>
                  <a:pt x="4339636" y="1176916"/>
                  <a:pt x="4345236" y="1176916"/>
                </a:cubicBezTo>
                <a:close/>
                <a:moveTo>
                  <a:pt x="4039894" y="1107277"/>
                </a:moveTo>
                <a:cubicBezTo>
                  <a:pt x="4046077" y="1107277"/>
                  <a:pt x="4045347" y="1153828"/>
                  <a:pt x="4039019" y="1162988"/>
                </a:cubicBezTo>
                <a:cubicBezTo>
                  <a:pt x="4031817" y="1173414"/>
                  <a:pt x="4029404" y="1172663"/>
                  <a:pt x="4019800" y="1156998"/>
                </a:cubicBezTo>
                <a:cubicBezTo>
                  <a:pt x="4013808" y="1147226"/>
                  <a:pt x="4013004" y="1142635"/>
                  <a:pt x="4016936" y="1140644"/>
                </a:cubicBezTo>
                <a:cubicBezTo>
                  <a:pt x="4019942" y="1139122"/>
                  <a:pt x="4022402" y="1133840"/>
                  <a:pt x="4022402" y="1128907"/>
                </a:cubicBezTo>
                <a:cubicBezTo>
                  <a:pt x="4022402" y="1123974"/>
                  <a:pt x="4025354" y="1119938"/>
                  <a:pt x="4028961" y="1119938"/>
                </a:cubicBezTo>
                <a:cubicBezTo>
                  <a:pt x="4032569" y="1119938"/>
                  <a:pt x="4035521" y="1117089"/>
                  <a:pt x="4035521" y="1113607"/>
                </a:cubicBezTo>
                <a:cubicBezTo>
                  <a:pt x="4035521" y="1110125"/>
                  <a:pt x="4037488" y="1107277"/>
                  <a:pt x="4039894" y="1107277"/>
                </a:cubicBezTo>
                <a:close/>
                <a:moveTo>
                  <a:pt x="4144916" y="1053528"/>
                </a:moveTo>
                <a:cubicBezTo>
                  <a:pt x="4149806" y="1057904"/>
                  <a:pt x="4146596" y="1069291"/>
                  <a:pt x="4140471" y="1069291"/>
                </a:cubicBezTo>
                <a:cubicBezTo>
                  <a:pt x="4138350" y="1069291"/>
                  <a:pt x="4135483" y="1066639"/>
                  <a:pt x="4134098" y="1063398"/>
                </a:cubicBezTo>
                <a:cubicBezTo>
                  <a:pt x="4130865" y="1055823"/>
                  <a:pt x="4139091" y="1048316"/>
                  <a:pt x="4144916" y="1053528"/>
                </a:cubicBezTo>
                <a:close/>
                <a:moveTo>
                  <a:pt x="3987419" y="990156"/>
                </a:moveTo>
                <a:cubicBezTo>
                  <a:pt x="3985013" y="988004"/>
                  <a:pt x="3983046" y="989260"/>
                  <a:pt x="3983046" y="992947"/>
                </a:cubicBezTo>
                <a:cubicBezTo>
                  <a:pt x="3983046" y="996635"/>
                  <a:pt x="3985013" y="999652"/>
                  <a:pt x="3987419" y="999652"/>
                </a:cubicBezTo>
                <a:cubicBezTo>
                  <a:pt x="3989824" y="999652"/>
                  <a:pt x="3991792" y="998396"/>
                  <a:pt x="3991792" y="996860"/>
                </a:cubicBezTo>
                <a:cubicBezTo>
                  <a:pt x="3991792" y="995325"/>
                  <a:pt x="3989824" y="992307"/>
                  <a:pt x="3987419" y="990156"/>
                </a:cubicBezTo>
                <a:close/>
                <a:moveTo>
                  <a:pt x="4173388" y="892398"/>
                </a:moveTo>
                <a:cubicBezTo>
                  <a:pt x="4176923" y="893423"/>
                  <a:pt x="4180831" y="898778"/>
                  <a:pt x="4182372" y="907667"/>
                </a:cubicBezTo>
                <a:cubicBezTo>
                  <a:pt x="4184110" y="917692"/>
                  <a:pt x="4182681" y="926784"/>
                  <a:pt x="4178395" y="932991"/>
                </a:cubicBezTo>
                <a:cubicBezTo>
                  <a:pt x="4168370" y="947502"/>
                  <a:pt x="4160861" y="945131"/>
                  <a:pt x="4163952" y="928430"/>
                </a:cubicBezTo>
                <a:cubicBezTo>
                  <a:pt x="4165402" y="920596"/>
                  <a:pt x="4166617" y="909200"/>
                  <a:pt x="4166648" y="903107"/>
                </a:cubicBezTo>
                <a:cubicBezTo>
                  <a:pt x="4166694" y="894677"/>
                  <a:pt x="4169854" y="891373"/>
                  <a:pt x="4173388" y="892398"/>
                </a:cubicBezTo>
                <a:close/>
                <a:moveTo>
                  <a:pt x="4006132" y="869101"/>
                </a:moveTo>
                <a:cubicBezTo>
                  <a:pt x="4005672" y="869767"/>
                  <a:pt x="4005361" y="871985"/>
                  <a:pt x="4005256" y="875673"/>
                </a:cubicBezTo>
                <a:cubicBezTo>
                  <a:pt x="4005065" y="882347"/>
                  <a:pt x="4006100" y="886085"/>
                  <a:pt x="4007552" y="883982"/>
                </a:cubicBezTo>
                <a:cubicBezTo>
                  <a:pt x="4009005" y="881878"/>
                  <a:pt x="4009160" y="876418"/>
                  <a:pt x="4007897" y="871848"/>
                </a:cubicBezTo>
                <a:lnTo>
                  <a:pt x="4007897" y="871848"/>
                </a:lnTo>
                <a:cubicBezTo>
                  <a:pt x="4007199" y="869323"/>
                  <a:pt x="4006592" y="868435"/>
                  <a:pt x="4006132" y="869101"/>
                </a:cubicBezTo>
                <a:close/>
                <a:moveTo>
                  <a:pt x="4268481" y="836466"/>
                </a:moveTo>
                <a:cubicBezTo>
                  <a:pt x="4270763" y="838424"/>
                  <a:pt x="4271747" y="843443"/>
                  <a:pt x="4272461" y="852405"/>
                </a:cubicBezTo>
                <a:cubicBezTo>
                  <a:pt x="4274274" y="875150"/>
                  <a:pt x="4288053" y="879265"/>
                  <a:pt x="4298063" y="860052"/>
                </a:cubicBezTo>
                <a:cubicBezTo>
                  <a:pt x="4311044" y="835139"/>
                  <a:pt x="4319761" y="847756"/>
                  <a:pt x="4319761" y="891455"/>
                </a:cubicBezTo>
                <a:cubicBezTo>
                  <a:pt x="4319761" y="912251"/>
                  <a:pt x="4317633" y="931169"/>
                  <a:pt x="4315033" y="933496"/>
                </a:cubicBezTo>
                <a:cubicBezTo>
                  <a:pt x="4312432" y="935823"/>
                  <a:pt x="4304257" y="929581"/>
                  <a:pt x="4296867" y="919625"/>
                </a:cubicBezTo>
                <a:cubicBezTo>
                  <a:pt x="4287877" y="907516"/>
                  <a:pt x="4284326" y="905176"/>
                  <a:pt x="4286139" y="912555"/>
                </a:cubicBezTo>
                <a:cubicBezTo>
                  <a:pt x="4287631" y="918623"/>
                  <a:pt x="4286316" y="927016"/>
                  <a:pt x="4283218" y="931206"/>
                </a:cubicBezTo>
                <a:cubicBezTo>
                  <a:pt x="4278637" y="937401"/>
                  <a:pt x="4278846" y="940959"/>
                  <a:pt x="4284339" y="950245"/>
                </a:cubicBezTo>
                <a:cubicBezTo>
                  <a:pt x="4292546" y="964120"/>
                  <a:pt x="4305993" y="965152"/>
                  <a:pt x="4309434" y="952171"/>
                </a:cubicBezTo>
                <a:cubicBezTo>
                  <a:pt x="4312086" y="942162"/>
                  <a:pt x="4324134" y="938818"/>
                  <a:pt x="4324134" y="948089"/>
                </a:cubicBezTo>
                <a:cubicBezTo>
                  <a:pt x="4324134" y="951068"/>
                  <a:pt x="4330529" y="956148"/>
                  <a:pt x="4338345" y="959380"/>
                </a:cubicBezTo>
                <a:cubicBezTo>
                  <a:pt x="4347889" y="963325"/>
                  <a:pt x="4353004" y="969714"/>
                  <a:pt x="4353914" y="978828"/>
                </a:cubicBezTo>
                <a:cubicBezTo>
                  <a:pt x="4354660" y="986294"/>
                  <a:pt x="4358103" y="995806"/>
                  <a:pt x="4361566" y="999968"/>
                </a:cubicBezTo>
                <a:cubicBezTo>
                  <a:pt x="4365030" y="1004128"/>
                  <a:pt x="4367863" y="1012679"/>
                  <a:pt x="4367863" y="1018968"/>
                </a:cubicBezTo>
                <a:cubicBezTo>
                  <a:pt x="4367863" y="1025256"/>
                  <a:pt x="4370672" y="1034469"/>
                  <a:pt x="4374106" y="1039440"/>
                </a:cubicBezTo>
                <a:cubicBezTo>
                  <a:pt x="4382062" y="1050959"/>
                  <a:pt x="4388092" y="1094615"/>
                  <a:pt x="4381726" y="1094615"/>
                </a:cubicBezTo>
                <a:cubicBezTo>
                  <a:pt x="4379196" y="1094615"/>
                  <a:pt x="4375865" y="1091664"/>
                  <a:pt x="4374326" y="1088058"/>
                </a:cubicBezTo>
                <a:cubicBezTo>
                  <a:pt x="4372787" y="1084452"/>
                  <a:pt x="4364307" y="1081952"/>
                  <a:pt x="4355483" y="1082503"/>
                </a:cubicBezTo>
                <a:cubicBezTo>
                  <a:pt x="4346659" y="1083055"/>
                  <a:pt x="4323735" y="1081281"/>
                  <a:pt x="4304542" y="1078559"/>
                </a:cubicBezTo>
                <a:cubicBezTo>
                  <a:pt x="4271459" y="1073869"/>
                  <a:pt x="4270039" y="1074181"/>
                  <a:pt x="4277212" y="1084565"/>
                </a:cubicBezTo>
                <a:cubicBezTo>
                  <a:pt x="4281373" y="1090590"/>
                  <a:pt x="4284778" y="1098653"/>
                  <a:pt x="4284778" y="1102482"/>
                </a:cubicBezTo>
                <a:cubicBezTo>
                  <a:pt x="4284778" y="1106311"/>
                  <a:pt x="4288045" y="1114672"/>
                  <a:pt x="4292039" y="1121061"/>
                </a:cubicBezTo>
                <a:cubicBezTo>
                  <a:pt x="4301680" y="1136485"/>
                  <a:pt x="4298237" y="1140004"/>
                  <a:pt x="4280650" y="1132702"/>
                </a:cubicBezTo>
                <a:cubicBezTo>
                  <a:pt x="4271423" y="1128871"/>
                  <a:pt x="4263302" y="1128910"/>
                  <a:pt x="4258269" y="1132810"/>
                </a:cubicBezTo>
                <a:cubicBezTo>
                  <a:pt x="4244828" y="1143225"/>
                  <a:pt x="4242260" y="1139931"/>
                  <a:pt x="4239604" y="1108859"/>
                </a:cubicBezTo>
                <a:cubicBezTo>
                  <a:pt x="4238189" y="1092320"/>
                  <a:pt x="4237659" y="1068817"/>
                  <a:pt x="4238427" y="1056630"/>
                </a:cubicBezTo>
                <a:cubicBezTo>
                  <a:pt x="4239195" y="1044443"/>
                  <a:pt x="4238397" y="1013105"/>
                  <a:pt x="4236655" y="986990"/>
                </a:cubicBezTo>
                <a:cubicBezTo>
                  <a:pt x="4234913" y="960875"/>
                  <a:pt x="4235189" y="936803"/>
                  <a:pt x="4237269" y="933495"/>
                </a:cubicBezTo>
                <a:cubicBezTo>
                  <a:pt x="4239347" y="930187"/>
                  <a:pt x="4241048" y="922352"/>
                  <a:pt x="4241048" y="916085"/>
                </a:cubicBezTo>
                <a:cubicBezTo>
                  <a:pt x="4241048" y="909817"/>
                  <a:pt x="4243016" y="904689"/>
                  <a:pt x="4245421" y="904689"/>
                </a:cubicBezTo>
                <a:cubicBezTo>
                  <a:pt x="4247827" y="904689"/>
                  <a:pt x="4249794" y="890749"/>
                  <a:pt x="4249794" y="873712"/>
                </a:cubicBezTo>
                <a:cubicBezTo>
                  <a:pt x="4249794" y="851305"/>
                  <a:pt x="4251707" y="841672"/>
                  <a:pt x="4256711" y="838893"/>
                </a:cubicBezTo>
                <a:cubicBezTo>
                  <a:pt x="4262618" y="835611"/>
                  <a:pt x="4266199" y="834508"/>
                  <a:pt x="4268481" y="836466"/>
                </a:cubicBezTo>
                <a:close/>
                <a:moveTo>
                  <a:pt x="1503102" y="801258"/>
                </a:moveTo>
                <a:cubicBezTo>
                  <a:pt x="1488778" y="800264"/>
                  <a:pt x="1488325" y="800958"/>
                  <a:pt x="1489315" y="822388"/>
                </a:cubicBezTo>
                <a:cubicBezTo>
                  <a:pt x="1489878" y="834575"/>
                  <a:pt x="1490478" y="849818"/>
                  <a:pt x="1490647" y="856262"/>
                </a:cubicBezTo>
                <a:cubicBezTo>
                  <a:pt x="1491505" y="888858"/>
                  <a:pt x="1511509" y="893844"/>
                  <a:pt x="1530226" y="866125"/>
                </a:cubicBezTo>
                <a:cubicBezTo>
                  <a:pt x="1544790" y="844556"/>
                  <a:pt x="1545333" y="830570"/>
                  <a:pt x="1532021" y="819901"/>
                </a:cubicBezTo>
                <a:cubicBezTo>
                  <a:pt x="1527211" y="816046"/>
                  <a:pt x="1522069" y="810505"/>
                  <a:pt x="1520594" y="807589"/>
                </a:cubicBezTo>
                <a:cubicBezTo>
                  <a:pt x="1519119" y="804671"/>
                  <a:pt x="1511248" y="801823"/>
                  <a:pt x="1503102" y="801258"/>
                </a:cubicBezTo>
                <a:close/>
                <a:moveTo>
                  <a:pt x="3729804" y="798436"/>
                </a:moveTo>
                <a:cubicBezTo>
                  <a:pt x="3720308" y="798826"/>
                  <a:pt x="3717720" y="801396"/>
                  <a:pt x="3719615" y="808547"/>
                </a:cubicBezTo>
                <a:cubicBezTo>
                  <a:pt x="3721273" y="814804"/>
                  <a:pt x="3720379" y="816544"/>
                  <a:pt x="3717041" y="813557"/>
                </a:cubicBezTo>
                <a:cubicBezTo>
                  <a:pt x="3709675" y="806967"/>
                  <a:pt x="3710735" y="819762"/>
                  <a:pt x="3718483" y="830980"/>
                </a:cubicBezTo>
                <a:cubicBezTo>
                  <a:pt x="3725695" y="841420"/>
                  <a:pt x="3727207" y="854042"/>
                  <a:pt x="3721246" y="854042"/>
                </a:cubicBezTo>
                <a:cubicBezTo>
                  <a:pt x="3713880" y="854042"/>
                  <a:pt x="3712066" y="907075"/>
                  <a:pt x="3718912" y="922278"/>
                </a:cubicBezTo>
                <a:cubicBezTo>
                  <a:pt x="3722484" y="930211"/>
                  <a:pt x="3724299" y="939297"/>
                  <a:pt x="3722944" y="942470"/>
                </a:cubicBezTo>
                <a:cubicBezTo>
                  <a:pt x="3720559" y="948057"/>
                  <a:pt x="3741606" y="980659"/>
                  <a:pt x="3747598" y="980659"/>
                </a:cubicBezTo>
                <a:cubicBezTo>
                  <a:pt x="3749230" y="980659"/>
                  <a:pt x="3753678" y="978930"/>
                  <a:pt x="3757482" y="976816"/>
                </a:cubicBezTo>
                <a:cubicBezTo>
                  <a:pt x="3765240" y="972507"/>
                  <a:pt x="3767398" y="927111"/>
                  <a:pt x="3760153" y="920630"/>
                </a:cubicBezTo>
                <a:cubicBezTo>
                  <a:pt x="3757818" y="918540"/>
                  <a:pt x="3754613" y="902703"/>
                  <a:pt x="3753030" y="885437"/>
                </a:cubicBezTo>
                <a:cubicBezTo>
                  <a:pt x="3751448" y="868170"/>
                  <a:pt x="3748439" y="854042"/>
                  <a:pt x="3746345" y="854042"/>
                </a:cubicBezTo>
                <a:cubicBezTo>
                  <a:pt x="3744249" y="854042"/>
                  <a:pt x="3742535" y="841413"/>
                  <a:pt x="3742535" y="825977"/>
                </a:cubicBezTo>
                <a:cubicBezTo>
                  <a:pt x="3742535" y="799084"/>
                  <a:pt x="3742003" y="797933"/>
                  <a:pt x="3729804" y="798436"/>
                </a:cubicBezTo>
                <a:close/>
                <a:moveTo>
                  <a:pt x="4044267" y="755914"/>
                </a:moveTo>
                <a:cubicBezTo>
                  <a:pt x="4047874" y="755914"/>
                  <a:pt x="4051454" y="762324"/>
                  <a:pt x="4052223" y="770158"/>
                </a:cubicBezTo>
                <a:cubicBezTo>
                  <a:pt x="4053299" y="781121"/>
                  <a:pt x="4051466" y="784403"/>
                  <a:pt x="4044267" y="784403"/>
                </a:cubicBezTo>
                <a:cubicBezTo>
                  <a:pt x="4037067" y="784403"/>
                  <a:pt x="4035234" y="781121"/>
                  <a:pt x="4036310" y="770158"/>
                </a:cubicBezTo>
                <a:cubicBezTo>
                  <a:pt x="4037079" y="762324"/>
                  <a:pt x="4040659" y="755914"/>
                  <a:pt x="4044267" y="755914"/>
                </a:cubicBezTo>
                <a:close/>
                <a:moveTo>
                  <a:pt x="4191963" y="753633"/>
                </a:moveTo>
                <a:cubicBezTo>
                  <a:pt x="4198131" y="750512"/>
                  <a:pt x="4210791" y="769985"/>
                  <a:pt x="4213395" y="793226"/>
                </a:cubicBezTo>
                <a:cubicBezTo>
                  <a:pt x="4215517" y="812150"/>
                  <a:pt x="4214647" y="816057"/>
                  <a:pt x="4208313" y="816057"/>
                </a:cubicBezTo>
                <a:cubicBezTo>
                  <a:pt x="4202539" y="816057"/>
                  <a:pt x="4201178" y="812225"/>
                  <a:pt x="4202744" y="800369"/>
                </a:cubicBezTo>
                <a:cubicBezTo>
                  <a:pt x="4204246" y="788989"/>
                  <a:pt x="4202585" y="783657"/>
                  <a:pt x="4196694" y="780951"/>
                </a:cubicBezTo>
                <a:cubicBezTo>
                  <a:pt x="4192228" y="778898"/>
                  <a:pt x="4188573" y="771713"/>
                  <a:pt x="4188573" y="764983"/>
                </a:cubicBezTo>
                <a:cubicBezTo>
                  <a:pt x="4188573" y="758225"/>
                  <a:pt x="4189907" y="754674"/>
                  <a:pt x="4191963" y="753633"/>
                </a:cubicBezTo>
                <a:close/>
                <a:moveTo>
                  <a:pt x="2207638" y="740087"/>
                </a:moveTo>
                <a:cubicBezTo>
                  <a:pt x="2205233" y="740087"/>
                  <a:pt x="2203265" y="744151"/>
                  <a:pt x="2203265" y="749119"/>
                </a:cubicBezTo>
                <a:cubicBezTo>
                  <a:pt x="2203265" y="754087"/>
                  <a:pt x="2199821" y="759454"/>
                  <a:pt x="2195613" y="761046"/>
                </a:cubicBezTo>
                <a:cubicBezTo>
                  <a:pt x="2189736" y="763269"/>
                  <a:pt x="2189533" y="764112"/>
                  <a:pt x="2194738" y="764676"/>
                </a:cubicBezTo>
                <a:cubicBezTo>
                  <a:pt x="2198466" y="765080"/>
                  <a:pt x="2203877" y="761992"/>
                  <a:pt x="2206763" y="757813"/>
                </a:cubicBezTo>
                <a:cubicBezTo>
                  <a:pt x="2213149" y="748569"/>
                  <a:pt x="2213567" y="740087"/>
                  <a:pt x="2207638" y="740087"/>
                </a:cubicBezTo>
                <a:close/>
                <a:moveTo>
                  <a:pt x="2492685" y="661279"/>
                </a:moveTo>
                <a:cubicBezTo>
                  <a:pt x="2490926" y="662292"/>
                  <a:pt x="2489272" y="665607"/>
                  <a:pt x="2487033" y="671621"/>
                </a:cubicBezTo>
                <a:cubicBezTo>
                  <a:pt x="2484033" y="679681"/>
                  <a:pt x="2481367" y="692814"/>
                  <a:pt x="2481109" y="700808"/>
                </a:cubicBezTo>
                <a:cubicBezTo>
                  <a:pt x="2480723" y="712774"/>
                  <a:pt x="2482598" y="715011"/>
                  <a:pt x="2491725" y="713470"/>
                </a:cubicBezTo>
                <a:cubicBezTo>
                  <a:pt x="2500563" y="711977"/>
                  <a:pt x="2503077" y="707639"/>
                  <a:pt x="2504127" y="692066"/>
                </a:cubicBezTo>
                <a:cubicBezTo>
                  <a:pt x="2504906" y="680506"/>
                  <a:pt x="2502800" y="669357"/>
                  <a:pt x="2498966" y="664751"/>
                </a:cubicBezTo>
                <a:cubicBezTo>
                  <a:pt x="2496307" y="661557"/>
                  <a:pt x="2494444" y="660267"/>
                  <a:pt x="2492685" y="661279"/>
                </a:cubicBezTo>
                <a:close/>
                <a:moveTo>
                  <a:pt x="1542281" y="646751"/>
                </a:moveTo>
                <a:cubicBezTo>
                  <a:pt x="1544973" y="646195"/>
                  <a:pt x="1547326" y="648503"/>
                  <a:pt x="1547326" y="654093"/>
                </a:cubicBezTo>
                <a:cubicBezTo>
                  <a:pt x="1547326" y="659605"/>
                  <a:pt x="1544211" y="664117"/>
                  <a:pt x="1540402" y="664117"/>
                </a:cubicBezTo>
                <a:cubicBezTo>
                  <a:pt x="1536594" y="664117"/>
                  <a:pt x="1534257" y="660733"/>
                  <a:pt x="1535210" y="656599"/>
                </a:cubicBezTo>
                <a:cubicBezTo>
                  <a:pt x="1536561" y="650729"/>
                  <a:pt x="1539590" y="647308"/>
                  <a:pt x="1542281" y="646751"/>
                </a:cubicBezTo>
                <a:close/>
                <a:moveTo>
                  <a:pt x="4233596" y="626131"/>
                </a:moveTo>
                <a:cubicBezTo>
                  <a:pt x="4240376" y="626131"/>
                  <a:pt x="4297896" y="709201"/>
                  <a:pt x="4297896" y="718993"/>
                </a:cubicBezTo>
                <a:cubicBezTo>
                  <a:pt x="4297896" y="722885"/>
                  <a:pt x="4294945" y="727710"/>
                  <a:pt x="4291336" y="729715"/>
                </a:cubicBezTo>
                <a:cubicBezTo>
                  <a:pt x="4287249" y="731985"/>
                  <a:pt x="4284778" y="741642"/>
                  <a:pt x="4284778" y="755341"/>
                </a:cubicBezTo>
                <a:cubicBezTo>
                  <a:pt x="4284778" y="782795"/>
                  <a:pt x="4281153" y="786183"/>
                  <a:pt x="4266012" y="772883"/>
                </a:cubicBezTo>
                <a:cubicBezTo>
                  <a:pt x="4259427" y="767098"/>
                  <a:pt x="4254990" y="758777"/>
                  <a:pt x="4256152" y="754391"/>
                </a:cubicBezTo>
                <a:cubicBezTo>
                  <a:pt x="4257314" y="750006"/>
                  <a:pt x="4256359" y="746418"/>
                  <a:pt x="4254030" y="746418"/>
                </a:cubicBezTo>
                <a:cubicBezTo>
                  <a:pt x="4251700" y="746418"/>
                  <a:pt x="4249794" y="739206"/>
                  <a:pt x="4249794" y="730392"/>
                </a:cubicBezTo>
                <a:cubicBezTo>
                  <a:pt x="4249794" y="720839"/>
                  <a:pt x="4246703" y="712787"/>
                  <a:pt x="4242141" y="710456"/>
                </a:cubicBezTo>
                <a:cubicBezTo>
                  <a:pt x="4229647" y="704072"/>
                  <a:pt x="4214811" y="681755"/>
                  <a:pt x="4214811" y="669344"/>
                </a:cubicBezTo>
                <a:cubicBezTo>
                  <a:pt x="4214811" y="662987"/>
                  <a:pt x="4216566" y="657786"/>
                  <a:pt x="4218709" y="657786"/>
                </a:cubicBezTo>
                <a:cubicBezTo>
                  <a:pt x="4220854" y="657786"/>
                  <a:pt x="4223843" y="650663"/>
                  <a:pt x="4225352" y="641959"/>
                </a:cubicBezTo>
                <a:cubicBezTo>
                  <a:pt x="4226861" y="633254"/>
                  <a:pt x="4230571" y="626131"/>
                  <a:pt x="4233596" y="626131"/>
                </a:cubicBezTo>
                <a:close/>
                <a:moveTo>
                  <a:pt x="2100311" y="609600"/>
                </a:moveTo>
                <a:cubicBezTo>
                  <a:pt x="2101797" y="608433"/>
                  <a:pt x="2104256" y="608884"/>
                  <a:pt x="2108154" y="610589"/>
                </a:cubicBezTo>
                <a:cubicBezTo>
                  <a:pt x="2121281" y="616331"/>
                  <a:pt x="2126172" y="623548"/>
                  <a:pt x="2122602" y="631911"/>
                </a:cubicBezTo>
                <a:cubicBezTo>
                  <a:pt x="2119357" y="639510"/>
                  <a:pt x="2105807" y="641198"/>
                  <a:pt x="2101230" y="634573"/>
                </a:cubicBezTo>
                <a:cubicBezTo>
                  <a:pt x="2099627" y="632251"/>
                  <a:pt x="2098315" y="624937"/>
                  <a:pt x="2098315" y="618319"/>
                </a:cubicBezTo>
                <a:cubicBezTo>
                  <a:pt x="2098315" y="613552"/>
                  <a:pt x="2098826" y="610767"/>
                  <a:pt x="2100311" y="609600"/>
                </a:cubicBezTo>
                <a:close/>
                <a:moveTo>
                  <a:pt x="4009611" y="608352"/>
                </a:moveTo>
                <a:cubicBezTo>
                  <a:pt x="4012197" y="609600"/>
                  <a:pt x="4014312" y="613327"/>
                  <a:pt x="4014312" y="616635"/>
                </a:cubicBezTo>
                <a:cubicBezTo>
                  <a:pt x="4014312" y="619943"/>
                  <a:pt x="4012197" y="623670"/>
                  <a:pt x="4009611" y="624918"/>
                </a:cubicBezTo>
                <a:cubicBezTo>
                  <a:pt x="4007026" y="626166"/>
                  <a:pt x="4004911" y="622439"/>
                  <a:pt x="4004911" y="616635"/>
                </a:cubicBezTo>
                <a:cubicBezTo>
                  <a:pt x="4004911" y="610832"/>
                  <a:pt x="4007026" y="607104"/>
                  <a:pt x="4009611" y="608352"/>
                </a:cubicBezTo>
                <a:close/>
                <a:moveTo>
                  <a:pt x="4096448" y="583964"/>
                </a:moveTo>
                <a:cubicBezTo>
                  <a:pt x="4099965" y="584780"/>
                  <a:pt x="4102840" y="587903"/>
                  <a:pt x="4107195" y="593827"/>
                </a:cubicBezTo>
                <a:cubicBezTo>
                  <a:pt x="4112580" y="601148"/>
                  <a:pt x="4122107" y="607139"/>
                  <a:pt x="4128369" y="607139"/>
                </a:cubicBezTo>
                <a:cubicBezTo>
                  <a:pt x="4146484" y="607139"/>
                  <a:pt x="4153590" y="613678"/>
                  <a:pt x="4153590" y="630348"/>
                </a:cubicBezTo>
                <a:cubicBezTo>
                  <a:pt x="4153590" y="639262"/>
                  <a:pt x="4151695" y="644176"/>
                  <a:pt x="4149141" y="641890"/>
                </a:cubicBezTo>
                <a:cubicBezTo>
                  <a:pt x="4146693" y="639701"/>
                  <a:pt x="4133816" y="639877"/>
                  <a:pt x="4120525" y="642281"/>
                </a:cubicBezTo>
                <a:cubicBezTo>
                  <a:pt x="4092856" y="647286"/>
                  <a:pt x="4071898" y="671436"/>
                  <a:pt x="4067481" y="703404"/>
                </a:cubicBezTo>
                <a:cubicBezTo>
                  <a:pt x="4064125" y="727699"/>
                  <a:pt x="4035521" y="746365"/>
                  <a:pt x="4035521" y="724260"/>
                </a:cubicBezTo>
                <a:cubicBezTo>
                  <a:pt x="4035521" y="719037"/>
                  <a:pt x="4037488" y="714763"/>
                  <a:pt x="4039894" y="714763"/>
                </a:cubicBezTo>
                <a:cubicBezTo>
                  <a:pt x="4045855" y="714763"/>
                  <a:pt x="4045426" y="685624"/>
                  <a:pt x="4039254" y="671317"/>
                </a:cubicBezTo>
                <a:cubicBezTo>
                  <a:pt x="4033742" y="658539"/>
                  <a:pt x="4037738" y="623455"/>
                  <a:pt x="4044061" y="629112"/>
                </a:cubicBezTo>
                <a:cubicBezTo>
                  <a:pt x="4046212" y="631037"/>
                  <a:pt x="4052090" y="624236"/>
                  <a:pt x="4057125" y="614000"/>
                </a:cubicBezTo>
                <a:cubicBezTo>
                  <a:pt x="4062159" y="603764"/>
                  <a:pt x="4073282" y="592043"/>
                  <a:pt x="4081844" y="587951"/>
                </a:cubicBezTo>
                <a:cubicBezTo>
                  <a:pt x="4088770" y="584642"/>
                  <a:pt x="4092930" y="583149"/>
                  <a:pt x="4096448" y="583964"/>
                </a:cubicBezTo>
                <a:close/>
                <a:moveTo>
                  <a:pt x="3399607" y="565410"/>
                </a:moveTo>
                <a:cubicBezTo>
                  <a:pt x="3391884" y="563769"/>
                  <a:pt x="3387224" y="579464"/>
                  <a:pt x="3390710" y="595369"/>
                </a:cubicBezTo>
                <a:cubicBezTo>
                  <a:pt x="3394209" y="611327"/>
                  <a:pt x="3408911" y="610296"/>
                  <a:pt x="3412518" y="593840"/>
                </a:cubicBezTo>
                <a:cubicBezTo>
                  <a:pt x="3415603" y="579774"/>
                  <a:pt x="3410090" y="567638"/>
                  <a:pt x="3399607" y="565410"/>
                </a:cubicBezTo>
                <a:close/>
                <a:moveTo>
                  <a:pt x="3753272" y="543830"/>
                </a:moveTo>
                <a:cubicBezTo>
                  <a:pt x="3760971" y="543830"/>
                  <a:pt x="3790344" y="587515"/>
                  <a:pt x="3790519" y="599225"/>
                </a:cubicBezTo>
                <a:cubicBezTo>
                  <a:pt x="3790583" y="603578"/>
                  <a:pt x="3792516" y="607139"/>
                  <a:pt x="3794812" y="607139"/>
                </a:cubicBezTo>
                <a:cubicBezTo>
                  <a:pt x="3798720" y="607139"/>
                  <a:pt x="3806586" y="648938"/>
                  <a:pt x="3804642" y="659368"/>
                </a:cubicBezTo>
                <a:cubicBezTo>
                  <a:pt x="3804155" y="661980"/>
                  <a:pt x="3805723" y="664117"/>
                  <a:pt x="3808129" y="664117"/>
                </a:cubicBezTo>
                <a:cubicBezTo>
                  <a:pt x="3810534" y="664117"/>
                  <a:pt x="3812502" y="671239"/>
                  <a:pt x="3812502" y="679944"/>
                </a:cubicBezTo>
                <a:cubicBezTo>
                  <a:pt x="3812502" y="689792"/>
                  <a:pt x="3810023" y="695771"/>
                  <a:pt x="3805943" y="695771"/>
                </a:cubicBezTo>
                <a:cubicBezTo>
                  <a:pt x="3802334" y="695771"/>
                  <a:pt x="3799383" y="691458"/>
                  <a:pt x="3799383" y="686189"/>
                </a:cubicBezTo>
                <a:cubicBezTo>
                  <a:pt x="3799383" y="680918"/>
                  <a:pt x="3797558" y="671660"/>
                  <a:pt x="3795328" y="665613"/>
                </a:cubicBezTo>
                <a:cubicBezTo>
                  <a:pt x="3793100" y="659567"/>
                  <a:pt x="3790199" y="649592"/>
                  <a:pt x="3788882" y="643446"/>
                </a:cubicBezTo>
                <a:cubicBezTo>
                  <a:pt x="3787566" y="637300"/>
                  <a:pt x="3781819" y="629702"/>
                  <a:pt x="3776114" y="626562"/>
                </a:cubicBezTo>
                <a:cubicBezTo>
                  <a:pt x="3770409" y="623421"/>
                  <a:pt x="3762196" y="609932"/>
                  <a:pt x="3757864" y="596585"/>
                </a:cubicBezTo>
                <a:cubicBezTo>
                  <a:pt x="3753532" y="583239"/>
                  <a:pt x="3748025" y="570470"/>
                  <a:pt x="3745624" y="568210"/>
                </a:cubicBezTo>
                <a:cubicBezTo>
                  <a:pt x="3739464" y="562409"/>
                  <a:pt x="3745291" y="543830"/>
                  <a:pt x="3753272" y="543830"/>
                </a:cubicBezTo>
                <a:close/>
                <a:moveTo>
                  <a:pt x="2508411" y="515434"/>
                </a:moveTo>
                <a:cubicBezTo>
                  <a:pt x="2504104" y="514401"/>
                  <a:pt x="2499878" y="515729"/>
                  <a:pt x="2493352" y="518847"/>
                </a:cubicBezTo>
                <a:cubicBezTo>
                  <a:pt x="2482992" y="523798"/>
                  <a:pt x="2476746" y="523968"/>
                  <a:pt x="2472948" y="519406"/>
                </a:cubicBezTo>
                <a:cubicBezTo>
                  <a:pt x="2468354" y="513886"/>
                  <a:pt x="2443606" y="526013"/>
                  <a:pt x="2426655" y="542091"/>
                </a:cubicBezTo>
                <a:cubicBezTo>
                  <a:pt x="2421983" y="546522"/>
                  <a:pt x="2417762" y="622657"/>
                  <a:pt x="2421860" y="628589"/>
                </a:cubicBezTo>
                <a:cubicBezTo>
                  <a:pt x="2424293" y="632112"/>
                  <a:pt x="2426284" y="641221"/>
                  <a:pt x="2426284" y="648832"/>
                </a:cubicBezTo>
                <a:cubicBezTo>
                  <a:pt x="2426284" y="661372"/>
                  <a:pt x="2431239" y="679043"/>
                  <a:pt x="2440777" y="700519"/>
                </a:cubicBezTo>
                <a:cubicBezTo>
                  <a:pt x="2445394" y="710913"/>
                  <a:pt x="2451698" y="710530"/>
                  <a:pt x="2459393" y="699389"/>
                </a:cubicBezTo>
                <a:cubicBezTo>
                  <a:pt x="2467519" y="687625"/>
                  <a:pt x="2467369" y="667744"/>
                  <a:pt x="2459081" y="657786"/>
                </a:cubicBezTo>
                <a:cubicBezTo>
                  <a:pt x="2450414" y="647372"/>
                  <a:pt x="2450672" y="636411"/>
                  <a:pt x="2459470" y="641298"/>
                </a:cubicBezTo>
                <a:cubicBezTo>
                  <a:pt x="2463325" y="643440"/>
                  <a:pt x="2471373" y="639515"/>
                  <a:pt x="2477551" y="632480"/>
                </a:cubicBezTo>
                <a:cubicBezTo>
                  <a:pt x="2483674" y="625506"/>
                  <a:pt x="2486451" y="619800"/>
                  <a:pt x="2483722" y="619800"/>
                </a:cubicBezTo>
                <a:cubicBezTo>
                  <a:pt x="2480682" y="619800"/>
                  <a:pt x="2478759" y="607536"/>
                  <a:pt x="2478759" y="588146"/>
                </a:cubicBezTo>
                <a:cubicBezTo>
                  <a:pt x="2478759" y="564230"/>
                  <a:pt x="2480363" y="556492"/>
                  <a:pt x="2485319" y="556492"/>
                </a:cubicBezTo>
                <a:cubicBezTo>
                  <a:pt x="2488926" y="556492"/>
                  <a:pt x="2491878" y="560167"/>
                  <a:pt x="2491878" y="564659"/>
                </a:cubicBezTo>
                <a:cubicBezTo>
                  <a:pt x="2491878" y="569151"/>
                  <a:pt x="2499398" y="584856"/>
                  <a:pt x="2508588" y="599558"/>
                </a:cubicBezTo>
                <a:lnTo>
                  <a:pt x="2525299" y="626289"/>
                </a:lnTo>
                <a:lnTo>
                  <a:pt x="2539199" y="616250"/>
                </a:lnTo>
                <a:cubicBezTo>
                  <a:pt x="2553351" y="606030"/>
                  <a:pt x="2558554" y="581112"/>
                  <a:pt x="2548428" y="572052"/>
                </a:cubicBezTo>
                <a:cubicBezTo>
                  <a:pt x="2545859" y="569754"/>
                  <a:pt x="2544897" y="563571"/>
                  <a:pt x="2546291" y="558312"/>
                </a:cubicBezTo>
                <a:cubicBezTo>
                  <a:pt x="2548026" y="551769"/>
                  <a:pt x="2546810" y="549871"/>
                  <a:pt x="2542439" y="552299"/>
                </a:cubicBezTo>
                <a:cubicBezTo>
                  <a:pt x="2538651" y="554404"/>
                  <a:pt x="2536783" y="552759"/>
                  <a:pt x="2537847" y="548256"/>
                </a:cubicBezTo>
                <a:cubicBezTo>
                  <a:pt x="2538834" y="544081"/>
                  <a:pt x="2532586" y="534151"/>
                  <a:pt x="2523962" y="526189"/>
                </a:cubicBezTo>
                <a:cubicBezTo>
                  <a:pt x="2517108" y="519862"/>
                  <a:pt x="2512719" y="516468"/>
                  <a:pt x="2508411" y="515434"/>
                </a:cubicBezTo>
                <a:close/>
                <a:moveTo>
                  <a:pt x="3394917" y="499514"/>
                </a:moveTo>
                <a:cubicBezTo>
                  <a:pt x="3385202" y="499514"/>
                  <a:pt x="3378100" y="529260"/>
                  <a:pt x="3385075" y="540733"/>
                </a:cubicBezTo>
                <a:cubicBezTo>
                  <a:pt x="3393394" y="554416"/>
                  <a:pt x="3400986" y="551857"/>
                  <a:pt x="3404022" y="534348"/>
                </a:cubicBezTo>
                <a:cubicBezTo>
                  <a:pt x="3407506" y="514244"/>
                  <a:pt x="3403656" y="499514"/>
                  <a:pt x="3394917" y="499514"/>
                </a:cubicBezTo>
                <a:close/>
                <a:moveTo>
                  <a:pt x="2473972" y="490389"/>
                </a:moveTo>
                <a:cubicBezTo>
                  <a:pt x="2471843" y="492294"/>
                  <a:pt x="2472541" y="497688"/>
                  <a:pt x="2475523" y="502376"/>
                </a:cubicBezTo>
                <a:cubicBezTo>
                  <a:pt x="2482232" y="512920"/>
                  <a:pt x="2484208" y="510938"/>
                  <a:pt x="2480591" y="497291"/>
                </a:cubicBezTo>
                <a:cubicBezTo>
                  <a:pt x="2479079" y="491590"/>
                  <a:pt x="2476101" y="488484"/>
                  <a:pt x="2473972" y="490389"/>
                </a:cubicBezTo>
                <a:close/>
                <a:moveTo>
                  <a:pt x="2576610" y="482359"/>
                </a:moveTo>
                <a:cubicBezTo>
                  <a:pt x="2571620" y="489583"/>
                  <a:pt x="2578946" y="505856"/>
                  <a:pt x="2586852" y="505111"/>
                </a:cubicBezTo>
                <a:cubicBezTo>
                  <a:pt x="2594153" y="504423"/>
                  <a:pt x="2594161" y="504195"/>
                  <a:pt x="2586989" y="501481"/>
                </a:cubicBezTo>
                <a:cubicBezTo>
                  <a:pt x="2582780" y="499888"/>
                  <a:pt x="2579336" y="494047"/>
                  <a:pt x="2579336" y="488499"/>
                </a:cubicBezTo>
                <a:cubicBezTo>
                  <a:pt x="2579336" y="482950"/>
                  <a:pt x="2578110" y="480188"/>
                  <a:pt x="2576610" y="482359"/>
                </a:cubicBezTo>
                <a:close/>
                <a:moveTo>
                  <a:pt x="2585636" y="469292"/>
                </a:moveTo>
                <a:cubicBezTo>
                  <a:pt x="2584175" y="471406"/>
                  <a:pt x="2586588" y="478477"/>
                  <a:pt x="2590998" y="485006"/>
                </a:cubicBezTo>
                <a:cubicBezTo>
                  <a:pt x="2595407" y="491535"/>
                  <a:pt x="2599735" y="494341"/>
                  <a:pt x="2600616" y="491243"/>
                </a:cubicBezTo>
                <a:cubicBezTo>
                  <a:pt x="2601496" y="488144"/>
                  <a:pt x="2599083" y="481073"/>
                  <a:pt x="2595253" y="475529"/>
                </a:cubicBezTo>
                <a:cubicBezTo>
                  <a:pt x="2591424" y="469984"/>
                  <a:pt x="2587096" y="467178"/>
                  <a:pt x="2585636" y="469292"/>
                </a:cubicBezTo>
                <a:close/>
                <a:moveTo>
                  <a:pt x="3422903" y="465059"/>
                </a:moveTo>
                <a:cubicBezTo>
                  <a:pt x="3420722" y="467011"/>
                  <a:pt x="3418939" y="472713"/>
                  <a:pt x="3418939" y="477730"/>
                </a:cubicBezTo>
                <a:cubicBezTo>
                  <a:pt x="3418939" y="490833"/>
                  <a:pt x="3421910" y="488965"/>
                  <a:pt x="3424580" y="474182"/>
                </a:cubicBezTo>
                <a:cubicBezTo>
                  <a:pt x="3425839" y="467213"/>
                  <a:pt x="3425085" y="463108"/>
                  <a:pt x="3422903" y="465059"/>
                </a:cubicBezTo>
                <a:close/>
                <a:moveTo>
                  <a:pt x="3788764" y="436206"/>
                </a:moveTo>
                <a:cubicBezTo>
                  <a:pt x="3792030" y="436206"/>
                  <a:pt x="3797049" y="442616"/>
                  <a:pt x="3799916" y="450450"/>
                </a:cubicBezTo>
                <a:cubicBezTo>
                  <a:pt x="3802782" y="458284"/>
                  <a:pt x="3808936" y="469529"/>
                  <a:pt x="3813589" y="475438"/>
                </a:cubicBezTo>
                <a:cubicBezTo>
                  <a:pt x="3818243" y="481347"/>
                  <a:pt x="3820770" y="489181"/>
                  <a:pt x="3819205" y="492847"/>
                </a:cubicBezTo>
                <a:cubicBezTo>
                  <a:pt x="3815196" y="502237"/>
                  <a:pt x="3802588" y="500707"/>
                  <a:pt x="3796103" y="490044"/>
                </a:cubicBezTo>
                <a:cubicBezTo>
                  <a:pt x="3793097" y="485101"/>
                  <a:pt x="3790637" y="478436"/>
                  <a:pt x="3790637" y="475233"/>
                </a:cubicBezTo>
                <a:cubicBezTo>
                  <a:pt x="3790637" y="472031"/>
                  <a:pt x="3787802" y="466004"/>
                  <a:pt x="3784337" y="461842"/>
                </a:cubicBezTo>
                <a:cubicBezTo>
                  <a:pt x="3777074" y="453114"/>
                  <a:pt x="3779994" y="436206"/>
                  <a:pt x="3788764" y="436206"/>
                </a:cubicBezTo>
                <a:close/>
                <a:moveTo>
                  <a:pt x="2416536" y="393600"/>
                </a:moveTo>
                <a:cubicBezTo>
                  <a:pt x="2419357" y="392997"/>
                  <a:pt x="2421911" y="396309"/>
                  <a:pt x="2421911" y="404024"/>
                </a:cubicBezTo>
                <a:cubicBezTo>
                  <a:pt x="2421911" y="411800"/>
                  <a:pt x="2419088" y="417213"/>
                  <a:pt x="2415031" y="417213"/>
                </a:cubicBezTo>
                <a:cubicBezTo>
                  <a:pt x="2410959" y="417213"/>
                  <a:pt x="2408728" y="412906"/>
                  <a:pt x="2409565" y="406659"/>
                </a:cubicBezTo>
                <a:cubicBezTo>
                  <a:pt x="2410629" y="398718"/>
                  <a:pt x="2413716" y="394202"/>
                  <a:pt x="2416536" y="393600"/>
                </a:cubicBezTo>
                <a:close/>
                <a:moveTo>
                  <a:pt x="3384911" y="341340"/>
                </a:moveTo>
                <a:cubicBezTo>
                  <a:pt x="3374162" y="341236"/>
                  <a:pt x="3368359" y="354420"/>
                  <a:pt x="3372417" y="369731"/>
                </a:cubicBezTo>
                <a:cubicBezTo>
                  <a:pt x="3373802" y="374955"/>
                  <a:pt x="3377455" y="379003"/>
                  <a:pt x="3380538" y="378728"/>
                </a:cubicBezTo>
                <a:cubicBezTo>
                  <a:pt x="3384927" y="378337"/>
                  <a:pt x="3384957" y="377536"/>
                  <a:pt x="3380675" y="375035"/>
                </a:cubicBezTo>
                <a:lnTo>
                  <a:pt x="3380675" y="375035"/>
                </a:lnTo>
                <a:cubicBezTo>
                  <a:pt x="3377669" y="373279"/>
                  <a:pt x="3375209" y="366213"/>
                  <a:pt x="3375209" y="359334"/>
                </a:cubicBezTo>
                <a:cubicBezTo>
                  <a:pt x="3375209" y="352455"/>
                  <a:pt x="3376779" y="348231"/>
                  <a:pt x="3378698" y="349948"/>
                </a:cubicBezTo>
                <a:cubicBezTo>
                  <a:pt x="3380617" y="351665"/>
                  <a:pt x="3385044" y="350452"/>
                  <a:pt x="3388537" y="347252"/>
                </a:cubicBezTo>
                <a:cubicBezTo>
                  <a:pt x="3393480" y="342726"/>
                  <a:pt x="3392677" y="341415"/>
                  <a:pt x="3384911" y="341340"/>
                </a:cubicBezTo>
                <a:close/>
                <a:moveTo>
                  <a:pt x="3481752" y="328581"/>
                </a:moveTo>
                <a:cubicBezTo>
                  <a:pt x="3478562" y="328581"/>
                  <a:pt x="3474719" y="335704"/>
                  <a:pt x="3473209" y="344408"/>
                </a:cubicBezTo>
                <a:cubicBezTo>
                  <a:pt x="3470799" y="358313"/>
                  <a:pt x="3468111" y="360235"/>
                  <a:pt x="3451077" y="360235"/>
                </a:cubicBezTo>
                <a:cubicBezTo>
                  <a:pt x="3440413" y="360235"/>
                  <a:pt x="3429123" y="363704"/>
                  <a:pt x="3425989" y="367943"/>
                </a:cubicBezTo>
                <a:cubicBezTo>
                  <a:pt x="3418508" y="378060"/>
                  <a:pt x="3424306" y="416876"/>
                  <a:pt x="3435239" y="429875"/>
                </a:cubicBezTo>
                <a:cubicBezTo>
                  <a:pt x="3441469" y="437282"/>
                  <a:pt x="3442631" y="444595"/>
                  <a:pt x="3440516" y="463112"/>
                </a:cubicBezTo>
                <a:cubicBezTo>
                  <a:pt x="3438509" y="480705"/>
                  <a:pt x="3439327" y="486853"/>
                  <a:pt x="3443678" y="486853"/>
                </a:cubicBezTo>
                <a:cubicBezTo>
                  <a:pt x="3446913" y="486853"/>
                  <a:pt x="3449549" y="493485"/>
                  <a:pt x="3449549" y="501624"/>
                </a:cubicBezTo>
                <a:cubicBezTo>
                  <a:pt x="3449549" y="520284"/>
                  <a:pt x="3453399" y="525859"/>
                  <a:pt x="3464675" y="523522"/>
                </a:cubicBezTo>
                <a:cubicBezTo>
                  <a:pt x="3472450" y="521910"/>
                  <a:pt x="3473771" y="516371"/>
                  <a:pt x="3474924" y="480522"/>
                </a:cubicBezTo>
                <a:cubicBezTo>
                  <a:pt x="3475653" y="457889"/>
                  <a:pt x="3478112" y="436665"/>
                  <a:pt x="3480390" y="433357"/>
                </a:cubicBezTo>
                <a:cubicBezTo>
                  <a:pt x="3482669" y="430049"/>
                  <a:pt x="3484532" y="420790"/>
                  <a:pt x="3484532" y="412781"/>
                </a:cubicBezTo>
                <a:cubicBezTo>
                  <a:pt x="3484532" y="404214"/>
                  <a:pt x="3487169" y="398220"/>
                  <a:pt x="3490938" y="398220"/>
                </a:cubicBezTo>
                <a:cubicBezTo>
                  <a:pt x="3498511" y="398220"/>
                  <a:pt x="3506292" y="379500"/>
                  <a:pt x="3504808" y="364853"/>
                </a:cubicBezTo>
                <a:cubicBezTo>
                  <a:pt x="3503420" y="351174"/>
                  <a:pt x="3489060" y="328581"/>
                  <a:pt x="3481752" y="328581"/>
                </a:cubicBezTo>
                <a:close/>
                <a:moveTo>
                  <a:pt x="3250209" y="322250"/>
                </a:moveTo>
                <a:cubicBezTo>
                  <a:pt x="3243214" y="322250"/>
                  <a:pt x="3227889" y="333810"/>
                  <a:pt x="3218734" y="345991"/>
                </a:cubicBezTo>
                <a:cubicBezTo>
                  <a:pt x="3215463" y="350343"/>
                  <a:pt x="3210413" y="353905"/>
                  <a:pt x="3207511" y="353905"/>
                </a:cubicBezTo>
                <a:cubicBezTo>
                  <a:pt x="3200783" y="353905"/>
                  <a:pt x="3188954" y="373794"/>
                  <a:pt x="3185026" y="391710"/>
                </a:cubicBezTo>
                <a:cubicBezTo>
                  <a:pt x="3182959" y="401144"/>
                  <a:pt x="3184556" y="409295"/>
                  <a:pt x="3190049" y="417333"/>
                </a:cubicBezTo>
                <a:cubicBezTo>
                  <a:pt x="3198704" y="429998"/>
                  <a:pt x="3209038" y="433607"/>
                  <a:pt x="3209038" y="423965"/>
                </a:cubicBezTo>
                <a:cubicBezTo>
                  <a:pt x="3209038" y="420714"/>
                  <a:pt x="3214450" y="417153"/>
                  <a:pt x="3221064" y="416051"/>
                </a:cubicBezTo>
                <a:cubicBezTo>
                  <a:pt x="3230509" y="414477"/>
                  <a:pt x="3233387" y="410312"/>
                  <a:pt x="3234472" y="396638"/>
                </a:cubicBezTo>
                <a:cubicBezTo>
                  <a:pt x="3236215" y="374710"/>
                  <a:pt x="3252767" y="371301"/>
                  <a:pt x="3252767" y="392871"/>
                </a:cubicBezTo>
                <a:cubicBezTo>
                  <a:pt x="3252767" y="406113"/>
                  <a:pt x="3253025" y="406177"/>
                  <a:pt x="3261513" y="395055"/>
                </a:cubicBezTo>
                <a:cubicBezTo>
                  <a:pt x="3277567" y="374022"/>
                  <a:pt x="3269528" y="322250"/>
                  <a:pt x="3250209" y="322250"/>
                </a:cubicBezTo>
                <a:close/>
                <a:moveTo>
                  <a:pt x="3735611" y="303258"/>
                </a:moveTo>
                <a:cubicBezTo>
                  <a:pt x="3739420" y="303258"/>
                  <a:pt x="3742535" y="307294"/>
                  <a:pt x="3742535" y="312227"/>
                </a:cubicBezTo>
                <a:cubicBezTo>
                  <a:pt x="3742535" y="317159"/>
                  <a:pt x="3744851" y="322313"/>
                  <a:pt x="3747682" y="323679"/>
                </a:cubicBezTo>
                <a:cubicBezTo>
                  <a:pt x="3750513" y="325045"/>
                  <a:pt x="3751381" y="329556"/>
                  <a:pt x="3749611" y="333703"/>
                </a:cubicBezTo>
                <a:cubicBezTo>
                  <a:pt x="3745013" y="344472"/>
                  <a:pt x="3739615" y="343017"/>
                  <a:pt x="3736483" y="330164"/>
                </a:cubicBezTo>
                <a:cubicBezTo>
                  <a:pt x="3734998" y="324070"/>
                  <a:pt x="3732636" y="315524"/>
                  <a:pt x="3731235" y="311171"/>
                </a:cubicBezTo>
                <a:cubicBezTo>
                  <a:pt x="3729770" y="306619"/>
                  <a:pt x="3731629" y="303258"/>
                  <a:pt x="3735611" y="303258"/>
                </a:cubicBezTo>
                <a:close/>
                <a:moveTo>
                  <a:pt x="2667524" y="278974"/>
                </a:moveTo>
                <a:cubicBezTo>
                  <a:pt x="2661560" y="280156"/>
                  <a:pt x="2658185" y="293159"/>
                  <a:pt x="2658117" y="316447"/>
                </a:cubicBezTo>
                <a:cubicBezTo>
                  <a:pt x="2658039" y="342968"/>
                  <a:pt x="2660977" y="348786"/>
                  <a:pt x="2673175" y="346258"/>
                </a:cubicBezTo>
                <a:cubicBezTo>
                  <a:pt x="2680611" y="344717"/>
                  <a:pt x="2682100" y="339770"/>
                  <a:pt x="2682100" y="316609"/>
                </a:cubicBezTo>
                <a:cubicBezTo>
                  <a:pt x="2682100" y="296817"/>
                  <a:pt x="2679861" y="286788"/>
                  <a:pt x="2674323" y="281790"/>
                </a:cubicBezTo>
                <a:cubicBezTo>
                  <a:pt x="2671787" y="279500"/>
                  <a:pt x="2669512" y="278580"/>
                  <a:pt x="2667524" y="278974"/>
                </a:cubicBezTo>
                <a:close/>
                <a:moveTo>
                  <a:pt x="2403748" y="222584"/>
                </a:moveTo>
                <a:cubicBezTo>
                  <a:pt x="2406439" y="222027"/>
                  <a:pt x="2408792" y="224335"/>
                  <a:pt x="2408792" y="229925"/>
                </a:cubicBezTo>
                <a:cubicBezTo>
                  <a:pt x="2408792" y="235438"/>
                  <a:pt x="2405677" y="239949"/>
                  <a:pt x="2401869" y="239949"/>
                </a:cubicBezTo>
                <a:cubicBezTo>
                  <a:pt x="2398060" y="239949"/>
                  <a:pt x="2395724" y="236566"/>
                  <a:pt x="2396676" y="232431"/>
                </a:cubicBezTo>
                <a:cubicBezTo>
                  <a:pt x="2398027" y="226562"/>
                  <a:pt x="2401056" y="223140"/>
                  <a:pt x="2403748" y="222584"/>
                </a:cubicBezTo>
                <a:close/>
                <a:moveTo>
                  <a:pt x="3661635" y="214625"/>
                </a:moveTo>
                <a:cubicBezTo>
                  <a:pt x="3665279" y="214625"/>
                  <a:pt x="3668195" y="220253"/>
                  <a:pt x="3668195" y="227287"/>
                </a:cubicBezTo>
                <a:cubicBezTo>
                  <a:pt x="3668195" y="234321"/>
                  <a:pt x="3665279" y="239949"/>
                  <a:pt x="3661635" y="239949"/>
                </a:cubicBezTo>
                <a:cubicBezTo>
                  <a:pt x="3657991" y="239949"/>
                  <a:pt x="3655077" y="234321"/>
                  <a:pt x="3655077" y="227287"/>
                </a:cubicBezTo>
                <a:cubicBezTo>
                  <a:pt x="3655077" y="220253"/>
                  <a:pt x="3657991" y="214625"/>
                  <a:pt x="3661635" y="214625"/>
                </a:cubicBezTo>
                <a:close/>
                <a:moveTo>
                  <a:pt x="2458546" y="189624"/>
                </a:moveTo>
                <a:cubicBezTo>
                  <a:pt x="2461856" y="188735"/>
                  <a:pt x="2465760" y="190792"/>
                  <a:pt x="2468139" y="196363"/>
                </a:cubicBezTo>
                <a:cubicBezTo>
                  <a:pt x="2469953" y="200613"/>
                  <a:pt x="2478604" y="202209"/>
                  <a:pt x="2489869" y="200371"/>
                </a:cubicBezTo>
                <a:cubicBezTo>
                  <a:pt x="2506662" y="197630"/>
                  <a:pt x="2509560" y="199226"/>
                  <a:pt x="2518076" y="215902"/>
                </a:cubicBezTo>
                <a:cubicBezTo>
                  <a:pt x="2523296" y="226123"/>
                  <a:pt x="2526486" y="238565"/>
                  <a:pt x="2525165" y="243549"/>
                </a:cubicBezTo>
                <a:cubicBezTo>
                  <a:pt x="2521689" y="256664"/>
                  <a:pt x="2516449" y="254691"/>
                  <a:pt x="2511500" y="238403"/>
                </a:cubicBezTo>
                <a:cubicBezTo>
                  <a:pt x="2504650" y="215859"/>
                  <a:pt x="2492282" y="216449"/>
                  <a:pt x="2489102" y="239473"/>
                </a:cubicBezTo>
                <a:cubicBezTo>
                  <a:pt x="2485958" y="262227"/>
                  <a:pt x="2470013" y="267861"/>
                  <a:pt x="2470013" y="246218"/>
                </a:cubicBezTo>
                <a:cubicBezTo>
                  <a:pt x="2470013" y="239220"/>
                  <a:pt x="2466078" y="228616"/>
                  <a:pt x="2461268" y="222653"/>
                </a:cubicBezTo>
                <a:cubicBezTo>
                  <a:pt x="2456458" y="216690"/>
                  <a:pt x="2452522" y="206747"/>
                  <a:pt x="2452522" y="200557"/>
                </a:cubicBezTo>
                <a:cubicBezTo>
                  <a:pt x="2452522" y="194347"/>
                  <a:pt x="2455237" y="190513"/>
                  <a:pt x="2458546" y="189624"/>
                </a:cubicBezTo>
                <a:close/>
                <a:moveTo>
                  <a:pt x="2511298" y="176640"/>
                </a:moveTo>
                <a:cubicBezTo>
                  <a:pt x="2515048" y="176640"/>
                  <a:pt x="2518116" y="179489"/>
                  <a:pt x="2518116" y="182971"/>
                </a:cubicBezTo>
                <a:cubicBezTo>
                  <a:pt x="2518116" y="186454"/>
                  <a:pt x="2516264" y="189302"/>
                  <a:pt x="2514001" y="189302"/>
                </a:cubicBezTo>
                <a:cubicBezTo>
                  <a:pt x="2511738" y="189302"/>
                  <a:pt x="2508670" y="186454"/>
                  <a:pt x="2507183" y="182971"/>
                </a:cubicBezTo>
                <a:cubicBezTo>
                  <a:pt x="2505697" y="179489"/>
                  <a:pt x="2507548" y="176640"/>
                  <a:pt x="2511298" y="176640"/>
                </a:cubicBezTo>
                <a:close/>
                <a:moveTo>
                  <a:pt x="2555929" y="171777"/>
                </a:moveTo>
                <a:cubicBezTo>
                  <a:pt x="2566610" y="171004"/>
                  <a:pt x="2578329" y="172802"/>
                  <a:pt x="2582482" y="177792"/>
                </a:cubicBezTo>
                <a:cubicBezTo>
                  <a:pt x="2587445" y="183755"/>
                  <a:pt x="2586019" y="186637"/>
                  <a:pt x="2574699" y="193528"/>
                </a:cubicBezTo>
                <a:cubicBezTo>
                  <a:pt x="2558114" y="203624"/>
                  <a:pt x="2558671" y="203563"/>
                  <a:pt x="2555286" y="195633"/>
                </a:cubicBezTo>
                <a:cubicBezTo>
                  <a:pt x="2553799" y="192151"/>
                  <a:pt x="2548763" y="189302"/>
                  <a:pt x="2544095" y="189302"/>
                </a:cubicBezTo>
                <a:cubicBezTo>
                  <a:pt x="2539427" y="189302"/>
                  <a:pt x="2535607" y="185648"/>
                  <a:pt x="2535607" y="181183"/>
                </a:cubicBezTo>
                <a:cubicBezTo>
                  <a:pt x="2535607" y="175892"/>
                  <a:pt x="2545249" y="172549"/>
                  <a:pt x="2555929" y="171777"/>
                </a:cubicBezTo>
                <a:close/>
                <a:moveTo>
                  <a:pt x="2651238" y="166688"/>
                </a:moveTo>
                <a:cubicBezTo>
                  <a:pt x="2657528" y="168492"/>
                  <a:pt x="2662423" y="175539"/>
                  <a:pt x="2662423" y="186823"/>
                </a:cubicBezTo>
                <a:cubicBezTo>
                  <a:pt x="2662423" y="195151"/>
                  <a:pt x="2660493" y="201964"/>
                  <a:pt x="2658132" y="201964"/>
                </a:cubicBezTo>
                <a:cubicBezTo>
                  <a:pt x="2655774" y="201964"/>
                  <a:pt x="2652609" y="209086"/>
                  <a:pt x="2651099" y="217791"/>
                </a:cubicBezTo>
                <a:cubicBezTo>
                  <a:pt x="2648579" y="232326"/>
                  <a:pt x="2632643" y="241240"/>
                  <a:pt x="2631294" y="228870"/>
                </a:cubicBezTo>
                <a:cubicBezTo>
                  <a:pt x="2631009" y="226259"/>
                  <a:pt x="2631009" y="221985"/>
                  <a:pt x="2631294" y="219374"/>
                </a:cubicBezTo>
                <a:cubicBezTo>
                  <a:pt x="2631578" y="216762"/>
                  <a:pt x="2629844" y="214625"/>
                  <a:pt x="2627439" y="214625"/>
                </a:cubicBezTo>
                <a:cubicBezTo>
                  <a:pt x="2620291" y="214625"/>
                  <a:pt x="2622736" y="193545"/>
                  <a:pt x="2631687" y="178004"/>
                </a:cubicBezTo>
                <a:cubicBezTo>
                  <a:pt x="2637265" y="168321"/>
                  <a:pt x="2644949" y="164883"/>
                  <a:pt x="2651238" y="166688"/>
                </a:cubicBezTo>
                <a:close/>
                <a:moveTo>
                  <a:pt x="3294675" y="163979"/>
                </a:moveTo>
                <a:cubicBezTo>
                  <a:pt x="3302396" y="163979"/>
                  <a:pt x="3301052" y="177608"/>
                  <a:pt x="3292944" y="181520"/>
                </a:cubicBezTo>
                <a:cubicBezTo>
                  <a:pt x="3290088" y="182899"/>
                  <a:pt x="3287751" y="179516"/>
                  <a:pt x="3287751" y="174003"/>
                </a:cubicBezTo>
                <a:cubicBezTo>
                  <a:pt x="3287751" y="168490"/>
                  <a:pt x="3290866" y="163979"/>
                  <a:pt x="3294675" y="163979"/>
                </a:cubicBezTo>
                <a:close/>
                <a:moveTo>
                  <a:pt x="3593184" y="152944"/>
                </a:moveTo>
                <a:cubicBezTo>
                  <a:pt x="3595875" y="152388"/>
                  <a:pt x="3598229" y="154696"/>
                  <a:pt x="3598229" y="160286"/>
                </a:cubicBezTo>
                <a:cubicBezTo>
                  <a:pt x="3598229" y="165799"/>
                  <a:pt x="3595112" y="170310"/>
                  <a:pt x="3591305" y="170310"/>
                </a:cubicBezTo>
                <a:cubicBezTo>
                  <a:pt x="3587497" y="170310"/>
                  <a:pt x="3585159" y="166926"/>
                  <a:pt x="3586112" y="162792"/>
                </a:cubicBezTo>
                <a:cubicBezTo>
                  <a:pt x="3587463" y="156923"/>
                  <a:pt x="3590492" y="153501"/>
                  <a:pt x="3593184" y="152944"/>
                </a:cubicBezTo>
                <a:close/>
                <a:moveTo>
                  <a:pt x="2447768" y="122488"/>
                </a:moveTo>
                <a:cubicBezTo>
                  <a:pt x="2454976" y="128937"/>
                  <a:pt x="2453468" y="151317"/>
                  <a:pt x="2445825" y="151317"/>
                </a:cubicBezTo>
                <a:cubicBezTo>
                  <a:pt x="2442142" y="151317"/>
                  <a:pt x="2437945" y="146852"/>
                  <a:pt x="2436499" y="141395"/>
                </a:cubicBezTo>
                <a:cubicBezTo>
                  <a:pt x="2433343" y="129488"/>
                  <a:pt x="2441081" y="116504"/>
                  <a:pt x="2447768" y="122488"/>
                </a:cubicBezTo>
                <a:close/>
                <a:moveTo>
                  <a:pt x="2758453" y="113837"/>
                </a:moveTo>
                <a:cubicBezTo>
                  <a:pt x="2758489" y="112848"/>
                  <a:pt x="2756442" y="113310"/>
                  <a:pt x="2752343" y="114355"/>
                </a:cubicBezTo>
                <a:cubicBezTo>
                  <a:pt x="2743193" y="116691"/>
                  <a:pt x="2733150" y="156532"/>
                  <a:pt x="2739995" y="163342"/>
                </a:cubicBezTo>
                <a:cubicBezTo>
                  <a:pt x="2746060" y="169373"/>
                  <a:pt x="2753611" y="202383"/>
                  <a:pt x="2756797" y="236783"/>
                </a:cubicBezTo>
                <a:cubicBezTo>
                  <a:pt x="2760450" y="276217"/>
                  <a:pt x="2765335" y="286290"/>
                  <a:pt x="2776577" y="277579"/>
                </a:cubicBezTo>
                <a:cubicBezTo>
                  <a:pt x="2782786" y="272768"/>
                  <a:pt x="2784864" y="264163"/>
                  <a:pt x="2784864" y="243265"/>
                </a:cubicBezTo>
                <a:cubicBezTo>
                  <a:pt x="2784864" y="227925"/>
                  <a:pt x="2786832" y="213612"/>
                  <a:pt x="2789237" y="211460"/>
                </a:cubicBezTo>
                <a:cubicBezTo>
                  <a:pt x="2796011" y="205400"/>
                  <a:pt x="2794395" y="176679"/>
                  <a:pt x="2787050" y="172599"/>
                </a:cubicBezTo>
                <a:cubicBezTo>
                  <a:pt x="2783443" y="170595"/>
                  <a:pt x="2780492" y="164868"/>
                  <a:pt x="2780492" y="159871"/>
                </a:cubicBezTo>
                <a:cubicBezTo>
                  <a:pt x="2780492" y="143577"/>
                  <a:pt x="2765437" y="126054"/>
                  <a:pt x="2754010" y="129045"/>
                </a:cubicBezTo>
                <a:cubicBezTo>
                  <a:pt x="2743566" y="131779"/>
                  <a:pt x="2743521" y="131619"/>
                  <a:pt x="2752067" y="122018"/>
                </a:cubicBezTo>
                <a:cubicBezTo>
                  <a:pt x="2756299" y="117264"/>
                  <a:pt x="2758418" y="114826"/>
                  <a:pt x="2758453" y="113837"/>
                </a:cubicBezTo>
                <a:close/>
                <a:moveTo>
                  <a:pt x="3208103" y="91897"/>
                </a:moveTo>
                <a:cubicBezTo>
                  <a:pt x="3213281" y="90045"/>
                  <a:pt x="3217784" y="97707"/>
                  <a:pt x="3217784" y="116250"/>
                </a:cubicBezTo>
                <a:cubicBezTo>
                  <a:pt x="3217784" y="127720"/>
                  <a:pt x="3220735" y="140651"/>
                  <a:pt x="3224343" y="144986"/>
                </a:cubicBezTo>
                <a:cubicBezTo>
                  <a:pt x="3227951" y="149321"/>
                  <a:pt x="3230903" y="159844"/>
                  <a:pt x="3230903" y="168372"/>
                </a:cubicBezTo>
                <a:cubicBezTo>
                  <a:pt x="3230903" y="176899"/>
                  <a:pt x="3233854" y="188149"/>
                  <a:pt x="3237462" y="193372"/>
                </a:cubicBezTo>
                <a:cubicBezTo>
                  <a:pt x="3244242" y="203188"/>
                  <a:pt x="3246531" y="221731"/>
                  <a:pt x="3240742" y="219944"/>
                </a:cubicBezTo>
                <a:cubicBezTo>
                  <a:pt x="3238938" y="219386"/>
                  <a:pt x="3231221" y="217798"/>
                  <a:pt x="3223595" y="216414"/>
                </a:cubicBezTo>
                <a:cubicBezTo>
                  <a:pt x="3203557" y="212779"/>
                  <a:pt x="3185757" y="185085"/>
                  <a:pt x="3189004" y="162600"/>
                </a:cubicBezTo>
                <a:cubicBezTo>
                  <a:pt x="3190402" y="152912"/>
                  <a:pt x="3192816" y="135822"/>
                  <a:pt x="3194368" y="124622"/>
                </a:cubicBezTo>
                <a:cubicBezTo>
                  <a:pt x="3197072" y="105112"/>
                  <a:pt x="3202925" y="93748"/>
                  <a:pt x="3208103" y="91897"/>
                </a:cubicBezTo>
                <a:close/>
                <a:moveTo>
                  <a:pt x="3421125" y="62685"/>
                </a:moveTo>
                <a:cubicBezTo>
                  <a:pt x="3424732" y="62685"/>
                  <a:pt x="3427684" y="66958"/>
                  <a:pt x="3427684" y="72181"/>
                </a:cubicBezTo>
                <a:cubicBezTo>
                  <a:pt x="3427684" y="77405"/>
                  <a:pt x="3429221" y="81678"/>
                  <a:pt x="3431098" y="81678"/>
                </a:cubicBezTo>
                <a:cubicBezTo>
                  <a:pt x="3435608" y="81678"/>
                  <a:pt x="3445240" y="118931"/>
                  <a:pt x="3441509" y="121946"/>
                </a:cubicBezTo>
                <a:cubicBezTo>
                  <a:pt x="3439919" y="123233"/>
                  <a:pt x="3436145" y="123001"/>
                  <a:pt x="3433123" y="121434"/>
                </a:cubicBezTo>
                <a:cubicBezTo>
                  <a:pt x="3430102" y="119865"/>
                  <a:pt x="3428743" y="115976"/>
                  <a:pt x="3430102" y="112791"/>
                </a:cubicBezTo>
                <a:cubicBezTo>
                  <a:pt x="3431461" y="109606"/>
                  <a:pt x="3430490" y="107001"/>
                  <a:pt x="3427942" y="107001"/>
                </a:cubicBezTo>
                <a:cubicBezTo>
                  <a:pt x="3425395" y="107001"/>
                  <a:pt x="3423312" y="101303"/>
                  <a:pt x="3423312" y="94339"/>
                </a:cubicBezTo>
                <a:cubicBezTo>
                  <a:pt x="3423312" y="87375"/>
                  <a:pt x="3421344" y="81678"/>
                  <a:pt x="3418939" y="81678"/>
                </a:cubicBezTo>
                <a:cubicBezTo>
                  <a:pt x="3416533" y="81678"/>
                  <a:pt x="3414566" y="77405"/>
                  <a:pt x="3414566" y="72181"/>
                </a:cubicBezTo>
                <a:cubicBezTo>
                  <a:pt x="3414566" y="66958"/>
                  <a:pt x="3417517" y="62685"/>
                  <a:pt x="3421125" y="62685"/>
                </a:cubicBezTo>
                <a:close/>
                <a:moveTo>
                  <a:pt x="3123228" y="39762"/>
                </a:moveTo>
                <a:cubicBezTo>
                  <a:pt x="3124340" y="38590"/>
                  <a:pt x="3126716" y="40562"/>
                  <a:pt x="3129915" y="46141"/>
                </a:cubicBezTo>
                <a:cubicBezTo>
                  <a:pt x="3133020" y="51558"/>
                  <a:pt x="3133456" y="56718"/>
                  <a:pt x="3130996" y="58920"/>
                </a:cubicBezTo>
                <a:cubicBezTo>
                  <a:pt x="3128726" y="60950"/>
                  <a:pt x="3125632" y="57947"/>
                  <a:pt x="3124122" y="52246"/>
                </a:cubicBezTo>
                <a:cubicBezTo>
                  <a:pt x="3122267" y="45250"/>
                  <a:pt x="3122116" y="40934"/>
                  <a:pt x="3123228" y="39762"/>
                </a:cubicBezTo>
                <a:close/>
                <a:moveTo>
                  <a:pt x="3491456" y="6650"/>
                </a:moveTo>
                <a:cubicBezTo>
                  <a:pt x="3493713" y="7680"/>
                  <a:pt x="3496272" y="11147"/>
                  <a:pt x="3502024" y="18369"/>
                </a:cubicBezTo>
                <a:cubicBezTo>
                  <a:pt x="3507571" y="25333"/>
                  <a:pt x="3514759" y="31031"/>
                  <a:pt x="3517999" y="31031"/>
                </a:cubicBezTo>
                <a:cubicBezTo>
                  <a:pt x="3521238" y="31031"/>
                  <a:pt x="3523889" y="33879"/>
                  <a:pt x="3523889" y="37362"/>
                </a:cubicBezTo>
                <a:cubicBezTo>
                  <a:pt x="3523889" y="40844"/>
                  <a:pt x="3526840" y="43693"/>
                  <a:pt x="3530448" y="43693"/>
                </a:cubicBezTo>
                <a:cubicBezTo>
                  <a:pt x="3534146" y="43693"/>
                  <a:pt x="3537008" y="49356"/>
                  <a:pt x="3537008" y="56677"/>
                </a:cubicBezTo>
                <a:cubicBezTo>
                  <a:pt x="3537008" y="68583"/>
                  <a:pt x="3565454" y="113232"/>
                  <a:pt x="3573084" y="113301"/>
                </a:cubicBezTo>
                <a:cubicBezTo>
                  <a:pt x="3574888" y="113318"/>
                  <a:pt x="3576364" y="117914"/>
                  <a:pt x="3576364" y="123514"/>
                </a:cubicBezTo>
                <a:cubicBezTo>
                  <a:pt x="3576364" y="131092"/>
                  <a:pt x="3573688" y="132724"/>
                  <a:pt x="3565906" y="129897"/>
                </a:cubicBezTo>
                <a:cubicBezTo>
                  <a:pt x="3556533" y="126491"/>
                  <a:pt x="3555257" y="128464"/>
                  <a:pt x="3553610" y="148893"/>
                </a:cubicBezTo>
                <a:cubicBezTo>
                  <a:pt x="3552230" y="165993"/>
                  <a:pt x="3553751" y="173479"/>
                  <a:pt x="3559695" y="178853"/>
                </a:cubicBezTo>
                <a:cubicBezTo>
                  <a:pt x="3568675" y="186973"/>
                  <a:pt x="3570011" y="202298"/>
                  <a:pt x="3562664" y="212934"/>
                </a:cubicBezTo>
                <a:cubicBezTo>
                  <a:pt x="3556064" y="222489"/>
                  <a:pt x="3561075" y="239949"/>
                  <a:pt x="3570416" y="239949"/>
                </a:cubicBezTo>
                <a:cubicBezTo>
                  <a:pt x="3574511" y="239949"/>
                  <a:pt x="3581581" y="235077"/>
                  <a:pt x="3586126" y="229122"/>
                </a:cubicBezTo>
                <a:cubicBezTo>
                  <a:pt x="3593093" y="219993"/>
                  <a:pt x="3594988" y="219697"/>
                  <a:pt x="3598207" y="227237"/>
                </a:cubicBezTo>
                <a:cubicBezTo>
                  <a:pt x="3600306" y="232155"/>
                  <a:pt x="3600918" y="238770"/>
                  <a:pt x="3599566" y="241937"/>
                </a:cubicBezTo>
                <a:cubicBezTo>
                  <a:pt x="3596331" y="249514"/>
                  <a:pt x="3606716" y="258723"/>
                  <a:pt x="3618632" y="258845"/>
                </a:cubicBezTo>
                <a:cubicBezTo>
                  <a:pt x="3629513" y="258956"/>
                  <a:pt x="3661535" y="300242"/>
                  <a:pt x="3665357" y="319085"/>
                </a:cubicBezTo>
                <a:cubicBezTo>
                  <a:pt x="3666770" y="326049"/>
                  <a:pt x="3666225" y="342430"/>
                  <a:pt x="3664147" y="355487"/>
                </a:cubicBezTo>
                <a:cubicBezTo>
                  <a:pt x="3661949" y="369306"/>
                  <a:pt x="3662006" y="379228"/>
                  <a:pt x="3664283" y="379228"/>
                </a:cubicBezTo>
                <a:cubicBezTo>
                  <a:pt x="3666434" y="379228"/>
                  <a:pt x="3668196" y="383501"/>
                  <a:pt x="3668196" y="388724"/>
                </a:cubicBezTo>
                <a:cubicBezTo>
                  <a:pt x="3668196" y="393948"/>
                  <a:pt x="3670163" y="398220"/>
                  <a:pt x="3672568" y="398220"/>
                </a:cubicBezTo>
                <a:cubicBezTo>
                  <a:pt x="3674973" y="398220"/>
                  <a:pt x="3676941" y="408680"/>
                  <a:pt x="3676941" y="421463"/>
                </a:cubicBezTo>
                <a:cubicBezTo>
                  <a:pt x="3676941" y="434246"/>
                  <a:pt x="3679674" y="449202"/>
                  <a:pt x="3683014" y="454700"/>
                </a:cubicBezTo>
                <a:cubicBezTo>
                  <a:pt x="3686353" y="460197"/>
                  <a:pt x="3690445" y="473953"/>
                  <a:pt x="3692108" y="485270"/>
                </a:cubicBezTo>
                <a:cubicBezTo>
                  <a:pt x="3694511" y="501645"/>
                  <a:pt x="3693718" y="505845"/>
                  <a:pt x="3688220" y="505845"/>
                </a:cubicBezTo>
                <a:cubicBezTo>
                  <a:pt x="3684422" y="505845"/>
                  <a:pt x="3681806" y="502731"/>
                  <a:pt x="3682407" y="498925"/>
                </a:cubicBezTo>
                <a:cubicBezTo>
                  <a:pt x="3684346" y="486656"/>
                  <a:pt x="3669145" y="476556"/>
                  <a:pt x="3660542" y="484398"/>
                </a:cubicBezTo>
                <a:cubicBezTo>
                  <a:pt x="3649957" y="494048"/>
                  <a:pt x="3648855" y="508671"/>
                  <a:pt x="3656943" y="532140"/>
                </a:cubicBezTo>
                <a:cubicBezTo>
                  <a:pt x="3660727" y="543122"/>
                  <a:pt x="3663823" y="559054"/>
                  <a:pt x="3663823" y="567545"/>
                </a:cubicBezTo>
                <a:cubicBezTo>
                  <a:pt x="3663823" y="576036"/>
                  <a:pt x="3667758" y="590227"/>
                  <a:pt x="3672568" y="599081"/>
                </a:cubicBezTo>
                <a:cubicBezTo>
                  <a:pt x="3677379" y="607934"/>
                  <a:pt x="3681314" y="620323"/>
                  <a:pt x="3681314" y="626611"/>
                </a:cubicBezTo>
                <a:cubicBezTo>
                  <a:pt x="3681314" y="632900"/>
                  <a:pt x="3683281" y="639807"/>
                  <a:pt x="3685687" y="641959"/>
                </a:cubicBezTo>
                <a:cubicBezTo>
                  <a:pt x="3688092" y="644110"/>
                  <a:pt x="3690060" y="652384"/>
                  <a:pt x="3690060" y="660343"/>
                </a:cubicBezTo>
                <a:cubicBezTo>
                  <a:pt x="3690060" y="678177"/>
                  <a:pt x="3704117" y="697639"/>
                  <a:pt x="3714879" y="694706"/>
                </a:cubicBezTo>
                <a:cubicBezTo>
                  <a:pt x="3719266" y="693510"/>
                  <a:pt x="3724799" y="686138"/>
                  <a:pt x="3727174" y="678324"/>
                </a:cubicBezTo>
                <a:cubicBezTo>
                  <a:pt x="3729816" y="669628"/>
                  <a:pt x="3735329" y="664117"/>
                  <a:pt x="3741385" y="664117"/>
                </a:cubicBezTo>
                <a:cubicBezTo>
                  <a:pt x="3756867" y="664117"/>
                  <a:pt x="3753920" y="686819"/>
                  <a:pt x="3736264" y="703575"/>
                </a:cubicBezTo>
                <a:cubicBezTo>
                  <a:pt x="3719509" y="719476"/>
                  <a:pt x="3710769" y="756437"/>
                  <a:pt x="3721445" y="766238"/>
                </a:cubicBezTo>
                <a:cubicBezTo>
                  <a:pt x="3730163" y="774239"/>
                  <a:pt x="3743706" y="772450"/>
                  <a:pt x="3753209" y="762044"/>
                </a:cubicBezTo>
                <a:cubicBezTo>
                  <a:pt x="3769495" y="744212"/>
                  <a:pt x="3785979" y="753179"/>
                  <a:pt x="3792622" y="783484"/>
                </a:cubicBezTo>
                <a:cubicBezTo>
                  <a:pt x="3796816" y="802612"/>
                  <a:pt x="3814112" y="799777"/>
                  <a:pt x="3816087" y="779639"/>
                </a:cubicBezTo>
                <a:cubicBezTo>
                  <a:pt x="3816856" y="771797"/>
                  <a:pt x="3824235" y="757926"/>
                  <a:pt x="3832485" y="748816"/>
                </a:cubicBezTo>
                <a:cubicBezTo>
                  <a:pt x="3844749" y="735275"/>
                  <a:pt x="3847474" y="728059"/>
                  <a:pt x="3847425" y="709264"/>
                </a:cubicBezTo>
                <a:cubicBezTo>
                  <a:pt x="3847352" y="681364"/>
                  <a:pt x="3843200" y="656960"/>
                  <a:pt x="3839142" y="660590"/>
                </a:cubicBezTo>
                <a:cubicBezTo>
                  <a:pt x="3834328" y="664898"/>
                  <a:pt x="3838060" y="573936"/>
                  <a:pt x="3842989" y="566799"/>
                </a:cubicBezTo>
                <a:cubicBezTo>
                  <a:pt x="3845462" y="563219"/>
                  <a:pt x="3847485" y="555512"/>
                  <a:pt x="3847485" y="549670"/>
                </a:cubicBezTo>
                <a:cubicBezTo>
                  <a:pt x="3847485" y="543829"/>
                  <a:pt x="3850200" y="535788"/>
                  <a:pt x="3853517" y="531802"/>
                </a:cubicBezTo>
                <a:cubicBezTo>
                  <a:pt x="3861375" y="522361"/>
                  <a:pt x="3865336" y="492780"/>
                  <a:pt x="3861473" y="472401"/>
                </a:cubicBezTo>
                <a:cubicBezTo>
                  <a:pt x="3859792" y="463537"/>
                  <a:pt x="3851164" y="444615"/>
                  <a:pt x="3842299" y="430355"/>
                </a:cubicBezTo>
                <a:cubicBezTo>
                  <a:pt x="3833435" y="416093"/>
                  <a:pt x="3824791" y="398044"/>
                  <a:pt x="3823090" y="390244"/>
                </a:cubicBezTo>
                <a:cubicBezTo>
                  <a:pt x="3821387" y="382444"/>
                  <a:pt x="3816342" y="371455"/>
                  <a:pt x="3811876" y="365824"/>
                </a:cubicBezTo>
                <a:cubicBezTo>
                  <a:pt x="3807409" y="360192"/>
                  <a:pt x="3803756" y="351137"/>
                  <a:pt x="3803756" y="345701"/>
                </a:cubicBezTo>
                <a:cubicBezTo>
                  <a:pt x="3803756" y="340264"/>
                  <a:pt x="3801296" y="331942"/>
                  <a:pt x="3798290" y="327206"/>
                </a:cubicBezTo>
                <a:cubicBezTo>
                  <a:pt x="3787028" y="309466"/>
                  <a:pt x="3782277" y="290931"/>
                  <a:pt x="3783985" y="271395"/>
                </a:cubicBezTo>
                <a:cubicBezTo>
                  <a:pt x="3786140" y="246750"/>
                  <a:pt x="3789194" y="241660"/>
                  <a:pt x="3795958" y="251450"/>
                </a:cubicBezTo>
                <a:cubicBezTo>
                  <a:pt x="3798804" y="255570"/>
                  <a:pt x="3805835" y="258942"/>
                  <a:pt x="3811582" y="258942"/>
                </a:cubicBezTo>
                <a:cubicBezTo>
                  <a:pt x="3823136" y="258942"/>
                  <a:pt x="3838367" y="281252"/>
                  <a:pt x="3838594" y="298509"/>
                </a:cubicBezTo>
                <a:cubicBezTo>
                  <a:pt x="3838673" y="304603"/>
                  <a:pt x="3840707" y="309588"/>
                  <a:pt x="3843112" y="309588"/>
                </a:cubicBezTo>
                <a:cubicBezTo>
                  <a:pt x="3845518" y="309588"/>
                  <a:pt x="3847485" y="313965"/>
                  <a:pt x="3847485" y="319315"/>
                </a:cubicBezTo>
                <a:cubicBezTo>
                  <a:pt x="3847485" y="324665"/>
                  <a:pt x="3862335" y="350059"/>
                  <a:pt x="3880487" y="375747"/>
                </a:cubicBezTo>
                <a:lnTo>
                  <a:pt x="3913488" y="422452"/>
                </a:lnTo>
                <a:lnTo>
                  <a:pt x="3912190" y="462566"/>
                </a:lnTo>
                <a:lnTo>
                  <a:pt x="3910892" y="502680"/>
                </a:lnTo>
                <a:lnTo>
                  <a:pt x="3924010" y="504823"/>
                </a:lnTo>
                <a:cubicBezTo>
                  <a:pt x="3942999" y="507924"/>
                  <a:pt x="3948063" y="516714"/>
                  <a:pt x="3948063" y="546577"/>
                </a:cubicBezTo>
                <a:cubicBezTo>
                  <a:pt x="3948063" y="564774"/>
                  <a:pt x="3950947" y="577580"/>
                  <a:pt x="3957252" y="587378"/>
                </a:cubicBezTo>
                <a:cubicBezTo>
                  <a:pt x="3963929" y="597753"/>
                  <a:pt x="3965963" y="607602"/>
                  <a:pt x="3964689" y="623392"/>
                </a:cubicBezTo>
                <a:cubicBezTo>
                  <a:pt x="3963726" y="635344"/>
                  <a:pt x="3964510" y="645124"/>
                  <a:pt x="3966432" y="645124"/>
                </a:cubicBezTo>
                <a:cubicBezTo>
                  <a:pt x="3968354" y="645124"/>
                  <a:pt x="3969927" y="653671"/>
                  <a:pt x="3969927" y="664117"/>
                </a:cubicBezTo>
                <a:cubicBezTo>
                  <a:pt x="3969927" y="678989"/>
                  <a:pt x="3967999" y="683109"/>
                  <a:pt x="3961040" y="683109"/>
                </a:cubicBezTo>
                <a:cubicBezTo>
                  <a:pt x="3948054" y="683109"/>
                  <a:pt x="3943151" y="707199"/>
                  <a:pt x="3951373" y="730591"/>
                </a:cubicBezTo>
                <a:cubicBezTo>
                  <a:pt x="3955046" y="741036"/>
                  <a:pt x="3959445" y="753857"/>
                  <a:pt x="3961150" y="759079"/>
                </a:cubicBezTo>
                <a:cubicBezTo>
                  <a:pt x="3962855" y="764302"/>
                  <a:pt x="3969441" y="769474"/>
                  <a:pt x="3975786" y="770572"/>
                </a:cubicBezTo>
                <a:cubicBezTo>
                  <a:pt x="3982132" y="771671"/>
                  <a:pt x="3990139" y="778389"/>
                  <a:pt x="3993580" y="785503"/>
                </a:cubicBezTo>
                <a:cubicBezTo>
                  <a:pt x="3997023" y="792617"/>
                  <a:pt x="4001963" y="796536"/>
                  <a:pt x="4004560" y="794212"/>
                </a:cubicBezTo>
                <a:cubicBezTo>
                  <a:pt x="4014268" y="785527"/>
                  <a:pt x="4018223" y="797801"/>
                  <a:pt x="4011235" y="814926"/>
                </a:cubicBezTo>
                <a:cubicBezTo>
                  <a:pt x="4005848" y="828130"/>
                  <a:pt x="4005321" y="835790"/>
                  <a:pt x="4008872" y="849310"/>
                </a:cubicBezTo>
                <a:cubicBezTo>
                  <a:pt x="4014915" y="872322"/>
                  <a:pt x="4024350" y="871260"/>
                  <a:pt x="4041280" y="845658"/>
                </a:cubicBezTo>
                <a:cubicBezTo>
                  <a:pt x="4048936" y="834083"/>
                  <a:pt x="4058642" y="822777"/>
                  <a:pt x="4062851" y="820534"/>
                </a:cubicBezTo>
                <a:cubicBezTo>
                  <a:pt x="4067060" y="818290"/>
                  <a:pt x="4070504" y="810836"/>
                  <a:pt x="4070504" y="803968"/>
                </a:cubicBezTo>
                <a:cubicBezTo>
                  <a:pt x="4070504" y="797100"/>
                  <a:pt x="4072558" y="789643"/>
                  <a:pt x="4075068" y="787397"/>
                </a:cubicBezTo>
                <a:cubicBezTo>
                  <a:pt x="4082578" y="780678"/>
                  <a:pt x="4092369" y="797337"/>
                  <a:pt x="4092369" y="816832"/>
                </a:cubicBezTo>
                <a:cubicBezTo>
                  <a:pt x="4092369" y="826852"/>
                  <a:pt x="4094336" y="835050"/>
                  <a:pt x="4096742" y="835050"/>
                </a:cubicBezTo>
                <a:cubicBezTo>
                  <a:pt x="4099147" y="835050"/>
                  <a:pt x="4101115" y="838974"/>
                  <a:pt x="4101115" y="843771"/>
                </a:cubicBezTo>
                <a:cubicBezTo>
                  <a:pt x="4101115" y="848568"/>
                  <a:pt x="4103939" y="855887"/>
                  <a:pt x="4107393" y="860036"/>
                </a:cubicBezTo>
                <a:cubicBezTo>
                  <a:pt x="4110846" y="864184"/>
                  <a:pt x="4114938" y="875929"/>
                  <a:pt x="4116486" y="886134"/>
                </a:cubicBezTo>
                <a:cubicBezTo>
                  <a:pt x="4118035" y="896339"/>
                  <a:pt x="4120903" y="904689"/>
                  <a:pt x="4122859" y="904689"/>
                </a:cubicBezTo>
                <a:cubicBezTo>
                  <a:pt x="4129480" y="904689"/>
                  <a:pt x="4132273" y="926431"/>
                  <a:pt x="4126496" y="933011"/>
                </a:cubicBezTo>
                <a:cubicBezTo>
                  <a:pt x="4123360" y="936585"/>
                  <a:pt x="4120164" y="950905"/>
                  <a:pt x="4119395" y="964833"/>
                </a:cubicBezTo>
                <a:cubicBezTo>
                  <a:pt x="4118627" y="978760"/>
                  <a:pt x="4114199" y="996037"/>
                  <a:pt x="4109556" y="1003225"/>
                </a:cubicBezTo>
                <a:cubicBezTo>
                  <a:pt x="4102882" y="1013559"/>
                  <a:pt x="4101223" y="1024826"/>
                  <a:pt x="4101632" y="1057038"/>
                </a:cubicBezTo>
                <a:cubicBezTo>
                  <a:pt x="4102419" y="1118983"/>
                  <a:pt x="4105729" y="1134108"/>
                  <a:pt x="4119684" y="1139507"/>
                </a:cubicBezTo>
                <a:cubicBezTo>
                  <a:pt x="4129383" y="1143260"/>
                  <a:pt x="4133289" y="1141217"/>
                  <a:pt x="4139990" y="1128881"/>
                </a:cubicBezTo>
                <a:cubicBezTo>
                  <a:pt x="4149734" y="1110949"/>
                  <a:pt x="4161440" y="1109019"/>
                  <a:pt x="4165434" y="1124687"/>
                </a:cubicBezTo>
                <a:cubicBezTo>
                  <a:pt x="4166987" y="1130780"/>
                  <a:pt x="4169593" y="1137190"/>
                  <a:pt x="4171225" y="1138931"/>
                </a:cubicBezTo>
                <a:cubicBezTo>
                  <a:pt x="4172858" y="1140671"/>
                  <a:pt x="4175524" y="1152580"/>
                  <a:pt x="4177151" y="1165392"/>
                </a:cubicBezTo>
                <a:cubicBezTo>
                  <a:pt x="4179716" y="1185600"/>
                  <a:pt x="4178500" y="1190847"/>
                  <a:pt x="4167975" y="1204976"/>
                </a:cubicBezTo>
                <a:cubicBezTo>
                  <a:pt x="4149740" y="1229454"/>
                  <a:pt x="4143811" y="1222224"/>
                  <a:pt x="4151601" y="1185009"/>
                </a:cubicBezTo>
                <a:cubicBezTo>
                  <a:pt x="4157255" y="1157992"/>
                  <a:pt x="4122446" y="1148532"/>
                  <a:pt x="4115472" y="1175190"/>
                </a:cubicBezTo>
                <a:cubicBezTo>
                  <a:pt x="4111829" y="1189114"/>
                  <a:pt x="4103120" y="1202239"/>
                  <a:pt x="4097522" y="1202239"/>
                </a:cubicBezTo>
                <a:cubicBezTo>
                  <a:pt x="4090898" y="1202239"/>
                  <a:pt x="4088241" y="1185964"/>
                  <a:pt x="4090938" y="1161908"/>
                </a:cubicBezTo>
                <a:cubicBezTo>
                  <a:pt x="4092778" y="1145484"/>
                  <a:pt x="4091040" y="1135021"/>
                  <a:pt x="4084144" y="1120998"/>
                </a:cubicBezTo>
                <a:cubicBezTo>
                  <a:pt x="4079047" y="1110635"/>
                  <a:pt x="4074877" y="1098965"/>
                  <a:pt x="4074877" y="1095063"/>
                </a:cubicBezTo>
                <a:cubicBezTo>
                  <a:pt x="4074877" y="1091163"/>
                  <a:pt x="4069744" y="1085145"/>
                  <a:pt x="4063469" y="1081691"/>
                </a:cubicBezTo>
                <a:cubicBezTo>
                  <a:pt x="4054637" y="1076829"/>
                  <a:pt x="4053151" y="1073513"/>
                  <a:pt x="4056887" y="1066994"/>
                </a:cubicBezTo>
                <a:cubicBezTo>
                  <a:pt x="4060299" y="1061044"/>
                  <a:pt x="4060487" y="1044568"/>
                  <a:pt x="4057531" y="1010814"/>
                </a:cubicBezTo>
                <a:cubicBezTo>
                  <a:pt x="4055058" y="982581"/>
                  <a:pt x="4054928" y="955081"/>
                  <a:pt x="4057210" y="943558"/>
                </a:cubicBezTo>
                <a:cubicBezTo>
                  <a:pt x="4059334" y="932835"/>
                  <a:pt x="4059619" y="916195"/>
                  <a:pt x="4057842" y="906579"/>
                </a:cubicBezTo>
                <a:cubicBezTo>
                  <a:pt x="4055189" y="892214"/>
                  <a:pt x="4051242" y="888129"/>
                  <a:pt x="4035718" y="883685"/>
                </a:cubicBezTo>
                <a:cubicBezTo>
                  <a:pt x="4015653" y="877940"/>
                  <a:pt x="4009486" y="883293"/>
                  <a:pt x="4009350" y="906575"/>
                </a:cubicBezTo>
                <a:cubicBezTo>
                  <a:pt x="4009314" y="912836"/>
                  <a:pt x="4004078" y="924439"/>
                  <a:pt x="3997719" y="932360"/>
                </a:cubicBezTo>
                <a:cubicBezTo>
                  <a:pt x="3987364" y="945255"/>
                  <a:pt x="3986526" y="949361"/>
                  <a:pt x="3989704" y="971623"/>
                </a:cubicBezTo>
                <a:cubicBezTo>
                  <a:pt x="3991655" y="985298"/>
                  <a:pt x="3992795" y="1000315"/>
                  <a:pt x="3992236" y="1004994"/>
                </a:cubicBezTo>
                <a:cubicBezTo>
                  <a:pt x="3991480" y="1011323"/>
                  <a:pt x="3994652" y="1012410"/>
                  <a:pt x="4004625" y="1009239"/>
                </a:cubicBezTo>
                <a:cubicBezTo>
                  <a:pt x="4014796" y="1006005"/>
                  <a:pt x="4018029" y="1007202"/>
                  <a:pt x="4018029" y="1014201"/>
                </a:cubicBezTo>
                <a:cubicBezTo>
                  <a:pt x="4018029" y="1019274"/>
                  <a:pt x="4020980" y="1026971"/>
                  <a:pt x="4024588" y="1031306"/>
                </a:cubicBezTo>
                <a:cubicBezTo>
                  <a:pt x="4028195" y="1035641"/>
                  <a:pt x="4031148" y="1045961"/>
                  <a:pt x="4031148" y="1054239"/>
                </a:cubicBezTo>
                <a:cubicBezTo>
                  <a:pt x="4031148" y="1062518"/>
                  <a:pt x="4033115" y="1069291"/>
                  <a:pt x="4035521" y="1069291"/>
                </a:cubicBezTo>
                <a:cubicBezTo>
                  <a:pt x="4037926" y="1069291"/>
                  <a:pt x="4039924" y="1074277"/>
                  <a:pt x="4039960" y="1080371"/>
                </a:cubicBezTo>
                <a:cubicBezTo>
                  <a:pt x="4040018" y="1089839"/>
                  <a:pt x="4040644" y="1090069"/>
                  <a:pt x="4044266" y="1081953"/>
                </a:cubicBezTo>
                <a:cubicBezTo>
                  <a:pt x="4046597" y="1076730"/>
                  <a:pt x="4048506" y="1075306"/>
                  <a:pt x="4048506" y="1078788"/>
                </a:cubicBezTo>
                <a:cubicBezTo>
                  <a:pt x="4048506" y="1082270"/>
                  <a:pt x="4046736" y="1089167"/>
                  <a:pt x="4044572" y="1094114"/>
                </a:cubicBezTo>
                <a:cubicBezTo>
                  <a:pt x="4041220" y="1101781"/>
                  <a:pt x="4038992" y="1101547"/>
                  <a:pt x="4029488" y="1092532"/>
                </a:cubicBezTo>
                <a:cubicBezTo>
                  <a:pt x="4015693" y="1079445"/>
                  <a:pt x="4007592" y="1079142"/>
                  <a:pt x="4000537" y="1091450"/>
                </a:cubicBezTo>
                <a:cubicBezTo>
                  <a:pt x="3996171" y="1099065"/>
                  <a:pt x="3996280" y="1103016"/>
                  <a:pt x="4001086" y="1111401"/>
                </a:cubicBezTo>
                <a:cubicBezTo>
                  <a:pt x="4005450" y="1119012"/>
                  <a:pt x="4006701" y="1137522"/>
                  <a:pt x="4005684" y="1179458"/>
                </a:cubicBezTo>
                <a:cubicBezTo>
                  <a:pt x="4004605" y="1223959"/>
                  <a:pt x="4005818" y="1239939"/>
                  <a:pt x="4011018" y="1249721"/>
                </a:cubicBezTo>
                <a:cubicBezTo>
                  <a:pt x="4014722" y="1256685"/>
                  <a:pt x="4017814" y="1270025"/>
                  <a:pt x="4017890" y="1279365"/>
                </a:cubicBezTo>
                <a:cubicBezTo>
                  <a:pt x="4018066" y="1300837"/>
                  <a:pt x="4033415" y="1310120"/>
                  <a:pt x="4041682" y="1293755"/>
                </a:cubicBezTo>
                <a:cubicBezTo>
                  <a:pt x="4047438" y="1282358"/>
                  <a:pt x="4046028" y="1255210"/>
                  <a:pt x="4039371" y="1249254"/>
                </a:cubicBezTo>
                <a:cubicBezTo>
                  <a:pt x="4037254" y="1247358"/>
                  <a:pt x="4035521" y="1236005"/>
                  <a:pt x="4035521" y="1224024"/>
                </a:cubicBezTo>
                <a:cubicBezTo>
                  <a:pt x="4035521" y="1205626"/>
                  <a:pt x="4037056" y="1202239"/>
                  <a:pt x="4045401" y="1202239"/>
                </a:cubicBezTo>
                <a:cubicBezTo>
                  <a:pt x="4057146" y="1202239"/>
                  <a:pt x="4064388" y="1217175"/>
                  <a:pt x="4068670" y="1250220"/>
                </a:cubicBezTo>
                <a:cubicBezTo>
                  <a:pt x="4070396" y="1263538"/>
                  <a:pt x="4073870" y="1277631"/>
                  <a:pt x="4076391" y="1281537"/>
                </a:cubicBezTo>
                <a:cubicBezTo>
                  <a:pt x="4081652" y="1289690"/>
                  <a:pt x="4102235" y="1285958"/>
                  <a:pt x="4098627" y="1277505"/>
                </a:cubicBezTo>
                <a:cubicBezTo>
                  <a:pt x="4097315" y="1274432"/>
                  <a:pt x="4101765" y="1274842"/>
                  <a:pt x="4108517" y="1278416"/>
                </a:cubicBezTo>
                <a:cubicBezTo>
                  <a:pt x="4115269" y="1281992"/>
                  <a:pt x="4123474" y="1286290"/>
                  <a:pt x="4126752" y="1287969"/>
                </a:cubicBezTo>
                <a:cubicBezTo>
                  <a:pt x="4131236" y="1290267"/>
                  <a:pt x="4131496" y="1293137"/>
                  <a:pt x="4127806" y="1299575"/>
                </a:cubicBezTo>
                <a:cubicBezTo>
                  <a:pt x="4123857" y="1306464"/>
                  <a:pt x="4125038" y="1307538"/>
                  <a:pt x="4133874" y="1305093"/>
                </a:cubicBezTo>
                <a:cubicBezTo>
                  <a:pt x="4142564" y="1302688"/>
                  <a:pt x="4144844" y="1298264"/>
                  <a:pt x="4144844" y="1283803"/>
                </a:cubicBezTo>
                <a:cubicBezTo>
                  <a:pt x="4144844" y="1269988"/>
                  <a:pt x="4146897" y="1265548"/>
                  <a:pt x="4153286" y="1265548"/>
                </a:cubicBezTo>
                <a:cubicBezTo>
                  <a:pt x="4158698" y="1265548"/>
                  <a:pt x="4162229" y="1270637"/>
                  <a:pt x="4163125" y="1279728"/>
                </a:cubicBezTo>
                <a:cubicBezTo>
                  <a:pt x="4163894" y="1287527"/>
                  <a:pt x="4168126" y="1294902"/>
                  <a:pt x="4172531" y="1296118"/>
                </a:cubicBezTo>
                <a:cubicBezTo>
                  <a:pt x="4184376" y="1299388"/>
                  <a:pt x="4195852" y="1278682"/>
                  <a:pt x="4193740" y="1257851"/>
                </a:cubicBezTo>
                <a:cubicBezTo>
                  <a:pt x="4192698" y="1247574"/>
                  <a:pt x="4193984" y="1240225"/>
                  <a:pt x="4196823" y="1240225"/>
                </a:cubicBezTo>
                <a:cubicBezTo>
                  <a:pt x="4199501" y="1240225"/>
                  <a:pt x="4201692" y="1235951"/>
                  <a:pt x="4201692" y="1230729"/>
                </a:cubicBezTo>
                <a:cubicBezTo>
                  <a:pt x="4201692" y="1224953"/>
                  <a:pt x="4205761" y="1221232"/>
                  <a:pt x="4212078" y="1221232"/>
                </a:cubicBezTo>
                <a:cubicBezTo>
                  <a:pt x="4220211" y="1221232"/>
                  <a:pt x="4223056" y="1225522"/>
                  <a:pt x="4225197" y="1241016"/>
                </a:cubicBezTo>
                <a:cubicBezTo>
                  <a:pt x="4226700" y="1251897"/>
                  <a:pt x="4227930" y="1266397"/>
                  <a:pt x="4227930" y="1273238"/>
                </a:cubicBezTo>
                <a:cubicBezTo>
                  <a:pt x="4227930" y="1280079"/>
                  <a:pt x="4231767" y="1290406"/>
                  <a:pt x="4236457" y="1296187"/>
                </a:cubicBezTo>
                <a:cubicBezTo>
                  <a:pt x="4245384" y="1307189"/>
                  <a:pt x="4252446" y="1346846"/>
                  <a:pt x="4258151" y="1418012"/>
                </a:cubicBezTo>
                <a:cubicBezTo>
                  <a:pt x="4259989" y="1440933"/>
                  <a:pt x="4262713" y="1462544"/>
                  <a:pt x="4264204" y="1466038"/>
                </a:cubicBezTo>
                <a:cubicBezTo>
                  <a:pt x="4268527" y="1476166"/>
                  <a:pt x="4284247" y="1471595"/>
                  <a:pt x="4291061" y="1458229"/>
                </a:cubicBezTo>
                <a:cubicBezTo>
                  <a:pt x="4295881" y="1448777"/>
                  <a:pt x="4298507" y="1447689"/>
                  <a:pt x="4302556" y="1453466"/>
                </a:cubicBezTo>
                <a:cubicBezTo>
                  <a:pt x="4310667" y="1465041"/>
                  <a:pt x="4304179" y="1479710"/>
                  <a:pt x="4288263" y="1485776"/>
                </a:cubicBezTo>
                <a:lnTo>
                  <a:pt x="4273845" y="1491271"/>
                </a:lnTo>
                <a:lnTo>
                  <a:pt x="4274670" y="1576119"/>
                </a:lnTo>
                <a:cubicBezTo>
                  <a:pt x="4275187" y="1629302"/>
                  <a:pt x="4277226" y="1661803"/>
                  <a:pt x="4280135" y="1663208"/>
                </a:cubicBezTo>
                <a:cubicBezTo>
                  <a:pt x="4282689" y="1664439"/>
                  <a:pt x="4284786" y="1677318"/>
                  <a:pt x="4284796" y="1691826"/>
                </a:cubicBezTo>
                <a:cubicBezTo>
                  <a:pt x="4284805" y="1707440"/>
                  <a:pt x="4289315" y="1731050"/>
                  <a:pt x="4295844" y="1749682"/>
                </a:cubicBezTo>
                <a:cubicBezTo>
                  <a:pt x="4304028" y="1773035"/>
                  <a:pt x="4307579" y="1795505"/>
                  <a:pt x="4309600" y="1836731"/>
                </a:cubicBezTo>
                <a:cubicBezTo>
                  <a:pt x="4311099" y="1867296"/>
                  <a:pt x="4314087" y="1892303"/>
                  <a:pt x="4316241" y="1892303"/>
                </a:cubicBezTo>
                <a:cubicBezTo>
                  <a:pt x="4320687" y="1892303"/>
                  <a:pt x="4317040" y="1930980"/>
                  <a:pt x="4310107" y="1957356"/>
                </a:cubicBezTo>
                <a:cubicBezTo>
                  <a:pt x="4306458" y="1971241"/>
                  <a:pt x="4306914" y="1977217"/>
                  <a:pt x="4312284" y="1985845"/>
                </a:cubicBezTo>
                <a:cubicBezTo>
                  <a:pt x="4316021" y="1991849"/>
                  <a:pt x="4320430" y="2004597"/>
                  <a:pt x="4322081" y="2014172"/>
                </a:cubicBezTo>
                <a:cubicBezTo>
                  <a:pt x="4323731" y="2023747"/>
                  <a:pt x="4326836" y="2031582"/>
                  <a:pt x="4328981" y="2031582"/>
                </a:cubicBezTo>
                <a:cubicBezTo>
                  <a:pt x="4331125" y="2031582"/>
                  <a:pt x="4332880" y="2036931"/>
                  <a:pt x="4332880" y="2043469"/>
                </a:cubicBezTo>
                <a:cubicBezTo>
                  <a:pt x="4332880" y="2063669"/>
                  <a:pt x="4342559" y="2069939"/>
                  <a:pt x="4353651" y="2056924"/>
                </a:cubicBezTo>
                <a:cubicBezTo>
                  <a:pt x="4359063" y="2050574"/>
                  <a:pt x="4363490" y="2040761"/>
                  <a:pt x="4363490" y="2035116"/>
                </a:cubicBezTo>
                <a:cubicBezTo>
                  <a:pt x="4363490" y="2025830"/>
                  <a:pt x="4374965" y="2013985"/>
                  <a:pt x="4378404" y="2019721"/>
                </a:cubicBezTo>
                <a:cubicBezTo>
                  <a:pt x="4382680" y="2026854"/>
                  <a:pt x="4384603" y="2067785"/>
                  <a:pt x="4381043" y="2075898"/>
                </a:cubicBezTo>
                <a:cubicBezTo>
                  <a:pt x="4377629" y="2083677"/>
                  <a:pt x="4375302" y="2083981"/>
                  <a:pt x="4368169" y="2077583"/>
                </a:cubicBezTo>
                <a:cubicBezTo>
                  <a:pt x="4363381" y="2073287"/>
                  <a:pt x="4356207" y="2071582"/>
                  <a:pt x="4352226" y="2073792"/>
                </a:cubicBezTo>
                <a:cubicBezTo>
                  <a:pt x="4346268" y="2077103"/>
                  <a:pt x="4345547" y="2082948"/>
                  <a:pt x="4348141" y="2106926"/>
                </a:cubicBezTo>
                <a:cubicBezTo>
                  <a:pt x="4349873" y="2122939"/>
                  <a:pt x="4351206" y="2141026"/>
                  <a:pt x="4351103" y="2147120"/>
                </a:cubicBezTo>
                <a:cubicBezTo>
                  <a:pt x="4351000" y="2153213"/>
                  <a:pt x="4352761" y="2158199"/>
                  <a:pt x="4355016" y="2158199"/>
                </a:cubicBezTo>
                <a:cubicBezTo>
                  <a:pt x="4357271" y="2158199"/>
                  <a:pt x="4359117" y="2162472"/>
                  <a:pt x="4359117" y="2167695"/>
                </a:cubicBezTo>
                <a:cubicBezTo>
                  <a:pt x="4359117" y="2172918"/>
                  <a:pt x="4361085" y="2177191"/>
                  <a:pt x="4363490" y="2177191"/>
                </a:cubicBezTo>
                <a:cubicBezTo>
                  <a:pt x="4369461" y="2177191"/>
                  <a:pt x="4369033" y="2204620"/>
                  <a:pt x="4362923" y="2213465"/>
                </a:cubicBezTo>
                <a:cubicBezTo>
                  <a:pt x="4360191" y="2217421"/>
                  <a:pt x="4356771" y="2253115"/>
                  <a:pt x="4355271" y="2293337"/>
                </a:cubicBezTo>
                <a:cubicBezTo>
                  <a:pt x="4352827" y="2358834"/>
                  <a:pt x="4353334" y="2366758"/>
                  <a:pt x="4360370" y="2373116"/>
                </a:cubicBezTo>
                <a:cubicBezTo>
                  <a:pt x="4372985" y="2384514"/>
                  <a:pt x="4377570" y="2409853"/>
                  <a:pt x="4371450" y="2434355"/>
                </a:cubicBezTo>
                <a:cubicBezTo>
                  <a:pt x="4368511" y="2446121"/>
                  <a:pt x="4364534" y="2455749"/>
                  <a:pt x="4362612" y="2455749"/>
                </a:cubicBezTo>
                <a:cubicBezTo>
                  <a:pt x="4357631" y="2455749"/>
                  <a:pt x="4358275" y="2489982"/>
                  <a:pt x="4363396" y="2497396"/>
                </a:cubicBezTo>
                <a:cubicBezTo>
                  <a:pt x="4365748" y="2500803"/>
                  <a:pt x="4368713" y="2547510"/>
                  <a:pt x="4369984" y="2601191"/>
                </a:cubicBezTo>
                <a:cubicBezTo>
                  <a:pt x="4371255" y="2654871"/>
                  <a:pt x="4374095" y="2700403"/>
                  <a:pt x="4376297" y="2702374"/>
                </a:cubicBezTo>
                <a:cubicBezTo>
                  <a:pt x="4378499" y="2704344"/>
                  <a:pt x="4381707" y="2733701"/>
                  <a:pt x="4383427" y="2767613"/>
                </a:cubicBezTo>
                <a:cubicBezTo>
                  <a:pt x="4385146" y="2801524"/>
                  <a:pt x="4388251" y="2829270"/>
                  <a:pt x="4390327" y="2829270"/>
                </a:cubicBezTo>
                <a:cubicBezTo>
                  <a:pt x="4392403" y="2829270"/>
                  <a:pt x="4394101" y="2840524"/>
                  <a:pt x="4394101" y="2854279"/>
                </a:cubicBezTo>
                <a:cubicBezTo>
                  <a:pt x="4394101" y="2870956"/>
                  <a:pt x="4396509" y="2881239"/>
                  <a:pt x="4401330" y="2885145"/>
                </a:cubicBezTo>
                <a:cubicBezTo>
                  <a:pt x="4407551" y="2890184"/>
                  <a:pt x="4407887" y="2894843"/>
                  <a:pt x="4403735" y="2918518"/>
                </a:cubicBezTo>
                <a:cubicBezTo>
                  <a:pt x="4401082" y="2933652"/>
                  <a:pt x="4400307" y="2947539"/>
                  <a:pt x="4402014" y="2949378"/>
                </a:cubicBezTo>
                <a:cubicBezTo>
                  <a:pt x="4403720" y="2951217"/>
                  <a:pt x="4408989" y="2963405"/>
                  <a:pt x="4413722" y="2976462"/>
                </a:cubicBezTo>
                <a:cubicBezTo>
                  <a:pt x="4422755" y="3001383"/>
                  <a:pt x="4428254" y="3005204"/>
                  <a:pt x="4436955" y="2992606"/>
                </a:cubicBezTo>
                <a:cubicBezTo>
                  <a:pt x="4443008" y="2983844"/>
                  <a:pt x="4444037" y="2962218"/>
                  <a:pt x="4438402" y="2962218"/>
                </a:cubicBezTo>
                <a:cubicBezTo>
                  <a:pt x="4436311" y="2962218"/>
                  <a:pt x="4433493" y="2952336"/>
                  <a:pt x="4432140" y="2940257"/>
                </a:cubicBezTo>
                <a:cubicBezTo>
                  <a:pt x="4430785" y="2928178"/>
                  <a:pt x="4425583" y="2911933"/>
                  <a:pt x="4420579" y="2904157"/>
                </a:cubicBezTo>
                <a:lnTo>
                  <a:pt x="4411480" y="2890017"/>
                </a:lnTo>
                <a:lnTo>
                  <a:pt x="4423561" y="2875699"/>
                </a:lnTo>
                <a:cubicBezTo>
                  <a:pt x="4437451" y="2859237"/>
                  <a:pt x="4451949" y="2856909"/>
                  <a:pt x="4459419" y="2869941"/>
                </a:cubicBezTo>
                <a:cubicBezTo>
                  <a:pt x="4465644" y="2880798"/>
                  <a:pt x="4461173" y="2922996"/>
                  <a:pt x="4452464" y="2935605"/>
                </a:cubicBezTo>
                <a:cubicBezTo>
                  <a:pt x="4446070" y="2944861"/>
                  <a:pt x="4444467" y="2962218"/>
                  <a:pt x="4450005" y="2962218"/>
                </a:cubicBezTo>
                <a:cubicBezTo>
                  <a:pt x="4451892" y="2962218"/>
                  <a:pt x="4457000" y="2970952"/>
                  <a:pt x="4461356" y="2981627"/>
                </a:cubicBezTo>
                <a:cubicBezTo>
                  <a:pt x="4468620" y="2999432"/>
                  <a:pt x="4468698" y="3001959"/>
                  <a:pt x="4462298" y="3012197"/>
                </a:cubicBezTo>
                <a:cubicBezTo>
                  <a:pt x="4454880" y="3024065"/>
                  <a:pt x="4453231" y="3039382"/>
                  <a:pt x="4458544" y="3047075"/>
                </a:cubicBezTo>
                <a:cubicBezTo>
                  <a:pt x="4460317" y="3049641"/>
                  <a:pt x="4464114" y="3071903"/>
                  <a:pt x="4466982" y="3096545"/>
                </a:cubicBezTo>
                <a:cubicBezTo>
                  <a:pt x="4469850" y="3121186"/>
                  <a:pt x="4474231" y="3143169"/>
                  <a:pt x="4476717" y="3145393"/>
                </a:cubicBezTo>
                <a:cubicBezTo>
                  <a:pt x="4479207" y="3147621"/>
                  <a:pt x="4481629" y="3176354"/>
                  <a:pt x="4482109" y="3209351"/>
                </a:cubicBezTo>
                <a:cubicBezTo>
                  <a:pt x="4482824" y="3258484"/>
                  <a:pt x="4484503" y="3271734"/>
                  <a:pt x="4491442" y="3282990"/>
                </a:cubicBezTo>
                <a:cubicBezTo>
                  <a:pt x="4497783" y="3293278"/>
                  <a:pt x="4499162" y="3301605"/>
                  <a:pt x="4496943" y="3316228"/>
                </a:cubicBezTo>
                <a:cubicBezTo>
                  <a:pt x="4493270" y="3340439"/>
                  <a:pt x="4483514" y="3341615"/>
                  <a:pt x="4479522" y="3318328"/>
                </a:cubicBezTo>
                <a:cubicBezTo>
                  <a:pt x="4476154" y="3298680"/>
                  <a:pt x="4460893" y="3272430"/>
                  <a:pt x="4452840" y="3272430"/>
                </a:cubicBezTo>
                <a:cubicBezTo>
                  <a:pt x="4446154" y="3272430"/>
                  <a:pt x="4442203" y="3286899"/>
                  <a:pt x="4442203" y="3311385"/>
                </a:cubicBezTo>
                <a:cubicBezTo>
                  <a:pt x="4442203" y="3321795"/>
                  <a:pt x="4439184" y="3334682"/>
                  <a:pt x="4435495" y="3340023"/>
                </a:cubicBezTo>
                <a:cubicBezTo>
                  <a:pt x="4431661" y="3345574"/>
                  <a:pt x="4429909" y="3354850"/>
                  <a:pt x="4431405" y="3361676"/>
                </a:cubicBezTo>
                <a:cubicBezTo>
                  <a:pt x="4433651" y="3371920"/>
                  <a:pt x="4432582" y="3372853"/>
                  <a:pt x="4423901" y="3368237"/>
                </a:cubicBezTo>
                <a:cubicBezTo>
                  <a:pt x="4415737" y="3363896"/>
                  <a:pt x="4413356" y="3356944"/>
                  <a:pt x="4411592" y="3332307"/>
                </a:cubicBezTo>
                <a:cubicBezTo>
                  <a:pt x="4409698" y="3305849"/>
                  <a:pt x="4407865" y="3301168"/>
                  <a:pt x="4397896" y="3297338"/>
                </a:cubicBezTo>
                <a:cubicBezTo>
                  <a:pt x="4391566" y="3294906"/>
                  <a:pt x="4384072" y="3294987"/>
                  <a:pt x="4381244" y="3297518"/>
                </a:cubicBezTo>
                <a:cubicBezTo>
                  <a:pt x="4374953" y="3303147"/>
                  <a:pt x="4379280" y="3332143"/>
                  <a:pt x="4387970" y="3342585"/>
                </a:cubicBezTo>
                <a:cubicBezTo>
                  <a:pt x="4395032" y="3351070"/>
                  <a:pt x="4396573" y="3411709"/>
                  <a:pt x="4389728" y="3411709"/>
                </a:cubicBezTo>
                <a:cubicBezTo>
                  <a:pt x="4387322" y="3411709"/>
                  <a:pt x="4385355" y="3423104"/>
                  <a:pt x="4385355" y="3437032"/>
                </a:cubicBezTo>
                <a:cubicBezTo>
                  <a:pt x="4385355" y="3450960"/>
                  <a:pt x="4387322" y="3462355"/>
                  <a:pt x="4389728" y="3462355"/>
                </a:cubicBezTo>
                <a:cubicBezTo>
                  <a:pt x="4392133" y="3462355"/>
                  <a:pt x="4394101" y="3469316"/>
                  <a:pt x="4394101" y="3477824"/>
                </a:cubicBezTo>
                <a:cubicBezTo>
                  <a:pt x="4394101" y="3486331"/>
                  <a:pt x="4398166" y="3497414"/>
                  <a:pt x="4403134" y="3502453"/>
                </a:cubicBezTo>
                <a:cubicBezTo>
                  <a:pt x="4410497" y="3509918"/>
                  <a:pt x="4411638" y="3515708"/>
                  <a:pt x="4409301" y="3533741"/>
                </a:cubicBezTo>
                <a:cubicBezTo>
                  <a:pt x="4407513" y="3547540"/>
                  <a:pt x="4408278" y="3557518"/>
                  <a:pt x="4411334" y="3560252"/>
                </a:cubicBezTo>
                <a:cubicBezTo>
                  <a:pt x="4414360" y="3562961"/>
                  <a:pt x="4415160" y="3572918"/>
                  <a:pt x="4413426" y="3586301"/>
                </a:cubicBezTo>
                <a:cubicBezTo>
                  <a:pt x="4411232" y="3603235"/>
                  <a:pt x="4412068" y="3607965"/>
                  <a:pt x="4417255" y="3607965"/>
                </a:cubicBezTo>
                <a:cubicBezTo>
                  <a:pt x="4421739" y="3607965"/>
                  <a:pt x="4423150" y="3612073"/>
                  <a:pt x="4421605" y="3620627"/>
                </a:cubicBezTo>
                <a:cubicBezTo>
                  <a:pt x="4420347" y="3627590"/>
                  <a:pt x="4416534" y="3633289"/>
                  <a:pt x="4413131" y="3633289"/>
                </a:cubicBezTo>
                <a:cubicBezTo>
                  <a:pt x="4409728" y="3633289"/>
                  <a:pt x="4405812" y="3637562"/>
                  <a:pt x="4404428" y="3642785"/>
                </a:cubicBezTo>
                <a:cubicBezTo>
                  <a:pt x="4403043" y="3648008"/>
                  <a:pt x="4398186" y="3652281"/>
                  <a:pt x="4393632" y="3652281"/>
                </a:cubicBezTo>
                <a:cubicBezTo>
                  <a:pt x="4387073" y="3652281"/>
                  <a:pt x="4385355" y="3647639"/>
                  <a:pt x="4385355" y="3629925"/>
                </a:cubicBezTo>
                <a:cubicBezTo>
                  <a:pt x="4385355" y="3615892"/>
                  <a:pt x="4387797" y="3606211"/>
                  <a:pt x="4391914" y="3603924"/>
                </a:cubicBezTo>
                <a:cubicBezTo>
                  <a:pt x="4395522" y="3601919"/>
                  <a:pt x="4398473" y="3593562"/>
                  <a:pt x="4398473" y="3585352"/>
                </a:cubicBezTo>
                <a:cubicBezTo>
                  <a:pt x="4398473" y="3569607"/>
                  <a:pt x="4387338" y="3557318"/>
                  <a:pt x="4373070" y="3557318"/>
                </a:cubicBezTo>
                <a:cubicBezTo>
                  <a:pt x="4363359" y="3557318"/>
                  <a:pt x="4356613" y="3524686"/>
                  <a:pt x="4362940" y="3508318"/>
                </a:cubicBezTo>
                <a:cubicBezTo>
                  <a:pt x="4365415" y="3501914"/>
                  <a:pt x="4364319" y="3494494"/>
                  <a:pt x="4359759" y="3486782"/>
                </a:cubicBezTo>
                <a:cubicBezTo>
                  <a:pt x="4351128" y="3472190"/>
                  <a:pt x="4342550" y="3471843"/>
                  <a:pt x="4332004" y="3485660"/>
                </a:cubicBezTo>
                <a:cubicBezTo>
                  <a:pt x="4324352" y="3495687"/>
                  <a:pt x="4323493" y="3495504"/>
                  <a:pt x="4317200" y="3482495"/>
                </a:cubicBezTo>
                <a:cubicBezTo>
                  <a:pt x="4308990" y="3465526"/>
                  <a:pt x="4299650" y="3464775"/>
                  <a:pt x="4293795" y="3480613"/>
                </a:cubicBezTo>
                <a:cubicBezTo>
                  <a:pt x="4290442" y="3489683"/>
                  <a:pt x="4291971" y="3499914"/>
                  <a:pt x="4300183" y="3523346"/>
                </a:cubicBezTo>
                <a:cubicBezTo>
                  <a:pt x="4306120" y="3540290"/>
                  <a:pt x="4310987" y="3560395"/>
                  <a:pt x="4310997" y="3568024"/>
                </a:cubicBezTo>
                <a:cubicBezTo>
                  <a:pt x="4311006" y="3575652"/>
                  <a:pt x="4313015" y="3583684"/>
                  <a:pt x="4315459" y="3585871"/>
                </a:cubicBezTo>
                <a:cubicBezTo>
                  <a:pt x="4322971" y="3592592"/>
                  <a:pt x="4315546" y="3601634"/>
                  <a:pt x="4302514" y="3601634"/>
                </a:cubicBezTo>
                <a:cubicBezTo>
                  <a:pt x="4288527" y="3601634"/>
                  <a:pt x="4275275" y="3578803"/>
                  <a:pt x="4271659" y="3548478"/>
                </a:cubicBezTo>
                <a:cubicBezTo>
                  <a:pt x="4269223" y="3528055"/>
                  <a:pt x="4254451" y="3510564"/>
                  <a:pt x="4251054" y="3524081"/>
                </a:cubicBezTo>
                <a:cubicBezTo>
                  <a:pt x="4247155" y="3539593"/>
                  <a:pt x="4236675" y="3532372"/>
                  <a:pt x="4236675" y="3514175"/>
                </a:cubicBezTo>
                <a:cubicBezTo>
                  <a:pt x="4236675" y="3500042"/>
                  <a:pt x="4233508" y="3494168"/>
                  <a:pt x="4221370" y="3485789"/>
                </a:cubicBezTo>
                <a:cubicBezTo>
                  <a:pt x="4212952" y="3479977"/>
                  <a:pt x="4206065" y="3471169"/>
                  <a:pt x="4206065" y="3466216"/>
                </a:cubicBezTo>
                <a:cubicBezTo>
                  <a:pt x="4206065" y="3460319"/>
                  <a:pt x="4203038" y="3458355"/>
                  <a:pt x="4197295" y="3460530"/>
                </a:cubicBezTo>
                <a:cubicBezTo>
                  <a:pt x="4192472" y="3462356"/>
                  <a:pt x="4185586" y="3460316"/>
                  <a:pt x="4181991" y="3455997"/>
                </a:cubicBezTo>
                <a:cubicBezTo>
                  <a:pt x="4176441" y="3449329"/>
                  <a:pt x="4175454" y="3450970"/>
                  <a:pt x="4175454" y="3466856"/>
                </a:cubicBezTo>
                <a:cubicBezTo>
                  <a:pt x="4175454" y="3491796"/>
                  <a:pt x="4172119" y="3495286"/>
                  <a:pt x="4159615" y="3483426"/>
                </a:cubicBezTo>
                <a:cubicBezTo>
                  <a:pt x="4151211" y="3475452"/>
                  <a:pt x="4145688" y="3474774"/>
                  <a:pt x="4131533" y="3479975"/>
                </a:cubicBezTo>
                <a:cubicBezTo>
                  <a:pt x="4114648" y="3486180"/>
                  <a:pt x="4114037" y="3485884"/>
                  <a:pt x="4116891" y="3472870"/>
                </a:cubicBezTo>
                <a:cubicBezTo>
                  <a:pt x="4119527" y="3460840"/>
                  <a:pt x="4119047" y="3460276"/>
                  <a:pt x="4112678" y="3467929"/>
                </a:cubicBezTo>
                <a:cubicBezTo>
                  <a:pt x="4104758" y="3477444"/>
                  <a:pt x="4102969" y="3494010"/>
                  <a:pt x="4109861" y="3494010"/>
                </a:cubicBezTo>
                <a:cubicBezTo>
                  <a:pt x="4116533" y="3494010"/>
                  <a:pt x="4115068" y="3523551"/>
                  <a:pt x="4107881" y="3533957"/>
                </a:cubicBezTo>
                <a:cubicBezTo>
                  <a:pt x="4100407" y="3544778"/>
                  <a:pt x="4102028" y="3595604"/>
                  <a:pt x="4111751" y="3655281"/>
                </a:cubicBezTo>
                <a:cubicBezTo>
                  <a:pt x="4115140" y="3676081"/>
                  <a:pt x="4116973" y="3695300"/>
                  <a:pt x="4115825" y="3697990"/>
                </a:cubicBezTo>
                <a:cubicBezTo>
                  <a:pt x="4114676" y="3700681"/>
                  <a:pt x="4107924" y="3698531"/>
                  <a:pt x="4100821" y="3693212"/>
                </a:cubicBezTo>
                <a:cubicBezTo>
                  <a:pt x="4091076" y="3685916"/>
                  <a:pt x="4088184" y="3685533"/>
                  <a:pt x="4089044" y="3691653"/>
                </a:cubicBezTo>
                <a:cubicBezTo>
                  <a:pt x="4089670" y="3696113"/>
                  <a:pt x="4086739" y="3699367"/>
                  <a:pt x="4082530" y="3698884"/>
                </a:cubicBezTo>
                <a:cubicBezTo>
                  <a:pt x="4073802" y="3697881"/>
                  <a:pt x="4072115" y="3706871"/>
                  <a:pt x="4080291" y="3710817"/>
                </a:cubicBezTo>
                <a:cubicBezTo>
                  <a:pt x="4084569" y="3712881"/>
                  <a:pt x="4084588" y="3716981"/>
                  <a:pt x="4080385" y="3730337"/>
                </a:cubicBezTo>
                <a:cubicBezTo>
                  <a:pt x="4073328" y="3752763"/>
                  <a:pt x="4066131" y="3751823"/>
                  <a:pt x="4066131" y="3728475"/>
                </a:cubicBezTo>
                <a:cubicBezTo>
                  <a:pt x="4066131" y="3716097"/>
                  <a:pt x="4063111" y="3707364"/>
                  <a:pt x="4057262" y="3702834"/>
                </a:cubicBezTo>
                <a:cubicBezTo>
                  <a:pt x="4052386" y="3699054"/>
                  <a:pt x="4049550" y="3693256"/>
                  <a:pt x="4050961" y="3689949"/>
                </a:cubicBezTo>
                <a:cubicBezTo>
                  <a:pt x="4052374" y="3686641"/>
                  <a:pt x="4051925" y="3683935"/>
                  <a:pt x="4049965" y="3683935"/>
                </a:cubicBezTo>
                <a:cubicBezTo>
                  <a:pt x="4048005" y="3683935"/>
                  <a:pt x="4043619" y="3674838"/>
                  <a:pt x="4040220" y="3663718"/>
                </a:cubicBezTo>
                <a:cubicBezTo>
                  <a:pt x="4035659" y="3648798"/>
                  <a:pt x="4035379" y="3642854"/>
                  <a:pt x="4039152" y="3641032"/>
                </a:cubicBezTo>
                <a:cubicBezTo>
                  <a:pt x="4047499" y="3637004"/>
                  <a:pt x="4045039" y="3623665"/>
                  <a:pt x="4032349" y="3604142"/>
                </a:cubicBezTo>
                <a:cubicBezTo>
                  <a:pt x="4025795" y="3594058"/>
                  <a:pt x="4020937" y="3583403"/>
                  <a:pt x="4021554" y="3580466"/>
                </a:cubicBezTo>
                <a:cubicBezTo>
                  <a:pt x="4022171" y="3577528"/>
                  <a:pt x="4020172" y="3576331"/>
                  <a:pt x="4017114" y="3577808"/>
                </a:cubicBezTo>
                <a:cubicBezTo>
                  <a:pt x="4014056" y="3579284"/>
                  <a:pt x="4009389" y="3591658"/>
                  <a:pt x="4006744" y="3605307"/>
                </a:cubicBezTo>
                <a:cubicBezTo>
                  <a:pt x="4004099" y="3618956"/>
                  <a:pt x="3999454" y="3630123"/>
                  <a:pt x="3996422" y="3630123"/>
                </a:cubicBezTo>
                <a:cubicBezTo>
                  <a:pt x="3990802" y="3630123"/>
                  <a:pt x="3981850" y="3596880"/>
                  <a:pt x="3976929" y="3557734"/>
                </a:cubicBezTo>
                <a:cubicBezTo>
                  <a:pt x="3975426" y="3545775"/>
                  <a:pt x="3970962" y="3530818"/>
                  <a:pt x="3967010" y="3524497"/>
                </a:cubicBezTo>
                <a:cubicBezTo>
                  <a:pt x="3958306" y="3510570"/>
                  <a:pt x="3940001" y="3509385"/>
                  <a:pt x="3936518" y="3522521"/>
                </a:cubicBezTo>
                <a:cubicBezTo>
                  <a:pt x="3933561" y="3533681"/>
                  <a:pt x="3950462" y="3588973"/>
                  <a:pt x="3956830" y="3588973"/>
                </a:cubicBezTo>
                <a:cubicBezTo>
                  <a:pt x="3959223" y="3588973"/>
                  <a:pt x="3961181" y="3595657"/>
                  <a:pt x="3961181" y="3603827"/>
                </a:cubicBezTo>
                <a:cubicBezTo>
                  <a:pt x="3961181" y="3619866"/>
                  <a:pt x="3973035" y="3658612"/>
                  <a:pt x="3977941" y="3658612"/>
                </a:cubicBezTo>
                <a:cubicBezTo>
                  <a:pt x="3985899" y="3658612"/>
                  <a:pt x="3992240" y="3686672"/>
                  <a:pt x="3989531" y="3709893"/>
                </a:cubicBezTo>
                <a:cubicBezTo>
                  <a:pt x="3986582" y="3735163"/>
                  <a:pt x="3978673" y="3744302"/>
                  <a:pt x="3978673" y="3722438"/>
                </a:cubicBezTo>
                <a:cubicBezTo>
                  <a:pt x="3978673" y="3700687"/>
                  <a:pt x="3973564" y="3690266"/>
                  <a:pt x="3962900" y="3690266"/>
                </a:cubicBezTo>
                <a:cubicBezTo>
                  <a:pt x="3957144" y="3690266"/>
                  <a:pt x="3952435" y="3687472"/>
                  <a:pt x="3952435" y="3684056"/>
                </a:cubicBezTo>
                <a:cubicBezTo>
                  <a:pt x="3952435" y="3680641"/>
                  <a:pt x="3947777" y="3676154"/>
                  <a:pt x="3942083" y="3674084"/>
                </a:cubicBezTo>
                <a:cubicBezTo>
                  <a:pt x="3934704" y="3671403"/>
                  <a:pt x="3928399" y="3674792"/>
                  <a:pt x="3920131" y="3685884"/>
                </a:cubicBezTo>
                <a:cubicBezTo>
                  <a:pt x="3909683" y="3699904"/>
                  <a:pt x="3909042" y="3703246"/>
                  <a:pt x="3913664" y="3719597"/>
                </a:cubicBezTo>
                <a:cubicBezTo>
                  <a:pt x="3916487" y="3729580"/>
                  <a:pt x="3919379" y="3740597"/>
                  <a:pt x="3920091" y="3744079"/>
                </a:cubicBezTo>
                <a:cubicBezTo>
                  <a:pt x="3920802" y="3747560"/>
                  <a:pt x="3922697" y="3756820"/>
                  <a:pt x="3924301" y="3764654"/>
                </a:cubicBezTo>
                <a:cubicBezTo>
                  <a:pt x="3926643" y="3776090"/>
                  <a:pt x="3925490" y="3778898"/>
                  <a:pt x="3918458" y="3778898"/>
                </a:cubicBezTo>
                <a:cubicBezTo>
                  <a:pt x="3911412" y="3778898"/>
                  <a:pt x="3909114" y="3773252"/>
                  <a:pt x="3906709" y="3750028"/>
                </a:cubicBezTo>
                <a:cubicBezTo>
                  <a:pt x="3904118" y="3725019"/>
                  <a:pt x="3902442" y="3721419"/>
                  <a:pt x="3894186" y="3723122"/>
                </a:cubicBezTo>
                <a:cubicBezTo>
                  <a:pt x="3888079" y="3724380"/>
                  <a:pt x="3884139" y="3730344"/>
                  <a:pt x="3883222" y="3739717"/>
                </a:cubicBezTo>
                <a:cubicBezTo>
                  <a:pt x="3882435" y="3747765"/>
                  <a:pt x="3879004" y="3755896"/>
                  <a:pt x="3875601" y="3757787"/>
                </a:cubicBezTo>
                <a:cubicBezTo>
                  <a:pt x="3871514" y="3760058"/>
                  <a:pt x="3870305" y="3766378"/>
                  <a:pt x="3872041" y="3776393"/>
                </a:cubicBezTo>
                <a:cubicBezTo>
                  <a:pt x="3874722" y="3791853"/>
                  <a:pt x="3867240" y="3798390"/>
                  <a:pt x="3863739" y="3783647"/>
                </a:cubicBezTo>
                <a:cubicBezTo>
                  <a:pt x="3862704" y="3779294"/>
                  <a:pt x="3862320" y="3780006"/>
                  <a:pt x="3862885" y="3785229"/>
                </a:cubicBezTo>
                <a:cubicBezTo>
                  <a:pt x="3865164" y="3806327"/>
                  <a:pt x="3867477" y="3814146"/>
                  <a:pt x="3874122" y="3823214"/>
                </a:cubicBezTo>
                <a:cubicBezTo>
                  <a:pt x="3881165" y="3832827"/>
                  <a:pt x="3889126" y="3899185"/>
                  <a:pt x="3883234" y="3899185"/>
                </a:cubicBezTo>
                <a:cubicBezTo>
                  <a:pt x="3875651" y="3899185"/>
                  <a:pt x="3865380" y="3872580"/>
                  <a:pt x="3862599" y="3845738"/>
                </a:cubicBezTo>
                <a:cubicBezTo>
                  <a:pt x="3860945" y="3829762"/>
                  <a:pt x="3857211" y="3814599"/>
                  <a:pt x="3854301" y="3812039"/>
                </a:cubicBezTo>
                <a:cubicBezTo>
                  <a:pt x="3851392" y="3809480"/>
                  <a:pt x="3847730" y="3802337"/>
                  <a:pt x="3846160" y="3796165"/>
                </a:cubicBezTo>
                <a:cubicBezTo>
                  <a:pt x="3839709" y="3770764"/>
                  <a:pt x="3813703" y="3779786"/>
                  <a:pt x="3819335" y="3805472"/>
                </a:cubicBezTo>
                <a:cubicBezTo>
                  <a:pt x="3821147" y="3813738"/>
                  <a:pt x="3818322" y="3822521"/>
                  <a:pt x="3810462" y="3833067"/>
                </a:cubicBezTo>
                <a:cubicBezTo>
                  <a:pt x="3795842" y="3852685"/>
                  <a:pt x="3792272" y="3852500"/>
                  <a:pt x="3788709" y="3831946"/>
                </a:cubicBezTo>
                <a:cubicBezTo>
                  <a:pt x="3785389" y="3812796"/>
                  <a:pt x="3776330" y="3797899"/>
                  <a:pt x="3767992" y="3797873"/>
                </a:cubicBezTo>
                <a:cubicBezTo>
                  <a:pt x="3761233" y="3797854"/>
                  <a:pt x="3744123" y="3762433"/>
                  <a:pt x="3746015" y="3752380"/>
                </a:cubicBezTo>
                <a:cubicBezTo>
                  <a:pt x="3747342" y="3745323"/>
                  <a:pt x="3717953" y="3702928"/>
                  <a:pt x="3711733" y="3702928"/>
                </a:cubicBezTo>
                <a:cubicBezTo>
                  <a:pt x="3709826" y="3702928"/>
                  <a:pt x="3705154" y="3704657"/>
                  <a:pt x="3701350" y="3706771"/>
                </a:cubicBezTo>
                <a:cubicBezTo>
                  <a:pt x="3693795" y="3710968"/>
                  <a:pt x="3691748" y="3728251"/>
                  <a:pt x="3698806" y="3728251"/>
                </a:cubicBezTo>
                <a:cubicBezTo>
                  <a:pt x="3701211" y="3728251"/>
                  <a:pt x="3703179" y="3736798"/>
                  <a:pt x="3703179" y="3747244"/>
                </a:cubicBezTo>
                <a:cubicBezTo>
                  <a:pt x="3703179" y="3757690"/>
                  <a:pt x="3705146" y="3766237"/>
                  <a:pt x="3707552" y="3766237"/>
                </a:cubicBezTo>
                <a:cubicBezTo>
                  <a:pt x="3709957" y="3766237"/>
                  <a:pt x="3711925" y="3770678"/>
                  <a:pt x="3711925" y="3776107"/>
                </a:cubicBezTo>
                <a:cubicBezTo>
                  <a:pt x="3711925" y="3781535"/>
                  <a:pt x="3713898" y="3784211"/>
                  <a:pt x="3716310" y="3782052"/>
                </a:cubicBezTo>
                <a:cubicBezTo>
                  <a:pt x="3718931" y="3779707"/>
                  <a:pt x="3719941" y="3784017"/>
                  <a:pt x="3718822" y="3792758"/>
                </a:cubicBezTo>
                <a:cubicBezTo>
                  <a:pt x="3717790" y="3800803"/>
                  <a:pt x="3716800" y="3810948"/>
                  <a:pt x="3716622" y="3815301"/>
                </a:cubicBezTo>
                <a:cubicBezTo>
                  <a:pt x="3716443" y="3819653"/>
                  <a:pt x="3713017" y="3823214"/>
                  <a:pt x="3709009" y="3823214"/>
                </a:cubicBezTo>
                <a:cubicBezTo>
                  <a:pt x="3705001" y="3823214"/>
                  <a:pt x="3703040" y="3825124"/>
                  <a:pt x="3704652" y="3827457"/>
                </a:cubicBezTo>
                <a:cubicBezTo>
                  <a:pt x="3706263" y="3829790"/>
                  <a:pt x="3704599" y="3838290"/>
                  <a:pt x="3700954" y="3846344"/>
                </a:cubicBezTo>
                <a:cubicBezTo>
                  <a:pt x="3697308" y="3854399"/>
                  <a:pt x="3692816" y="3871511"/>
                  <a:pt x="3690971" y="3884370"/>
                </a:cubicBezTo>
                <a:cubicBezTo>
                  <a:pt x="3686870" y="3912945"/>
                  <a:pt x="3678481" y="3918531"/>
                  <a:pt x="3672702" y="3896534"/>
                </a:cubicBezTo>
                <a:cubicBezTo>
                  <a:pt x="3670343" y="3887546"/>
                  <a:pt x="3666625" y="3880192"/>
                  <a:pt x="3664440" y="3880192"/>
                </a:cubicBezTo>
                <a:cubicBezTo>
                  <a:pt x="3662255" y="3880192"/>
                  <a:pt x="3659099" y="3861675"/>
                  <a:pt x="3657424" y="3839042"/>
                </a:cubicBezTo>
                <a:cubicBezTo>
                  <a:pt x="3655749" y="3816409"/>
                  <a:pt x="3652569" y="3797891"/>
                  <a:pt x="3650356" y="3797891"/>
                </a:cubicBezTo>
                <a:cubicBezTo>
                  <a:pt x="3648141" y="3797891"/>
                  <a:pt x="3646331" y="3789841"/>
                  <a:pt x="3646331" y="3780002"/>
                </a:cubicBezTo>
                <a:cubicBezTo>
                  <a:pt x="3646331" y="3769489"/>
                  <a:pt x="3642158" y="3756438"/>
                  <a:pt x="3636210" y="3748347"/>
                </a:cubicBezTo>
                <a:cubicBezTo>
                  <a:pt x="3625768" y="3734148"/>
                  <a:pt x="3617509" y="3729740"/>
                  <a:pt x="3622279" y="3740913"/>
                </a:cubicBezTo>
                <a:cubicBezTo>
                  <a:pt x="3623765" y="3744395"/>
                  <a:pt x="3622898" y="3747244"/>
                  <a:pt x="3620351" y="3747244"/>
                </a:cubicBezTo>
                <a:cubicBezTo>
                  <a:pt x="3617803" y="3747244"/>
                  <a:pt x="3615720" y="3743784"/>
                  <a:pt x="3615720" y="3739557"/>
                </a:cubicBezTo>
                <a:cubicBezTo>
                  <a:pt x="3615720" y="3734292"/>
                  <a:pt x="3613677" y="3734828"/>
                  <a:pt x="3609235" y="3741257"/>
                </a:cubicBezTo>
                <a:cubicBezTo>
                  <a:pt x="3600172" y="3754379"/>
                  <a:pt x="3598396" y="3868396"/>
                  <a:pt x="3607022" y="3883441"/>
                </a:cubicBezTo>
                <a:cubicBezTo>
                  <a:pt x="3610343" y="3889233"/>
                  <a:pt x="3616619" y="3908678"/>
                  <a:pt x="3620970" y="3926650"/>
                </a:cubicBezTo>
                <a:cubicBezTo>
                  <a:pt x="3625320" y="3944623"/>
                  <a:pt x="3631822" y="3962491"/>
                  <a:pt x="3635418" y="3966357"/>
                </a:cubicBezTo>
                <a:cubicBezTo>
                  <a:pt x="3639015" y="3970222"/>
                  <a:pt x="3641958" y="3977641"/>
                  <a:pt x="3641958" y="3982842"/>
                </a:cubicBezTo>
                <a:cubicBezTo>
                  <a:pt x="3641958" y="3988043"/>
                  <a:pt x="3647035" y="4000231"/>
                  <a:pt x="3653242" y="4009926"/>
                </a:cubicBezTo>
                <a:cubicBezTo>
                  <a:pt x="3661280" y="4022483"/>
                  <a:pt x="3663686" y="4031399"/>
                  <a:pt x="3661604" y="4040922"/>
                </a:cubicBezTo>
                <a:cubicBezTo>
                  <a:pt x="3655493" y="4068883"/>
                  <a:pt x="3657180" y="4079123"/>
                  <a:pt x="3669309" y="4087671"/>
                </a:cubicBezTo>
                <a:cubicBezTo>
                  <a:pt x="3679320" y="4094727"/>
                  <a:pt x="3680875" y="4098933"/>
                  <a:pt x="3678511" y="4112573"/>
                </a:cubicBezTo>
                <a:cubicBezTo>
                  <a:pt x="3676264" y="4125528"/>
                  <a:pt x="3676951" y="4127890"/>
                  <a:pt x="3681769" y="4123786"/>
                </a:cubicBezTo>
                <a:cubicBezTo>
                  <a:pt x="3685629" y="4120499"/>
                  <a:pt x="3685184" y="4123062"/>
                  <a:pt x="3680561" y="4130756"/>
                </a:cubicBezTo>
                <a:cubicBezTo>
                  <a:pt x="3674333" y="4141118"/>
                  <a:pt x="3673955" y="4147383"/>
                  <a:pt x="3678018" y="4172994"/>
                </a:cubicBezTo>
                <a:cubicBezTo>
                  <a:pt x="3680640" y="4189533"/>
                  <a:pt x="3684423" y="4203066"/>
                  <a:pt x="3686423" y="4203066"/>
                </a:cubicBezTo>
                <a:cubicBezTo>
                  <a:pt x="3690559" y="4203066"/>
                  <a:pt x="3691434" y="4236952"/>
                  <a:pt x="3687445" y="4242725"/>
                </a:cubicBezTo>
                <a:cubicBezTo>
                  <a:pt x="3683663" y="4248200"/>
                  <a:pt x="3672199" y="4240707"/>
                  <a:pt x="3674851" y="4234494"/>
                </a:cubicBezTo>
                <a:cubicBezTo>
                  <a:pt x="3676079" y="4231618"/>
                  <a:pt x="3675083" y="4227475"/>
                  <a:pt x="3672639" y="4225288"/>
                </a:cubicBezTo>
                <a:cubicBezTo>
                  <a:pt x="3670195" y="4223101"/>
                  <a:pt x="3668195" y="4216130"/>
                  <a:pt x="3668195" y="4209798"/>
                </a:cubicBezTo>
                <a:cubicBezTo>
                  <a:pt x="3668195" y="4203466"/>
                  <a:pt x="3665244" y="4194739"/>
                  <a:pt x="3661635" y="4190404"/>
                </a:cubicBezTo>
                <a:cubicBezTo>
                  <a:pt x="3658027" y="4186069"/>
                  <a:pt x="3655077" y="4174325"/>
                  <a:pt x="3655077" y="4164306"/>
                </a:cubicBezTo>
                <a:cubicBezTo>
                  <a:pt x="3655077" y="4154286"/>
                  <a:pt x="3653109" y="4146088"/>
                  <a:pt x="3650704" y="4146088"/>
                </a:cubicBezTo>
                <a:cubicBezTo>
                  <a:pt x="3648298" y="4146088"/>
                  <a:pt x="3646331" y="4137891"/>
                  <a:pt x="3646331" y="4127870"/>
                </a:cubicBezTo>
                <a:cubicBezTo>
                  <a:pt x="3646331" y="4117851"/>
                  <a:pt x="3643578" y="4106346"/>
                  <a:pt x="3640215" y="4102305"/>
                </a:cubicBezTo>
                <a:cubicBezTo>
                  <a:pt x="3634809" y="4095810"/>
                  <a:pt x="3629407" y="4062547"/>
                  <a:pt x="3628573" y="4030629"/>
                </a:cubicBezTo>
                <a:cubicBezTo>
                  <a:pt x="3628416" y="4024579"/>
                  <a:pt x="3624261" y="4015548"/>
                  <a:pt x="3619343" y="4010560"/>
                </a:cubicBezTo>
                <a:cubicBezTo>
                  <a:pt x="3614423" y="4005572"/>
                  <a:pt x="3611608" y="3998657"/>
                  <a:pt x="3613087" y="3995194"/>
                </a:cubicBezTo>
                <a:cubicBezTo>
                  <a:pt x="3614564" y="3991731"/>
                  <a:pt x="3613916" y="3987943"/>
                  <a:pt x="3611643" y="3986775"/>
                </a:cubicBezTo>
                <a:cubicBezTo>
                  <a:pt x="3609371" y="3985607"/>
                  <a:pt x="3606848" y="3977529"/>
                  <a:pt x="3606039" y="3968824"/>
                </a:cubicBezTo>
                <a:cubicBezTo>
                  <a:pt x="3603957" y="3946450"/>
                  <a:pt x="3599028" y="3937170"/>
                  <a:pt x="3589225" y="3937170"/>
                </a:cubicBezTo>
                <a:cubicBezTo>
                  <a:pt x="3583738" y="3937170"/>
                  <a:pt x="3580737" y="3932825"/>
                  <a:pt x="3580737" y="3924882"/>
                </a:cubicBezTo>
                <a:cubicBezTo>
                  <a:pt x="3580737" y="3918123"/>
                  <a:pt x="3579023" y="3911061"/>
                  <a:pt x="3576929" y="3909186"/>
                </a:cubicBezTo>
                <a:cubicBezTo>
                  <a:pt x="3574833" y="3907312"/>
                  <a:pt x="3571988" y="3897885"/>
                  <a:pt x="3570603" y="3888238"/>
                </a:cubicBezTo>
                <a:cubicBezTo>
                  <a:pt x="3569192" y="3878392"/>
                  <a:pt x="3562322" y="3865208"/>
                  <a:pt x="3554944" y="3858187"/>
                </a:cubicBezTo>
                <a:cubicBezTo>
                  <a:pt x="3535458" y="3839642"/>
                  <a:pt x="3529333" y="3819997"/>
                  <a:pt x="3538478" y="3805368"/>
                </a:cubicBezTo>
                <a:cubicBezTo>
                  <a:pt x="3548320" y="3789621"/>
                  <a:pt x="3547733" y="3784929"/>
                  <a:pt x="3533727" y="3767505"/>
                </a:cubicBezTo>
                <a:cubicBezTo>
                  <a:pt x="3523284" y="3754512"/>
                  <a:pt x="3521825" y="3748412"/>
                  <a:pt x="3522632" y="3721158"/>
                </a:cubicBezTo>
                <a:cubicBezTo>
                  <a:pt x="3523455" y="3693358"/>
                  <a:pt x="3522378" y="3689122"/>
                  <a:pt x="3513197" y="3684068"/>
                </a:cubicBezTo>
                <a:cubicBezTo>
                  <a:pt x="3506658" y="3680469"/>
                  <a:pt x="3501749" y="3671213"/>
                  <a:pt x="3499894" y="3658986"/>
                </a:cubicBezTo>
                <a:cubicBezTo>
                  <a:pt x="3496854" y="3638944"/>
                  <a:pt x="3482669" y="3628111"/>
                  <a:pt x="3469237" y="3635573"/>
                </a:cubicBezTo>
                <a:cubicBezTo>
                  <a:pt x="3461766" y="3639723"/>
                  <a:pt x="3460014" y="3680814"/>
                  <a:pt x="3467041" y="3687101"/>
                </a:cubicBezTo>
                <a:cubicBezTo>
                  <a:pt x="3469446" y="3689253"/>
                  <a:pt x="3471414" y="3697826"/>
                  <a:pt x="3471414" y="3706153"/>
                </a:cubicBezTo>
                <a:cubicBezTo>
                  <a:pt x="3471414" y="3714479"/>
                  <a:pt x="3473914" y="3723570"/>
                  <a:pt x="3476971" y="3726354"/>
                </a:cubicBezTo>
                <a:cubicBezTo>
                  <a:pt x="3484344" y="3733069"/>
                  <a:pt x="3494051" y="3765634"/>
                  <a:pt x="3490888" y="3773042"/>
                </a:cubicBezTo>
                <a:cubicBezTo>
                  <a:pt x="3489514" y="3776263"/>
                  <a:pt x="3490473" y="3778898"/>
                  <a:pt x="3493020" y="3778898"/>
                </a:cubicBezTo>
                <a:cubicBezTo>
                  <a:pt x="3495567" y="3778898"/>
                  <a:pt x="3497651" y="3785672"/>
                  <a:pt x="3497651" y="3793950"/>
                </a:cubicBezTo>
                <a:cubicBezTo>
                  <a:pt x="3497651" y="3802229"/>
                  <a:pt x="3500753" y="3812729"/>
                  <a:pt x="3504545" y="3817285"/>
                </a:cubicBezTo>
                <a:cubicBezTo>
                  <a:pt x="3509560" y="3823311"/>
                  <a:pt x="3510707" y="3831717"/>
                  <a:pt x="3508755" y="3848132"/>
                </a:cubicBezTo>
                <a:cubicBezTo>
                  <a:pt x="3506803" y="3864551"/>
                  <a:pt x="3507290" y="3868110"/>
                  <a:pt x="3510540" y="3861199"/>
                </a:cubicBezTo>
                <a:cubicBezTo>
                  <a:pt x="3514556" y="3852664"/>
                  <a:pt x="3517037" y="3856496"/>
                  <a:pt x="3515661" y="3869113"/>
                </a:cubicBezTo>
                <a:cubicBezTo>
                  <a:pt x="3515376" y="3871725"/>
                  <a:pt x="3517110" y="3873861"/>
                  <a:pt x="3519516" y="3873861"/>
                </a:cubicBezTo>
                <a:cubicBezTo>
                  <a:pt x="3521921" y="3873861"/>
                  <a:pt x="3523889" y="3878254"/>
                  <a:pt x="3523889" y="3883622"/>
                </a:cubicBezTo>
                <a:cubicBezTo>
                  <a:pt x="3523889" y="3888991"/>
                  <a:pt x="3527726" y="3899347"/>
                  <a:pt x="3532417" y="3906635"/>
                </a:cubicBezTo>
                <a:cubicBezTo>
                  <a:pt x="3537108" y="3913925"/>
                  <a:pt x="3542129" y="3928762"/>
                  <a:pt x="3543578" y="3939608"/>
                </a:cubicBezTo>
                <a:cubicBezTo>
                  <a:pt x="3550438" y="3991000"/>
                  <a:pt x="3561569" y="4033585"/>
                  <a:pt x="3572787" y="4051368"/>
                </a:cubicBezTo>
                <a:cubicBezTo>
                  <a:pt x="3579565" y="4062111"/>
                  <a:pt x="3585110" y="4076421"/>
                  <a:pt x="3585110" y="4083170"/>
                </a:cubicBezTo>
                <a:cubicBezTo>
                  <a:pt x="3585110" y="4089919"/>
                  <a:pt x="3586586" y="4095464"/>
                  <a:pt x="3588390" y="4095491"/>
                </a:cubicBezTo>
                <a:cubicBezTo>
                  <a:pt x="3593117" y="4095562"/>
                  <a:pt x="3602793" y="4127855"/>
                  <a:pt x="3600027" y="4134333"/>
                </a:cubicBezTo>
                <a:cubicBezTo>
                  <a:pt x="3595593" y="4144721"/>
                  <a:pt x="3580737" y="4126788"/>
                  <a:pt x="3580737" y="4111046"/>
                </a:cubicBezTo>
                <a:cubicBezTo>
                  <a:pt x="3580737" y="4102463"/>
                  <a:pt x="3578988" y="4095441"/>
                  <a:pt x="3576851" y="4095441"/>
                </a:cubicBezTo>
                <a:cubicBezTo>
                  <a:pt x="3574712" y="4095441"/>
                  <a:pt x="3571710" y="4085756"/>
                  <a:pt x="3570176" y="4073920"/>
                </a:cubicBezTo>
                <a:cubicBezTo>
                  <a:pt x="3566607" y="4046379"/>
                  <a:pt x="3557870" y="4035867"/>
                  <a:pt x="3543030" y="4041258"/>
                </a:cubicBezTo>
                <a:cubicBezTo>
                  <a:pt x="3532038" y="4045253"/>
                  <a:pt x="3531584" y="4044483"/>
                  <a:pt x="3534118" y="4026138"/>
                </a:cubicBezTo>
                <a:cubicBezTo>
                  <a:pt x="3536130" y="4011576"/>
                  <a:pt x="3535198" y="4006809"/>
                  <a:pt x="3530338" y="4006809"/>
                </a:cubicBezTo>
                <a:cubicBezTo>
                  <a:pt x="3522512" y="4006809"/>
                  <a:pt x="3522231" y="4000008"/>
                  <a:pt x="3529155" y="3978011"/>
                </a:cubicBezTo>
                <a:cubicBezTo>
                  <a:pt x="3533632" y="3963785"/>
                  <a:pt x="3533304" y="3960374"/>
                  <a:pt x="3526968" y="3955240"/>
                </a:cubicBezTo>
                <a:cubicBezTo>
                  <a:pt x="3522869" y="3951920"/>
                  <a:pt x="3519516" y="3943344"/>
                  <a:pt x="3519516" y="3936183"/>
                </a:cubicBezTo>
                <a:cubicBezTo>
                  <a:pt x="3519516" y="3929024"/>
                  <a:pt x="3514596" y="3917563"/>
                  <a:pt x="3508583" y="3910715"/>
                </a:cubicBezTo>
                <a:cubicBezTo>
                  <a:pt x="3502570" y="3903868"/>
                  <a:pt x="3497651" y="3894641"/>
                  <a:pt x="3497651" y="3890210"/>
                </a:cubicBezTo>
                <a:cubicBezTo>
                  <a:pt x="3497651" y="3878020"/>
                  <a:pt x="3482873" y="3861199"/>
                  <a:pt x="3472162" y="3861199"/>
                </a:cubicBezTo>
                <a:cubicBezTo>
                  <a:pt x="3465679" y="3861199"/>
                  <a:pt x="3462668" y="3857303"/>
                  <a:pt x="3462668" y="3848911"/>
                </a:cubicBezTo>
                <a:cubicBezTo>
                  <a:pt x="3462668" y="3842153"/>
                  <a:pt x="3460700" y="3834862"/>
                  <a:pt x="3458295" y="3832711"/>
                </a:cubicBezTo>
                <a:cubicBezTo>
                  <a:pt x="3455889" y="3830559"/>
                  <a:pt x="3453922" y="3822414"/>
                  <a:pt x="3453922" y="3814611"/>
                </a:cubicBezTo>
                <a:cubicBezTo>
                  <a:pt x="3453922" y="3806808"/>
                  <a:pt x="3452191" y="3797717"/>
                  <a:pt x="3450078" y="3794409"/>
                </a:cubicBezTo>
                <a:cubicBezTo>
                  <a:pt x="3447963" y="3791101"/>
                  <a:pt x="3443875" y="3777711"/>
                  <a:pt x="3440992" y="3764654"/>
                </a:cubicBezTo>
                <a:cubicBezTo>
                  <a:pt x="3438110" y="3751597"/>
                  <a:pt x="3433937" y="3740913"/>
                  <a:pt x="3431719" y="3740913"/>
                </a:cubicBezTo>
                <a:cubicBezTo>
                  <a:pt x="3429500" y="3740913"/>
                  <a:pt x="3427684" y="3734140"/>
                  <a:pt x="3427684" y="3725861"/>
                </a:cubicBezTo>
                <a:cubicBezTo>
                  <a:pt x="3427684" y="3717583"/>
                  <a:pt x="3424364" y="3706899"/>
                  <a:pt x="3420306" y="3702120"/>
                </a:cubicBezTo>
                <a:cubicBezTo>
                  <a:pt x="3413761" y="3694412"/>
                  <a:pt x="3413294" y="3694839"/>
                  <a:pt x="3416164" y="3705901"/>
                </a:cubicBezTo>
                <a:cubicBezTo>
                  <a:pt x="3417944" y="3712758"/>
                  <a:pt x="3418110" y="3716502"/>
                  <a:pt x="3416533" y="3714219"/>
                </a:cubicBezTo>
                <a:cubicBezTo>
                  <a:pt x="3414956" y="3711935"/>
                  <a:pt x="3408725" y="3712788"/>
                  <a:pt x="3402685" y="3716112"/>
                </a:cubicBezTo>
                <a:cubicBezTo>
                  <a:pt x="3394139" y="3720816"/>
                  <a:pt x="3392198" y="3720288"/>
                  <a:pt x="3393935" y="3713735"/>
                </a:cubicBezTo>
                <a:cubicBezTo>
                  <a:pt x="3395162" y="3709103"/>
                  <a:pt x="3392479" y="3698366"/>
                  <a:pt x="3387971" y="3689876"/>
                </a:cubicBezTo>
                <a:cubicBezTo>
                  <a:pt x="3382841" y="3680212"/>
                  <a:pt x="3379715" y="3663786"/>
                  <a:pt x="3379613" y="3645950"/>
                </a:cubicBezTo>
                <a:cubicBezTo>
                  <a:pt x="3379417" y="3612135"/>
                  <a:pt x="3374880" y="3599578"/>
                  <a:pt x="3363957" y="3602624"/>
                </a:cubicBezTo>
                <a:cubicBezTo>
                  <a:pt x="3358653" y="3604103"/>
                  <a:pt x="3354165" y="3614495"/>
                  <a:pt x="3350698" y="3633318"/>
                </a:cubicBezTo>
                <a:cubicBezTo>
                  <a:pt x="3347816" y="3648971"/>
                  <a:pt x="3345264" y="3656792"/>
                  <a:pt x="3345028" y="3650699"/>
                </a:cubicBezTo>
                <a:cubicBezTo>
                  <a:pt x="3344440" y="3635538"/>
                  <a:pt x="3332715" y="3636676"/>
                  <a:pt x="3329305" y="3652225"/>
                </a:cubicBezTo>
                <a:cubicBezTo>
                  <a:pt x="3325712" y="3668622"/>
                  <a:pt x="3329813" y="3677605"/>
                  <a:pt x="3340893" y="3677605"/>
                </a:cubicBezTo>
                <a:cubicBezTo>
                  <a:pt x="3346112" y="3677605"/>
                  <a:pt x="3350736" y="3682839"/>
                  <a:pt x="3352077" y="3690266"/>
                </a:cubicBezTo>
                <a:cubicBezTo>
                  <a:pt x="3353336" y="3697231"/>
                  <a:pt x="3355857" y="3702928"/>
                  <a:pt x="3357681" y="3702928"/>
                </a:cubicBezTo>
                <a:cubicBezTo>
                  <a:pt x="3359504" y="3702928"/>
                  <a:pt x="3362178" y="3711475"/>
                  <a:pt x="3363620" y="3721921"/>
                </a:cubicBezTo>
                <a:cubicBezTo>
                  <a:pt x="3365160" y="3733060"/>
                  <a:pt x="3369002" y="3740913"/>
                  <a:pt x="3372913" y="3740913"/>
                </a:cubicBezTo>
                <a:cubicBezTo>
                  <a:pt x="3380073" y="3740913"/>
                  <a:pt x="3380926" y="3749508"/>
                  <a:pt x="3375688" y="3768853"/>
                </a:cubicBezTo>
                <a:cubicBezTo>
                  <a:pt x="3370945" y="3786368"/>
                  <a:pt x="3327107" y="3789068"/>
                  <a:pt x="3327107" y="3771846"/>
                </a:cubicBezTo>
                <a:cubicBezTo>
                  <a:pt x="3327107" y="3765561"/>
                  <a:pt x="3321806" y="3753303"/>
                  <a:pt x="3315329" y="3744607"/>
                </a:cubicBezTo>
                <a:cubicBezTo>
                  <a:pt x="3304846" y="3730535"/>
                  <a:pt x="3304392" y="3728327"/>
                  <a:pt x="3311207" y="3724541"/>
                </a:cubicBezTo>
                <a:cubicBezTo>
                  <a:pt x="3315417" y="3722201"/>
                  <a:pt x="3317867" y="3716526"/>
                  <a:pt x="3316649" y="3711929"/>
                </a:cubicBezTo>
                <a:cubicBezTo>
                  <a:pt x="3315240" y="3706616"/>
                  <a:pt x="3316740" y="3704855"/>
                  <a:pt x="3320770" y="3707093"/>
                </a:cubicBezTo>
                <a:cubicBezTo>
                  <a:pt x="3324708" y="3709281"/>
                  <a:pt x="3327107" y="3706703"/>
                  <a:pt x="3327107" y="3700282"/>
                </a:cubicBezTo>
                <a:cubicBezTo>
                  <a:pt x="3327107" y="3693867"/>
                  <a:pt x="3322133" y="3688510"/>
                  <a:pt x="3313988" y="3686151"/>
                </a:cubicBezTo>
                <a:cubicBezTo>
                  <a:pt x="3306772" y="3684062"/>
                  <a:pt x="3300870" y="3678824"/>
                  <a:pt x="3300870" y="3674511"/>
                </a:cubicBezTo>
                <a:cubicBezTo>
                  <a:pt x="3300870" y="3670198"/>
                  <a:pt x="3295555" y="3658976"/>
                  <a:pt x="3289059" y="3649571"/>
                </a:cubicBezTo>
                <a:cubicBezTo>
                  <a:pt x="3277057" y="3632197"/>
                  <a:pt x="3272152" y="3614296"/>
                  <a:pt x="3279392" y="3614296"/>
                </a:cubicBezTo>
                <a:cubicBezTo>
                  <a:pt x="3281584" y="3614296"/>
                  <a:pt x="3283312" y="3610735"/>
                  <a:pt x="3283232" y="3606383"/>
                </a:cubicBezTo>
                <a:cubicBezTo>
                  <a:pt x="3283152" y="3602030"/>
                  <a:pt x="3279168" y="3605283"/>
                  <a:pt x="3274377" y="3613610"/>
                </a:cubicBezTo>
                <a:cubicBezTo>
                  <a:pt x="3264430" y="3630902"/>
                  <a:pt x="3262685" y="3630064"/>
                  <a:pt x="3260548" y="3606968"/>
                </a:cubicBezTo>
                <a:cubicBezTo>
                  <a:pt x="3259704" y="3597841"/>
                  <a:pt x="3256227" y="3585072"/>
                  <a:pt x="3252822" y="3578594"/>
                </a:cubicBezTo>
                <a:cubicBezTo>
                  <a:pt x="3248580" y="3570523"/>
                  <a:pt x="3248452" y="3569150"/>
                  <a:pt x="3252417" y="3574234"/>
                </a:cubicBezTo>
                <a:cubicBezTo>
                  <a:pt x="3255601" y="3578314"/>
                  <a:pt x="3260918" y="3580146"/>
                  <a:pt x="3264232" y="3578304"/>
                </a:cubicBezTo>
                <a:cubicBezTo>
                  <a:pt x="3267951" y="3576238"/>
                  <a:pt x="3270426" y="3579458"/>
                  <a:pt x="3270698" y="3586713"/>
                </a:cubicBezTo>
                <a:cubicBezTo>
                  <a:pt x="3270940" y="3593178"/>
                  <a:pt x="3272955" y="3587243"/>
                  <a:pt x="3275175" y="3573523"/>
                </a:cubicBezTo>
                <a:cubicBezTo>
                  <a:pt x="3278336" y="3554003"/>
                  <a:pt x="3277792" y="3546520"/>
                  <a:pt x="3272678" y="3539117"/>
                </a:cubicBezTo>
                <a:cubicBezTo>
                  <a:pt x="3267122" y="3531072"/>
                  <a:pt x="3264510" y="3530922"/>
                  <a:pt x="3255231" y="3538110"/>
                </a:cubicBezTo>
                <a:cubicBezTo>
                  <a:pt x="3246422" y="3544936"/>
                  <a:pt x="3243037" y="3545025"/>
                  <a:pt x="3237667" y="3538572"/>
                </a:cubicBezTo>
                <a:cubicBezTo>
                  <a:pt x="3225463" y="3523909"/>
                  <a:pt x="3218426" y="3535666"/>
                  <a:pt x="3215276" y="3575977"/>
                </a:cubicBezTo>
                <a:cubicBezTo>
                  <a:pt x="3212800" y="3607649"/>
                  <a:pt x="3210861" y="3614296"/>
                  <a:pt x="3204100" y="3614296"/>
                </a:cubicBezTo>
                <a:cubicBezTo>
                  <a:pt x="3198994" y="3614296"/>
                  <a:pt x="3195919" y="3609800"/>
                  <a:pt x="3195919" y="3602335"/>
                </a:cubicBezTo>
                <a:cubicBezTo>
                  <a:pt x="3195919" y="3595757"/>
                  <a:pt x="3192107" y="3583650"/>
                  <a:pt x="3187447" y="3575429"/>
                </a:cubicBezTo>
                <a:cubicBezTo>
                  <a:pt x="3180562" y="3563282"/>
                  <a:pt x="3177492" y="3561790"/>
                  <a:pt x="3171048" y="3567461"/>
                </a:cubicBezTo>
                <a:cubicBezTo>
                  <a:pt x="3161705" y="3575686"/>
                  <a:pt x="3158183" y="3600182"/>
                  <a:pt x="3164938" y="3609962"/>
                </a:cubicBezTo>
                <a:cubicBezTo>
                  <a:pt x="3171801" y="3619898"/>
                  <a:pt x="3170760" y="3633289"/>
                  <a:pt x="3163122" y="3633289"/>
                </a:cubicBezTo>
                <a:cubicBezTo>
                  <a:pt x="3159514" y="3633289"/>
                  <a:pt x="3156563" y="3630442"/>
                  <a:pt x="3156563" y="3626962"/>
                </a:cubicBezTo>
                <a:cubicBezTo>
                  <a:pt x="3156563" y="3618894"/>
                  <a:pt x="3124818" y="3621686"/>
                  <a:pt x="3120606" y="3630123"/>
                </a:cubicBezTo>
                <a:cubicBezTo>
                  <a:pt x="3116868" y="3637611"/>
                  <a:pt x="3121487" y="3704672"/>
                  <a:pt x="3126056" y="3709259"/>
                </a:cubicBezTo>
                <a:cubicBezTo>
                  <a:pt x="3130096" y="3713313"/>
                  <a:pt x="3144041" y="3803333"/>
                  <a:pt x="3143221" y="3820049"/>
                </a:cubicBezTo>
                <a:cubicBezTo>
                  <a:pt x="3142879" y="3827013"/>
                  <a:pt x="3142831" y="3854789"/>
                  <a:pt x="3143117" y="3881775"/>
                </a:cubicBezTo>
                <a:cubicBezTo>
                  <a:pt x="3143628" y="3930201"/>
                  <a:pt x="3143491" y="3930839"/>
                  <a:pt x="3132608" y="3930839"/>
                </a:cubicBezTo>
                <a:cubicBezTo>
                  <a:pt x="3122920" y="3930839"/>
                  <a:pt x="3121580" y="3928147"/>
                  <a:pt x="3121580" y="3908681"/>
                </a:cubicBezTo>
                <a:cubicBezTo>
                  <a:pt x="3121580" y="3896494"/>
                  <a:pt x="3119831" y="3886523"/>
                  <a:pt x="3117693" y="3886523"/>
                </a:cubicBezTo>
                <a:cubicBezTo>
                  <a:pt x="3115555" y="3886523"/>
                  <a:pt x="3112514" y="3876552"/>
                  <a:pt x="3110936" y="3864365"/>
                </a:cubicBezTo>
                <a:cubicBezTo>
                  <a:pt x="3109357" y="3852178"/>
                  <a:pt x="3106436" y="3842207"/>
                  <a:pt x="3104446" y="3842207"/>
                </a:cubicBezTo>
                <a:cubicBezTo>
                  <a:pt x="3102456" y="3842207"/>
                  <a:pt x="3099843" y="3827371"/>
                  <a:pt x="3098639" y="3809238"/>
                </a:cubicBezTo>
                <a:cubicBezTo>
                  <a:pt x="3097436" y="3791105"/>
                  <a:pt x="3094234" y="3775198"/>
                  <a:pt x="3091524" y="3773890"/>
                </a:cubicBezTo>
                <a:cubicBezTo>
                  <a:pt x="3088687" y="3772521"/>
                  <a:pt x="3086596" y="3757124"/>
                  <a:pt x="3086596" y="3737594"/>
                </a:cubicBezTo>
                <a:cubicBezTo>
                  <a:pt x="3086596" y="3718939"/>
                  <a:pt x="3084596" y="3701886"/>
                  <a:pt x="3082151" y="3699699"/>
                </a:cubicBezTo>
                <a:cubicBezTo>
                  <a:pt x="3079708" y="3697512"/>
                  <a:pt x="3078840" y="3693070"/>
                  <a:pt x="3080224" y="3689829"/>
                </a:cubicBezTo>
                <a:cubicBezTo>
                  <a:pt x="3081607" y="3686588"/>
                  <a:pt x="3080656" y="3683935"/>
                  <a:pt x="3078108" y="3683935"/>
                </a:cubicBezTo>
                <a:cubicBezTo>
                  <a:pt x="3075477" y="3683935"/>
                  <a:pt x="3073478" y="3670496"/>
                  <a:pt x="3073478" y="3652809"/>
                </a:cubicBezTo>
                <a:cubicBezTo>
                  <a:pt x="3073478" y="3634097"/>
                  <a:pt x="3071369" y="3620664"/>
                  <a:pt x="3068189" y="3619131"/>
                </a:cubicBezTo>
                <a:cubicBezTo>
                  <a:pt x="3065282" y="3617728"/>
                  <a:pt x="3062584" y="3609655"/>
                  <a:pt x="3062193" y="3601193"/>
                </a:cubicBezTo>
                <a:cubicBezTo>
                  <a:pt x="3061803" y="3592731"/>
                  <a:pt x="3060036" y="3580822"/>
                  <a:pt x="3058266" y="3574728"/>
                </a:cubicBezTo>
                <a:cubicBezTo>
                  <a:pt x="3056498" y="3568635"/>
                  <a:pt x="3056158" y="3559467"/>
                  <a:pt x="3057514" y="3554356"/>
                </a:cubicBezTo>
                <a:cubicBezTo>
                  <a:pt x="3058868" y="3549245"/>
                  <a:pt x="3058250" y="3543517"/>
                  <a:pt x="3056138" y="3541627"/>
                </a:cubicBezTo>
                <a:cubicBezTo>
                  <a:pt x="3054026" y="3539738"/>
                  <a:pt x="3050926" y="3519628"/>
                  <a:pt x="3049247" y="3496938"/>
                </a:cubicBezTo>
                <a:cubicBezTo>
                  <a:pt x="3045966" y="3452577"/>
                  <a:pt x="3037781" y="3437032"/>
                  <a:pt x="3017705" y="3437032"/>
                </a:cubicBezTo>
                <a:cubicBezTo>
                  <a:pt x="3004148" y="3437032"/>
                  <a:pt x="3001872" y="3448804"/>
                  <a:pt x="3009991" y="3476935"/>
                </a:cubicBezTo>
                <a:cubicBezTo>
                  <a:pt x="3016478" y="3499410"/>
                  <a:pt x="3016397" y="3500341"/>
                  <a:pt x="3007942" y="3500341"/>
                </a:cubicBezTo>
                <a:cubicBezTo>
                  <a:pt x="3002380" y="3500341"/>
                  <a:pt x="2999138" y="3504536"/>
                  <a:pt x="2999138" y="3511736"/>
                </a:cubicBezTo>
                <a:cubicBezTo>
                  <a:pt x="2999138" y="3518004"/>
                  <a:pt x="2996925" y="3526335"/>
                  <a:pt x="2994221" y="3530249"/>
                </a:cubicBezTo>
                <a:cubicBezTo>
                  <a:pt x="2990581" y="3535519"/>
                  <a:pt x="2990581" y="3542668"/>
                  <a:pt x="2994221" y="3557784"/>
                </a:cubicBezTo>
                <a:cubicBezTo>
                  <a:pt x="3005745" y="3605645"/>
                  <a:pt x="2994002" y="3637728"/>
                  <a:pt x="2981646" y="3592138"/>
                </a:cubicBezTo>
                <a:cubicBezTo>
                  <a:pt x="2978343" y="3579951"/>
                  <a:pt x="2974233" y="3569980"/>
                  <a:pt x="2972514" y="3569980"/>
                </a:cubicBezTo>
                <a:cubicBezTo>
                  <a:pt x="2970793" y="3569980"/>
                  <a:pt x="2968015" y="3552882"/>
                  <a:pt x="2966340" y="3531984"/>
                </a:cubicBezTo>
                <a:cubicBezTo>
                  <a:pt x="2964664" y="3511085"/>
                  <a:pt x="2961519" y="3492400"/>
                  <a:pt x="2959351" y="3490460"/>
                </a:cubicBezTo>
                <a:cubicBezTo>
                  <a:pt x="2957183" y="3488520"/>
                  <a:pt x="2955409" y="3469018"/>
                  <a:pt x="2955409" y="3447123"/>
                </a:cubicBezTo>
                <a:cubicBezTo>
                  <a:pt x="2955409" y="3416502"/>
                  <a:pt x="2953405" y="3403971"/>
                  <a:pt x="2946728" y="3392826"/>
                </a:cubicBezTo>
                <a:cubicBezTo>
                  <a:pt x="2941102" y="3383435"/>
                  <a:pt x="2938925" y="3373276"/>
                  <a:pt x="2940541" y="3363958"/>
                </a:cubicBezTo>
                <a:cubicBezTo>
                  <a:pt x="2943882" y="3344684"/>
                  <a:pt x="2934299" y="3317725"/>
                  <a:pt x="2928518" y="3330135"/>
                </a:cubicBezTo>
                <a:cubicBezTo>
                  <a:pt x="2925129" y="3337412"/>
                  <a:pt x="2924581" y="3337288"/>
                  <a:pt x="2925305" y="3329407"/>
                </a:cubicBezTo>
                <a:cubicBezTo>
                  <a:pt x="2925785" y="3324185"/>
                  <a:pt x="2924596" y="3314638"/>
                  <a:pt x="2922663" y="3308194"/>
                </a:cubicBezTo>
                <a:cubicBezTo>
                  <a:pt x="2920387" y="3300601"/>
                  <a:pt x="2921177" y="3294662"/>
                  <a:pt x="2924908" y="3291324"/>
                </a:cubicBezTo>
                <a:cubicBezTo>
                  <a:pt x="2932964" y="3284116"/>
                  <a:pt x="2918867" y="3253437"/>
                  <a:pt x="2907500" y="3253437"/>
                </a:cubicBezTo>
                <a:cubicBezTo>
                  <a:pt x="2894479" y="3253437"/>
                  <a:pt x="2891108" y="3278834"/>
                  <a:pt x="2902377" y="3292044"/>
                </a:cubicBezTo>
                <a:cubicBezTo>
                  <a:pt x="2918941" y="3311461"/>
                  <a:pt x="2910064" y="3321581"/>
                  <a:pt x="2888666" y="3307676"/>
                </a:cubicBezTo>
                <a:cubicBezTo>
                  <a:pt x="2873988" y="3298139"/>
                  <a:pt x="2866652" y="3315701"/>
                  <a:pt x="2869372" y="3353858"/>
                </a:cubicBezTo>
                <a:cubicBezTo>
                  <a:pt x="2871207" y="3379599"/>
                  <a:pt x="2870569" y="3386379"/>
                  <a:pt x="2866824" y="3380956"/>
                </a:cubicBezTo>
                <a:cubicBezTo>
                  <a:pt x="2853092" y="3361076"/>
                  <a:pt x="2836282" y="3385189"/>
                  <a:pt x="2845843" y="3411053"/>
                </a:cubicBezTo>
                <a:cubicBezTo>
                  <a:pt x="2853035" y="3430512"/>
                  <a:pt x="2851394" y="3443363"/>
                  <a:pt x="2841712" y="3443363"/>
                </a:cubicBezTo>
                <a:cubicBezTo>
                  <a:pt x="2836902" y="3443363"/>
                  <a:pt x="2832967" y="3439439"/>
                  <a:pt x="2832967" y="3434642"/>
                </a:cubicBezTo>
                <a:cubicBezTo>
                  <a:pt x="2832967" y="3429845"/>
                  <a:pt x="2829865" y="3422194"/>
                  <a:pt x="2826073" y="3417638"/>
                </a:cubicBezTo>
                <a:cubicBezTo>
                  <a:pt x="2821062" y="3411617"/>
                  <a:pt x="2819944" y="3403452"/>
                  <a:pt x="2821980" y="3387738"/>
                </a:cubicBezTo>
                <a:cubicBezTo>
                  <a:pt x="2824031" y="3371916"/>
                  <a:pt x="2822766" y="3362898"/>
                  <a:pt x="2817264" y="3354095"/>
                </a:cubicBezTo>
                <a:cubicBezTo>
                  <a:pt x="2813129" y="3347481"/>
                  <a:pt x="2811336" y="3342069"/>
                  <a:pt x="2813279" y="3342069"/>
                </a:cubicBezTo>
                <a:cubicBezTo>
                  <a:pt x="2815223" y="3342069"/>
                  <a:pt x="2812891" y="3337084"/>
                  <a:pt x="2808098" y="3330990"/>
                </a:cubicBezTo>
                <a:cubicBezTo>
                  <a:pt x="2803304" y="3324897"/>
                  <a:pt x="2798045" y="3312077"/>
                  <a:pt x="2796413" y="3302501"/>
                </a:cubicBezTo>
                <a:cubicBezTo>
                  <a:pt x="2794577" y="3291741"/>
                  <a:pt x="2790552" y="3285165"/>
                  <a:pt x="2785874" y="3285284"/>
                </a:cubicBezTo>
                <a:cubicBezTo>
                  <a:pt x="2778749" y="3285465"/>
                  <a:pt x="2778754" y="3285855"/>
                  <a:pt x="2785958" y="3291929"/>
                </a:cubicBezTo>
                <a:cubicBezTo>
                  <a:pt x="2793394" y="3298200"/>
                  <a:pt x="2796910" y="3323174"/>
                  <a:pt x="2790331" y="3322979"/>
                </a:cubicBezTo>
                <a:cubicBezTo>
                  <a:pt x="2784980" y="3322821"/>
                  <a:pt x="2777557" y="3314142"/>
                  <a:pt x="2775681" y="3305853"/>
                </a:cubicBezTo>
                <a:cubicBezTo>
                  <a:pt x="2774304" y="3299772"/>
                  <a:pt x="2771665" y="3299772"/>
                  <a:pt x="2763282" y="3305853"/>
                </a:cubicBezTo>
                <a:cubicBezTo>
                  <a:pt x="2753453" y="3312984"/>
                  <a:pt x="2752721" y="3316706"/>
                  <a:pt x="2753779" y="3354086"/>
                </a:cubicBezTo>
                <a:cubicBezTo>
                  <a:pt x="2754450" y="3377814"/>
                  <a:pt x="2757397" y="3398171"/>
                  <a:pt x="2760892" y="3403232"/>
                </a:cubicBezTo>
                <a:cubicBezTo>
                  <a:pt x="2764856" y="3408971"/>
                  <a:pt x="2766580" y="3424957"/>
                  <a:pt x="2766023" y="3450840"/>
                </a:cubicBezTo>
                <a:cubicBezTo>
                  <a:pt x="2765115" y="3493128"/>
                  <a:pt x="2757353" y="3506636"/>
                  <a:pt x="2750015" y="3478697"/>
                </a:cubicBezTo>
                <a:cubicBezTo>
                  <a:pt x="2747655" y="3469710"/>
                  <a:pt x="2742724" y="3462355"/>
                  <a:pt x="2739057" y="3462355"/>
                </a:cubicBezTo>
                <a:cubicBezTo>
                  <a:pt x="2735389" y="3462355"/>
                  <a:pt x="2732389" y="3458387"/>
                  <a:pt x="2732389" y="3453537"/>
                </a:cubicBezTo>
                <a:cubicBezTo>
                  <a:pt x="2732389" y="3444483"/>
                  <a:pt x="2723344" y="3437032"/>
                  <a:pt x="2712353" y="3437032"/>
                </a:cubicBezTo>
                <a:cubicBezTo>
                  <a:pt x="2708267" y="3437032"/>
                  <a:pt x="2706152" y="3444077"/>
                  <a:pt x="2706152" y="3457689"/>
                </a:cubicBezTo>
                <a:cubicBezTo>
                  <a:pt x="2706152" y="3473038"/>
                  <a:pt x="2703623" y="3479951"/>
                  <a:pt x="2696312" y="3484595"/>
                </a:cubicBezTo>
                <a:cubicBezTo>
                  <a:pt x="2688688" y="3489438"/>
                  <a:pt x="2686788" y="3495120"/>
                  <a:pt x="2687868" y="3509837"/>
                </a:cubicBezTo>
                <a:cubicBezTo>
                  <a:pt x="2688637" y="3520283"/>
                  <a:pt x="2689620" y="3541650"/>
                  <a:pt x="2690056" y="3557318"/>
                </a:cubicBezTo>
                <a:cubicBezTo>
                  <a:pt x="2690491" y="3572988"/>
                  <a:pt x="2692544" y="3589617"/>
                  <a:pt x="2694620" y="3594273"/>
                </a:cubicBezTo>
                <a:cubicBezTo>
                  <a:pt x="2699065" y="3604246"/>
                  <a:pt x="2694360" y="3612158"/>
                  <a:pt x="2682100" y="3615329"/>
                </a:cubicBezTo>
                <a:cubicBezTo>
                  <a:pt x="2672226" y="3617883"/>
                  <a:pt x="2667680" y="3643432"/>
                  <a:pt x="2675171" y="3654278"/>
                </a:cubicBezTo>
                <a:cubicBezTo>
                  <a:pt x="2677779" y="3658054"/>
                  <a:pt x="2680146" y="3672683"/>
                  <a:pt x="2680432" y="3686784"/>
                </a:cubicBezTo>
                <a:cubicBezTo>
                  <a:pt x="2680908" y="3710451"/>
                  <a:pt x="2681163" y="3710963"/>
                  <a:pt x="2683731" y="3693432"/>
                </a:cubicBezTo>
                <a:cubicBezTo>
                  <a:pt x="2685938" y="3678378"/>
                  <a:pt x="2689133" y="3674006"/>
                  <a:pt x="2699137" y="3672350"/>
                </a:cubicBezTo>
                <a:cubicBezTo>
                  <a:pt x="2710910" y="3670401"/>
                  <a:pt x="2711590" y="3671476"/>
                  <a:pt x="2709257" y="3688362"/>
                </a:cubicBezTo>
                <a:cubicBezTo>
                  <a:pt x="2707217" y="3703131"/>
                  <a:pt x="2709128" y="3709197"/>
                  <a:pt x="2719638" y="3721312"/>
                </a:cubicBezTo>
                <a:cubicBezTo>
                  <a:pt x="2726725" y="3729479"/>
                  <a:pt x="2732182" y="3739367"/>
                  <a:pt x="2731766" y="3743285"/>
                </a:cubicBezTo>
                <a:cubicBezTo>
                  <a:pt x="2731350" y="3747203"/>
                  <a:pt x="2732566" y="3755587"/>
                  <a:pt x="2734466" y="3761914"/>
                </a:cubicBezTo>
                <a:cubicBezTo>
                  <a:pt x="2736409" y="3768377"/>
                  <a:pt x="2735991" y="3776216"/>
                  <a:pt x="2733513" y="3779804"/>
                </a:cubicBezTo>
                <a:cubicBezTo>
                  <a:pt x="2730548" y="3784097"/>
                  <a:pt x="2727529" y="3779653"/>
                  <a:pt x="2724300" y="3766243"/>
                </a:cubicBezTo>
                <a:cubicBezTo>
                  <a:pt x="2721659" y="3755272"/>
                  <a:pt x="2714863" y="3738325"/>
                  <a:pt x="2709200" y="3728581"/>
                </a:cubicBezTo>
                <a:lnTo>
                  <a:pt x="2698904" y="3710865"/>
                </a:lnTo>
                <a:lnTo>
                  <a:pt x="2694804" y="3727472"/>
                </a:lnTo>
                <a:cubicBezTo>
                  <a:pt x="2690816" y="3743619"/>
                  <a:pt x="2695578" y="3792599"/>
                  <a:pt x="2703659" y="3818561"/>
                </a:cubicBezTo>
                <a:cubicBezTo>
                  <a:pt x="2705572" y="3824706"/>
                  <a:pt x="2706116" y="3835387"/>
                  <a:pt x="2704869" y="3842295"/>
                </a:cubicBezTo>
                <a:cubicBezTo>
                  <a:pt x="2703621" y="3849204"/>
                  <a:pt x="2704382" y="3856451"/>
                  <a:pt x="2706562" y="3858401"/>
                </a:cubicBezTo>
                <a:cubicBezTo>
                  <a:pt x="2713294" y="3864424"/>
                  <a:pt x="2711151" y="3892854"/>
                  <a:pt x="2703965" y="3892854"/>
                </a:cubicBezTo>
                <a:cubicBezTo>
                  <a:pt x="2700358" y="3892854"/>
                  <a:pt x="2697406" y="3889150"/>
                  <a:pt x="2697406" y="3884624"/>
                </a:cubicBezTo>
                <a:cubicBezTo>
                  <a:pt x="2697406" y="3880097"/>
                  <a:pt x="2695225" y="3873236"/>
                  <a:pt x="2692559" y="3869377"/>
                </a:cubicBezTo>
                <a:cubicBezTo>
                  <a:pt x="2689893" y="3865517"/>
                  <a:pt x="2686903" y="3847367"/>
                  <a:pt x="2685914" y="3829043"/>
                </a:cubicBezTo>
                <a:cubicBezTo>
                  <a:pt x="2684926" y="3810719"/>
                  <a:pt x="2682458" y="3792652"/>
                  <a:pt x="2680432" y="3788895"/>
                </a:cubicBezTo>
                <a:cubicBezTo>
                  <a:pt x="2678405" y="3785138"/>
                  <a:pt x="2675339" y="3773517"/>
                  <a:pt x="2673617" y="3763071"/>
                </a:cubicBezTo>
                <a:cubicBezTo>
                  <a:pt x="2671896" y="3752626"/>
                  <a:pt x="2667953" y="3739805"/>
                  <a:pt x="2664856" y="3734582"/>
                </a:cubicBezTo>
                <a:cubicBezTo>
                  <a:pt x="2661758" y="3729359"/>
                  <a:pt x="2657917" y="3717130"/>
                  <a:pt x="2656320" y="3707405"/>
                </a:cubicBezTo>
                <a:cubicBezTo>
                  <a:pt x="2652637" y="3684989"/>
                  <a:pt x="2642017" y="3678717"/>
                  <a:pt x="2633990" y="3694220"/>
                </a:cubicBezTo>
                <a:cubicBezTo>
                  <a:pt x="2628693" y="3704451"/>
                  <a:pt x="2628722" y="3707066"/>
                  <a:pt x="2634199" y="3713122"/>
                </a:cubicBezTo>
                <a:cubicBezTo>
                  <a:pt x="2637696" y="3716988"/>
                  <a:pt x="2640557" y="3728020"/>
                  <a:pt x="2640557" y="3737638"/>
                </a:cubicBezTo>
                <a:cubicBezTo>
                  <a:pt x="2640557" y="3752464"/>
                  <a:pt x="2639560" y="3753926"/>
                  <a:pt x="2633998" y="3747244"/>
                </a:cubicBezTo>
                <a:cubicBezTo>
                  <a:pt x="2630390" y="3742909"/>
                  <a:pt x="2627438" y="3735528"/>
                  <a:pt x="2627438" y="3730840"/>
                </a:cubicBezTo>
                <a:cubicBezTo>
                  <a:pt x="2627438" y="3726153"/>
                  <a:pt x="2624695" y="3723842"/>
                  <a:pt x="2621342" y="3725705"/>
                </a:cubicBezTo>
                <a:cubicBezTo>
                  <a:pt x="2616724" y="3728271"/>
                  <a:pt x="2614499" y="3719780"/>
                  <a:pt x="2612167" y="3690686"/>
                </a:cubicBezTo>
                <a:cubicBezTo>
                  <a:pt x="2610474" y="3669564"/>
                  <a:pt x="2607314" y="3652281"/>
                  <a:pt x="2605145" y="3652281"/>
                </a:cubicBezTo>
                <a:cubicBezTo>
                  <a:pt x="2602976" y="3652281"/>
                  <a:pt x="2601158" y="3644447"/>
                  <a:pt x="2601104" y="3634871"/>
                </a:cubicBezTo>
                <a:cubicBezTo>
                  <a:pt x="2600974" y="3611715"/>
                  <a:pt x="2587069" y="3585752"/>
                  <a:pt x="2577610" y="3591006"/>
                </a:cubicBezTo>
                <a:cubicBezTo>
                  <a:pt x="2566765" y="3597032"/>
                  <a:pt x="2564271" y="3613351"/>
                  <a:pt x="2572247" y="3626110"/>
                </a:cubicBezTo>
                <a:cubicBezTo>
                  <a:pt x="2580831" y="3639841"/>
                  <a:pt x="2581612" y="3664943"/>
                  <a:pt x="2573455" y="3664943"/>
                </a:cubicBezTo>
                <a:cubicBezTo>
                  <a:pt x="2565487" y="3664943"/>
                  <a:pt x="2553099" y="3644289"/>
                  <a:pt x="2553099" y="3631003"/>
                </a:cubicBezTo>
                <a:cubicBezTo>
                  <a:pt x="2553099" y="3625072"/>
                  <a:pt x="2548671" y="3617809"/>
                  <a:pt x="2543260" y="3614862"/>
                </a:cubicBezTo>
                <a:cubicBezTo>
                  <a:pt x="2530755" y="3608056"/>
                  <a:pt x="2523216" y="3623383"/>
                  <a:pt x="2530623" y="3640554"/>
                </a:cubicBezTo>
                <a:cubicBezTo>
                  <a:pt x="2539261" y="3660579"/>
                  <a:pt x="2536826" y="3698781"/>
                  <a:pt x="2526305" y="3708293"/>
                </a:cubicBezTo>
                <a:cubicBezTo>
                  <a:pt x="2518040" y="3715766"/>
                  <a:pt x="2517311" y="3720509"/>
                  <a:pt x="2519771" y="3750816"/>
                </a:cubicBezTo>
                <a:lnTo>
                  <a:pt x="2522540" y="3784928"/>
                </a:lnTo>
                <a:lnTo>
                  <a:pt x="2509726" y="3781217"/>
                </a:lnTo>
                <a:cubicBezTo>
                  <a:pt x="2491618" y="3775974"/>
                  <a:pt x="2485001" y="3787442"/>
                  <a:pt x="2486852" y="3820858"/>
                </a:cubicBezTo>
                <a:cubicBezTo>
                  <a:pt x="2488027" y="3842062"/>
                  <a:pt x="2486874" y="3848538"/>
                  <a:pt x="2481921" y="3848538"/>
                </a:cubicBezTo>
                <a:cubicBezTo>
                  <a:pt x="2473028" y="3848538"/>
                  <a:pt x="2466210" y="3835250"/>
                  <a:pt x="2462933" y="3811532"/>
                </a:cubicBezTo>
                <a:cubicBezTo>
                  <a:pt x="2461416" y="3800547"/>
                  <a:pt x="2458645" y="3791560"/>
                  <a:pt x="2456776" y="3791560"/>
                </a:cubicBezTo>
                <a:cubicBezTo>
                  <a:pt x="2454907" y="3791560"/>
                  <a:pt x="2451266" y="3782791"/>
                  <a:pt x="2448685" y="3772074"/>
                </a:cubicBezTo>
                <a:cubicBezTo>
                  <a:pt x="2443551" y="3750749"/>
                  <a:pt x="2429132" y="3747939"/>
                  <a:pt x="2427873" y="3768017"/>
                </a:cubicBezTo>
                <a:cubicBezTo>
                  <a:pt x="2427379" y="3775892"/>
                  <a:pt x="2427778" y="3776333"/>
                  <a:pt x="2429236" y="3769526"/>
                </a:cubicBezTo>
                <a:cubicBezTo>
                  <a:pt x="2431510" y="3758919"/>
                  <a:pt x="2443776" y="3756143"/>
                  <a:pt x="2443776" y="3766237"/>
                </a:cubicBezTo>
                <a:cubicBezTo>
                  <a:pt x="2443776" y="3769719"/>
                  <a:pt x="2442301" y="3772585"/>
                  <a:pt x="2440496" y="3772608"/>
                </a:cubicBezTo>
                <a:cubicBezTo>
                  <a:pt x="2438692" y="3772627"/>
                  <a:pt x="2433773" y="3781407"/>
                  <a:pt x="2429564" y="3792113"/>
                </a:cubicBezTo>
                <a:cubicBezTo>
                  <a:pt x="2419134" y="3818643"/>
                  <a:pt x="2419508" y="3859863"/>
                  <a:pt x="2430302" y="3873416"/>
                </a:cubicBezTo>
                <a:cubicBezTo>
                  <a:pt x="2435288" y="3879676"/>
                  <a:pt x="2440996" y="3900531"/>
                  <a:pt x="2444369" y="3924805"/>
                </a:cubicBezTo>
                <a:cubicBezTo>
                  <a:pt x="2447491" y="3947274"/>
                  <a:pt x="2451793" y="3967437"/>
                  <a:pt x="2453931" y="3969610"/>
                </a:cubicBezTo>
                <a:cubicBezTo>
                  <a:pt x="2456068" y="3971784"/>
                  <a:pt x="2454718" y="3980410"/>
                  <a:pt x="2450930" y="3988781"/>
                </a:cubicBezTo>
                <a:cubicBezTo>
                  <a:pt x="2443890" y="4004334"/>
                  <a:pt x="2442745" y="4083398"/>
                  <a:pt x="2449419" y="4093060"/>
                </a:cubicBezTo>
                <a:cubicBezTo>
                  <a:pt x="2454210" y="4099996"/>
                  <a:pt x="2453085" y="4138506"/>
                  <a:pt x="2447957" y="4143094"/>
                </a:cubicBezTo>
                <a:cubicBezTo>
                  <a:pt x="2441139" y="4149195"/>
                  <a:pt x="2430657" y="4133852"/>
                  <a:pt x="2430657" y="4117769"/>
                </a:cubicBezTo>
                <a:cubicBezTo>
                  <a:pt x="2430657" y="4094995"/>
                  <a:pt x="2421562" y="4063787"/>
                  <a:pt x="2414924" y="4063787"/>
                </a:cubicBezTo>
                <a:cubicBezTo>
                  <a:pt x="2411552" y="4063787"/>
                  <a:pt x="2408547" y="4060938"/>
                  <a:pt x="2408246" y="4057456"/>
                </a:cubicBezTo>
                <a:cubicBezTo>
                  <a:pt x="2407945" y="4053974"/>
                  <a:pt x="2407207" y="4048276"/>
                  <a:pt x="2406606" y="4044794"/>
                </a:cubicBezTo>
                <a:cubicBezTo>
                  <a:pt x="2406005" y="4041312"/>
                  <a:pt x="2405267" y="4017301"/>
                  <a:pt x="2404966" y="3991434"/>
                </a:cubicBezTo>
                <a:cubicBezTo>
                  <a:pt x="2404557" y="3956255"/>
                  <a:pt x="2402534" y="3941674"/>
                  <a:pt x="2396933" y="3933567"/>
                </a:cubicBezTo>
                <a:cubicBezTo>
                  <a:pt x="2392816" y="3927605"/>
                  <a:pt x="2389152" y="3919568"/>
                  <a:pt x="2388791" y="3915705"/>
                </a:cubicBezTo>
                <a:cubicBezTo>
                  <a:pt x="2388431" y="3911842"/>
                  <a:pt x="2386709" y="3884465"/>
                  <a:pt x="2384965" y="3854869"/>
                </a:cubicBezTo>
                <a:cubicBezTo>
                  <a:pt x="2381682" y="3799164"/>
                  <a:pt x="2376003" y="3782877"/>
                  <a:pt x="2358125" y="3777893"/>
                </a:cubicBezTo>
                <a:cubicBezTo>
                  <a:pt x="2353578" y="3776624"/>
                  <a:pt x="2349153" y="3769923"/>
                  <a:pt x="2348290" y="3762998"/>
                </a:cubicBezTo>
                <a:cubicBezTo>
                  <a:pt x="2346031" y="3744853"/>
                  <a:pt x="2340915" y="3739100"/>
                  <a:pt x="2331066" y="3743626"/>
                </a:cubicBezTo>
                <a:cubicBezTo>
                  <a:pt x="2323601" y="3747056"/>
                  <a:pt x="2322418" y="3753375"/>
                  <a:pt x="2322362" y="3790153"/>
                </a:cubicBezTo>
                <a:cubicBezTo>
                  <a:pt x="2322327" y="3813559"/>
                  <a:pt x="2323776" y="3835560"/>
                  <a:pt x="2325585" y="3839042"/>
                </a:cubicBezTo>
                <a:cubicBezTo>
                  <a:pt x="2330367" y="3848252"/>
                  <a:pt x="2334803" y="3904455"/>
                  <a:pt x="2331015" y="3907844"/>
                </a:cubicBezTo>
                <a:cubicBezTo>
                  <a:pt x="2325179" y="3913065"/>
                  <a:pt x="2314097" y="3896350"/>
                  <a:pt x="2310583" y="3877027"/>
                </a:cubicBezTo>
                <a:cubicBezTo>
                  <a:pt x="2308684" y="3866581"/>
                  <a:pt x="2307525" y="3841244"/>
                  <a:pt x="2308008" y="3820722"/>
                </a:cubicBezTo>
                <a:cubicBezTo>
                  <a:pt x="2308911" y="3782312"/>
                  <a:pt x="2305309" y="3772864"/>
                  <a:pt x="2289689" y="3772664"/>
                </a:cubicBezTo>
                <a:cubicBezTo>
                  <a:pt x="2281272" y="3772557"/>
                  <a:pt x="2267066" y="3813894"/>
                  <a:pt x="2271750" y="3824865"/>
                </a:cubicBezTo>
                <a:cubicBezTo>
                  <a:pt x="2273403" y="3828737"/>
                  <a:pt x="2272480" y="3829620"/>
                  <a:pt x="2269535" y="3826984"/>
                </a:cubicBezTo>
                <a:cubicBezTo>
                  <a:pt x="2266543" y="3824308"/>
                  <a:pt x="2264486" y="3826489"/>
                  <a:pt x="2264486" y="3832337"/>
                </a:cubicBezTo>
                <a:cubicBezTo>
                  <a:pt x="2264486" y="3837766"/>
                  <a:pt x="2262362" y="3842207"/>
                  <a:pt x="2259765" y="3842207"/>
                </a:cubicBezTo>
                <a:cubicBezTo>
                  <a:pt x="2256796" y="3842207"/>
                  <a:pt x="2256114" y="3835164"/>
                  <a:pt x="2257927" y="3823214"/>
                </a:cubicBezTo>
                <a:cubicBezTo>
                  <a:pt x="2259826" y="3810697"/>
                  <a:pt x="2259092" y="3804222"/>
                  <a:pt x="2255775" y="3804222"/>
                </a:cubicBezTo>
                <a:cubicBezTo>
                  <a:pt x="2253007" y="3804222"/>
                  <a:pt x="2247538" y="3799582"/>
                  <a:pt x="2243620" y="3793911"/>
                </a:cubicBezTo>
                <a:cubicBezTo>
                  <a:pt x="2237039" y="3784383"/>
                  <a:pt x="2237259" y="3782707"/>
                  <a:pt x="2246518" y="3771854"/>
                </a:cubicBezTo>
                <a:cubicBezTo>
                  <a:pt x="2255048" y="3761853"/>
                  <a:pt x="2256154" y="3756142"/>
                  <a:pt x="2253959" y="3733428"/>
                </a:cubicBezTo>
                <a:cubicBezTo>
                  <a:pt x="2252542" y="3718753"/>
                  <a:pt x="2249411" y="3703894"/>
                  <a:pt x="2247002" y="3700406"/>
                </a:cubicBezTo>
                <a:cubicBezTo>
                  <a:pt x="2244592" y="3696919"/>
                  <a:pt x="2242621" y="3689474"/>
                  <a:pt x="2242621" y="3683863"/>
                </a:cubicBezTo>
                <a:cubicBezTo>
                  <a:pt x="2242621" y="3678252"/>
                  <a:pt x="2238686" y="3667546"/>
                  <a:pt x="2233875" y="3660071"/>
                </a:cubicBezTo>
                <a:cubicBezTo>
                  <a:pt x="2229065" y="3652596"/>
                  <a:pt x="2225130" y="3640663"/>
                  <a:pt x="2225130" y="3633553"/>
                </a:cubicBezTo>
                <a:cubicBezTo>
                  <a:pt x="2225130" y="3626444"/>
                  <a:pt x="2223654" y="3620376"/>
                  <a:pt x="2221850" y="3620071"/>
                </a:cubicBezTo>
                <a:cubicBezTo>
                  <a:pt x="2220046" y="3619765"/>
                  <a:pt x="2211683" y="3619052"/>
                  <a:pt x="2203265" y="3618488"/>
                </a:cubicBezTo>
                <a:cubicBezTo>
                  <a:pt x="2188217" y="3617479"/>
                  <a:pt x="2187981" y="3617853"/>
                  <a:pt x="2189200" y="3640708"/>
                </a:cubicBezTo>
                <a:cubicBezTo>
                  <a:pt x="2190210" y="3659648"/>
                  <a:pt x="2188734" y="3664739"/>
                  <a:pt x="2181231" y="3668186"/>
                </a:cubicBezTo>
                <a:cubicBezTo>
                  <a:pt x="2175294" y="3670914"/>
                  <a:pt x="2172929" y="3675839"/>
                  <a:pt x="2174574" y="3682047"/>
                </a:cubicBezTo>
                <a:cubicBezTo>
                  <a:pt x="2176448" y="3689115"/>
                  <a:pt x="2175143" y="3690574"/>
                  <a:pt x="2169669" y="3687533"/>
                </a:cubicBezTo>
                <a:cubicBezTo>
                  <a:pt x="2163315" y="3684003"/>
                  <a:pt x="2163466" y="3685395"/>
                  <a:pt x="2170689" y="3696951"/>
                </a:cubicBezTo>
                <a:cubicBezTo>
                  <a:pt x="2177398" y="3707683"/>
                  <a:pt x="2182591" y="3709846"/>
                  <a:pt x="2195588" y="3707322"/>
                </a:cubicBezTo>
                <a:cubicBezTo>
                  <a:pt x="2211612" y="3704211"/>
                  <a:pt x="2212011" y="3704626"/>
                  <a:pt x="2212011" y="3724422"/>
                </a:cubicBezTo>
                <a:cubicBezTo>
                  <a:pt x="2212011" y="3735582"/>
                  <a:pt x="2214256" y="3747962"/>
                  <a:pt x="2216999" y="3751934"/>
                </a:cubicBezTo>
                <a:cubicBezTo>
                  <a:pt x="2223416" y="3761224"/>
                  <a:pt x="2224997" y="3835911"/>
                  <a:pt x="2218775" y="3835779"/>
                </a:cubicBezTo>
                <a:cubicBezTo>
                  <a:pt x="2208830" y="3835568"/>
                  <a:pt x="2204344" y="3825044"/>
                  <a:pt x="2201276" y="3794726"/>
                </a:cubicBezTo>
                <a:cubicBezTo>
                  <a:pt x="2197020" y="3752657"/>
                  <a:pt x="2193267" y="3746638"/>
                  <a:pt x="2176875" y="3755596"/>
                </a:cubicBezTo>
                <a:cubicBezTo>
                  <a:pt x="2161020" y="3764261"/>
                  <a:pt x="2155873" y="3758069"/>
                  <a:pt x="2138525" y="3709464"/>
                </a:cubicBezTo>
                <a:cubicBezTo>
                  <a:pt x="2123766" y="3668115"/>
                  <a:pt x="2115171" y="3658627"/>
                  <a:pt x="2105352" y="3672844"/>
                </a:cubicBezTo>
                <a:cubicBezTo>
                  <a:pt x="2098301" y="3683051"/>
                  <a:pt x="2099961" y="3702928"/>
                  <a:pt x="2107864" y="3702928"/>
                </a:cubicBezTo>
                <a:cubicBezTo>
                  <a:pt x="2110196" y="3702928"/>
                  <a:pt x="2111495" y="3713164"/>
                  <a:pt x="2110750" y="3725675"/>
                </a:cubicBezTo>
                <a:cubicBezTo>
                  <a:pt x="2109802" y="3741608"/>
                  <a:pt x="2111666" y="3750826"/>
                  <a:pt x="2116974" y="3756445"/>
                </a:cubicBezTo>
                <a:cubicBezTo>
                  <a:pt x="2121142" y="3760857"/>
                  <a:pt x="2124552" y="3770563"/>
                  <a:pt x="2124552" y="3778014"/>
                </a:cubicBezTo>
                <a:cubicBezTo>
                  <a:pt x="2124552" y="3788826"/>
                  <a:pt x="2121921" y="3791560"/>
                  <a:pt x="2111517" y="3791560"/>
                </a:cubicBezTo>
                <a:cubicBezTo>
                  <a:pt x="2101338" y="3791560"/>
                  <a:pt x="2097893" y="3794952"/>
                  <a:pt x="2095798" y="3807039"/>
                </a:cubicBezTo>
                <a:cubicBezTo>
                  <a:pt x="2094322" y="3815551"/>
                  <a:pt x="2089857" y="3823768"/>
                  <a:pt x="2085876" y="3825297"/>
                </a:cubicBezTo>
                <a:cubicBezTo>
                  <a:pt x="2080764" y="3827259"/>
                  <a:pt x="2081441" y="3828292"/>
                  <a:pt x="2088181" y="3828811"/>
                </a:cubicBezTo>
                <a:cubicBezTo>
                  <a:pt x="2093433" y="3829215"/>
                  <a:pt x="2098918" y="3834985"/>
                  <a:pt x="2100377" y="3841641"/>
                </a:cubicBezTo>
                <a:cubicBezTo>
                  <a:pt x="2101836" y="3848293"/>
                  <a:pt x="2107979" y="3858432"/>
                  <a:pt x="2114029" y="3864171"/>
                </a:cubicBezTo>
                <a:cubicBezTo>
                  <a:pt x="2123352" y="3873014"/>
                  <a:pt x="2124827" y="3878655"/>
                  <a:pt x="2123698" y="3901140"/>
                </a:cubicBezTo>
                <a:cubicBezTo>
                  <a:pt x="2122193" y="3931115"/>
                  <a:pt x="2110223" y="3939232"/>
                  <a:pt x="2107910" y="3911846"/>
                </a:cubicBezTo>
                <a:cubicBezTo>
                  <a:pt x="2104476" y="3871189"/>
                  <a:pt x="2098711" y="3858131"/>
                  <a:pt x="2080582" y="3849939"/>
                </a:cubicBezTo>
                <a:cubicBezTo>
                  <a:pt x="2061553" y="3841341"/>
                  <a:pt x="2054585" y="3843688"/>
                  <a:pt x="2054585" y="3858695"/>
                </a:cubicBezTo>
                <a:cubicBezTo>
                  <a:pt x="2054585" y="3866014"/>
                  <a:pt x="2051196" y="3867184"/>
                  <a:pt x="2039326" y="3863960"/>
                </a:cubicBezTo>
                <a:cubicBezTo>
                  <a:pt x="2027534" y="3860757"/>
                  <a:pt x="2023454" y="3862131"/>
                  <a:pt x="2021367" y="3870003"/>
                </a:cubicBezTo>
                <a:cubicBezTo>
                  <a:pt x="2017577" y="3884301"/>
                  <a:pt x="2006483" y="3882736"/>
                  <a:pt x="2006483" y="3867904"/>
                </a:cubicBezTo>
                <a:cubicBezTo>
                  <a:pt x="2006483" y="3861146"/>
                  <a:pt x="2004483" y="3853826"/>
                  <a:pt x="2002040" y="3851640"/>
                </a:cubicBezTo>
                <a:cubicBezTo>
                  <a:pt x="1999595" y="3849452"/>
                  <a:pt x="1998824" y="3844783"/>
                  <a:pt x="2000327" y="3841264"/>
                </a:cubicBezTo>
                <a:cubicBezTo>
                  <a:pt x="2001829" y="3837744"/>
                  <a:pt x="1998909" y="3830657"/>
                  <a:pt x="1993839" y="3825515"/>
                </a:cubicBezTo>
                <a:cubicBezTo>
                  <a:pt x="1987608" y="3819197"/>
                  <a:pt x="1984619" y="3809349"/>
                  <a:pt x="1984619" y="3795142"/>
                </a:cubicBezTo>
                <a:cubicBezTo>
                  <a:pt x="1984619" y="3769202"/>
                  <a:pt x="1974654" y="3754565"/>
                  <a:pt x="1964941" y="3766237"/>
                </a:cubicBezTo>
                <a:cubicBezTo>
                  <a:pt x="1961333" y="3770571"/>
                  <a:pt x="1958381" y="3778042"/>
                  <a:pt x="1958381" y="3782839"/>
                </a:cubicBezTo>
                <a:cubicBezTo>
                  <a:pt x="1958381" y="3787636"/>
                  <a:pt x="1955430" y="3791560"/>
                  <a:pt x="1951822" y="3791560"/>
                </a:cubicBezTo>
                <a:cubicBezTo>
                  <a:pt x="1948214" y="3791560"/>
                  <a:pt x="1945262" y="3788711"/>
                  <a:pt x="1945262" y="3785229"/>
                </a:cubicBezTo>
                <a:cubicBezTo>
                  <a:pt x="1945262" y="3781747"/>
                  <a:pt x="1939359" y="3778898"/>
                  <a:pt x="1932144" y="3778898"/>
                </a:cubicBezTo>
                <a:cubicBezTo>
                  <a:pt x="1921186" y="3778898"/>
                  <a:pt x="1919025" y="3776378"/>
                  <a:pt x="1919025" y="3763599"/>
                </a:cubicBezTo>
                <a:cubicBezTo>
                  <a:pt x="1919025" y="3755184"/>
                  <a:pt x="1921033" y="3747330"/>
                  <a:pt x="1923488" y="3746145"/>
                </a:cubicBezTo>
                <a:cubicBezTo>
                  <a:pt x="1930205" y="3742904"/>
                  <a:pt x="1918350" y="3709947"/>
                  <a:pt x="1908872" y="3705513"/>
                </a:cubicBezTo>
                <a:cubicBezTo>
                  <a:pt x="1899063" y="3700925"/>
                  <a:pt x="1884041" y="3719355"/>
                  <a:pt x="1884041" y="3735980"/>
                </a:cubicBezTo>
                <a:cubicBezTo>
                  <a:pt x="1884041" y="3742633"/>
                  <a:pt x="1886078" y="3753587"/>
                  <a:pt x="1888568" y="3760322"/>
                </a:cubicBezTo>
                <a:cubicBezTo>
                  <a:pt x="1893887" y="3774711"/>
                  <a:pt x="1885030" y="3777798"/>
                  <a:pt x="1875988" y="3764707"/>
                </a:cubicBezTo>
                <a:cubicBezTo>
                  <a:pt x="1871664" y="3758447"/>
                  <a:pt x="1869719" y="3758769"/>
                  <a:pt x="1866434" y="3766290"/>
                </a:cubicBezTo>
                <a:cubicBezTo>
                  <a:pt x="1861190" y="3778299"/>
                  <a:pt x="1860967" y="3797891"/>
                  <a:pt x="1866075" y="3797891"/>
                </a:cubicBezTo>
                <a:cubicBezTo>
                  <a:pt x="1868220" y="3797891"/>
                  <a:pt x="1871209" y="3805013"/>
                  <a:pt x="1872718" y="3813718"/>
                </a:cubicBezTo>
                <a:cubicBezTo>
                  <a:pt x="1874227" y="3822423"/>
                  <a:pt x="1877392" y="3829545"/>
                  <a:pt x="1879752" y="3829545"/>
                </a:cubicBezTo>
                <a:cubicBezTo>
                  <a:pt x="1882111" y="3829545"/>
                  <a:pt x="1884041" y="3836499"/>
                  <a:pt x="1884041" y="3844998"/>
                </a:cubicBezTo>
                <a:cubicBezTo>
                  <a:pt x="1884041" y="3853498"/>
                  <a:pt x="1886113" y="3862306"/>
                  <a:pt x="1888645" y="3864572"/>
                </a:cubicBezTo>
                <a:cubicBezTo>
                  <a:pt x="1891177" y="3866837"/>
                  <a:pt x="1892520" y="3871854"/>
                  <a:pt x="1891630" y="3875720"/>
                </a:cubicBezTo>
                <a:cubicBezTo>
                  <a:pt x="1889035" y="3886993"/>
                  <a:pt x="1902591" y="3905515"/>
                  <a:pt x="1913437" y="3905515"/>
                </a:cubicBezTo>
                <a:cubicBezTo>
                  <a:pt x="1919375" y="3905515"/>
                  <a:pt x="1923398" y="3909350"/>
                  <a:pt x="1923398" y="3915012"/>
                </a:cubicBezTo>
                <a:cubicBezTo>
                  <a:pt x="1923398" y="3920235"/>
                  <a:pt x="1925365" y="3924508"/>
                  <a:pt x="1927771" y="3924508"/>
                </a:cubicBezTo>
                <a:cubicBezTo>
                  <a:pt x="1930176" y="3924508"/>
                  <a:pt x="1932144" y="3930106"/>
                  <a:pt x="1932144" y="3936947"/>
                </a:cubicBezTo>
                <a:cubicBezTo>
                  <a:pt x="1932144" y="3943788"/>
                  <a:pt x="1936079" y="3952436"/>
                  <a:pt x="1940889" y="3956162"/>
                </a:cubicBezTo>
                <a:cubicBezTo>
                  <a:pt x="1954852" y="3966980"/>
                  <a:pt x="1951574" y="3977299"/>
                  <a:pt x="1935640" y="3972686"/>
                </a:cubicBezTo>
                <a:cubicBezTo>
                  <a:pt x="1927944" y="3970457"/>
                  <a:pt x="1920564" y="3966474"/>
                  <a:pt x="1919242" y="3963834"/>
                </a:cubicBezTo>
                <a:cubicBezTo>
                  <a:pt x="1917920" y="3961195"/>
                  <a:pt x="1911339" y="3953967"/>
                  <a:pt x="1904617" y="3947772"/>
                </a:cubicBezTo>
                <a:cubicBezTo>
                  <a:pt x="1897896" y="3941576"/>
                  <a:pt x="1890509" y="3929320"/>
                  <a:pt x="1888202" y="3920535"/>
                </a:cubicBezTo>
                <a:cubicBezTo>
                  <a:pt x="1883345" y="3902041"/>
                  <a:pt x="1873609" y="3886523"/>
                  <a:pt x="1866862" y="3886523"/>
                </a:cubicBezTo>
                <a:cubicBezTo>
                  <a:pt x="1864285" y="3886523"/>
                  <a:pt x="1862177" y="3881029"/>
                  <a:pt x="1862177" y="3874314"/>
                </a:cubicBezTo>
                <a:cubicBezTo>
                  <a:pt x="1862177" y="3867598"/>
                  <a:pt x="1859607" y="3858339"/>
                  <a:pt x="1856466" y="3853739"/>
                </a:cubicBezTo>
                <a:cubicBezTo>
                  <a:pt x="1853325" y="3849137"/>
                  <a:pt x="1849451" y="3840387"/>
                  <a:pt x="1847857" y="3834293"/>
                </a:cubicBezTo>
                <a:cubicBezTo>
                  <a:pt x="1844203" y="3820320"/>
                  <a:pt x="1827822" y="3819806"/>
                  <a:pt x="1824179" y="3833550"/>
                </a:cubicBezTo>
                <a:cubicBezTo>
                  <a:pt x="1822673" y="3839234"/>
                  <a:pt x="1823855" y="3849482"/>
                  <a:pt x="1826806" y="3856324"/>
                </a:cubicBezTo>
                <a:cubicBezTo>
                  <a:pt x="1829757" y="3863165"/>
                  <a:pt x="1830945" y="3870540"/>
                  <a:pt x="1829445" y="3872712"/>
                </a:cubicBezTo>
                <a:cubicBezTo>
                  <a:pt x="1827945" y="3874883"/>
                  <a:pt x="1825077" y="3872816"/>
                  <a:pt x="1823072" y="3868119"/>
                </a:cubicBezTo>
                <a:cubicBezTo>
                  <a:pt x="1818209" y="3856728"/>
                  <a:pt x="1809702" y="3865026"/>
                  <a:pt x="1809702" y="3881158"/>
                </a:cubicBezTo>
                <a:cubicBezTo>
                  <a:pt x="1809702" y="3888715"/>
                  <a:pt x="1813317" y="3895408"/>
                  <a:pt x="1818447" y="3897350"/>
                </a:cubicBezTo>
                <a:cubicBezTo>
                  <a:pt x="1824168" y="3899516"/>
                  <a:pt x="1827193" y="3905986"/>
                  <a:pt x="1827193" y="3916052"/>
                </a:cubicBezTo>
                <a:cubicBezTo>
                  <a:pt x="1827193" y="3932239"/>
                  <a:pt x="1846127" y="3962493"/>
                  <a:pt x="1856256" y="3962493"/>
                </a:cubicBezTo>
                <a:cubicBezTo>
                  <a:pt x="1859512" y="3962493"/>
                  <a:pt x="1862177" y="3968191"/>
                  <a:pt x="1862177" y="3975155"/>
                </a:cubicBezTo>
                <a:cubicBezTo>
                  <a:pt x="1862177" y="3984267"/>
                  <a:pt x="1859262" y="3987817"/>
                  <a:pt x="1851780" y="3987817"/>
                </a:cubicBezTo>
                <a:cubicBezTo>
                  <a:pt x="1846061" y="3987817"/>
                  <a:pt x="1838933" y="3992090"/>
                  <a:pt x="1835939" y="3997313"/>
                </a:cubicBezTo>
                <a:cubicBezTo>
                  <a:pt x="1832945" y="4002536"/>
                  <a:pt x="1828768" y="4006809"/>
                  <a:pt x="1826658" y="4006809"/>
                </a:cubicBezTo>
                <a:cubicBezTo>
                  <a:pt x="1824547" y="4006809"/>
                  <a:pt x="1822820" y="4002536"/>
                  <a:pt x="1822820" y="3997313"/>
                </a:cubicBezTo>
                <a:cubicBezTo>
                  <a:pt x="1822820" y="3992090"/>
                  <a:pt x="1820853" y="3987817"/>
                  <a:pt x="1818447" y="3987817"/>
                </a:cubicBezTo>
                <a:cubicBezTo>
                  <a:pt x="1816042" y="3987817"/>
                  <a:pt x="1814075" y="3983167"/>
                  <a:pt x="1814075" y="3977485"/>
                </a:cubicBezTo>
                <a:cubicBezTo>
                  <a:pt x="1814075" y="3964980"/>
                  <a:pt x="1797850" y="3925247"/>
                  <a:pt x="1786969" y="3911104"/>
                </a:cubicBezTo>
                <a:cubicBezTo>
                  <a:pt x="1782636" y="3905473"/>
                  <a:pt x="1779091" y="3894814"/>
                  <a:pt x="1779091" y="3887418"/>
                </a:cubicBezTo>
                <a:cubicBezTo>
                  <a:pt x="1779091" y="3875266"/>
                  <a:pt x="1765017" y="3844344"/>
                  <a:pt x="1741945" y="3805804"/>
                </a:cubicBezTo>
                <a:cubicBezTo>
                  <a:pt x="1737256" y="3797970"/>
                  <a:pt x="1729920" y="3791560"/>
                  <a:pt x="1725644" y="3791560"/>
                </a:cubicBezTo>
                <a:cubicBezTo>
                  <a:pt x="1721369" y="3791560"/>
                  <a:pt x="1717870" y="3787082"/>
                  <a:pt x="1717870" y="3781609"/>
                </a:cubicBezTo>
                <a:cubicBezTo>
                  <a:pt x="1717870" y="3769873"/>
                  <a:pt x="1697380" y="3717614"/>
                  <a:pt x="1690111" y="3710809"/>
                </a:cubicBezTo>
                <a:cubicBezTo>
                  <a:pt x="1687340" y="3708215"/>
                  <a:pt x="1682895" y="3700396"/>
                  <a:pt x="1680232" y="3693432"/>
                </a:cubicBezTo>
                <a:cubicBezTo>
                  <a:pt x="1677569" y="3686468"/>
                  <a:pt x="1671979" y="3679799"/>
                  <a:pt x="1667809" y="3678612"/>
                </a:cubicBezTo>
                <a:cubicBezTo>
                  <a:pt x="1659247" y="3676176"/>
                  <a:pt x="1643530" y="3655329"/>
                  <a:pt x="1643530" y="3646410"/>
                </a:cubicBezTo>
                <a:cubicBezTo>
                  <a:pt x="1643530" y="3643181"/>
                  <a:pt x="1638611" y="3634936"/>
                  <a:pt x="1632598" y="3628089"/>
                </a:cubicBezTo>
                <a:cubicBezTo>
                  <a:pt x="1626078" y="3620663"/>
                  <a:pt x="1621666" y="3609167"/>
                  <a:pt x="1621666" y="3599604"/>
                </a:cubicBezTo>
                <a:cubicBezTo>
                  <a:pt x="1621666" y="3587944"/>
                  <a:pt x="1617908" y="3580855"/>
                  <a:pt x="1607892" y="3573621"/>
                </a:cubicBezTo>
                <a:cubicBezTo>
                  <a:pt x="1592334" y="3562385"/>
                  <a:pt x="1582310" y="3568877"/>
                  <a:pt x="1582310" y="3590188"/>
                </a:cubicBezTo>
                <a:cubicBezTo>
                  <a:pt x="1582310" y="3608936"/>
                  <a:pt x="1563990" y="3602336"/>
                  <a:pt x="1556968" y="3581059"/>
                </a:cubicBezTo>
                <a:cubicBezTo>
                  <a:pt x="1553808" y="3571483"/>
                  <a:pt x="1549853" y="3563286"/>
                  <a:pt x="1548180" y="3562841"/>
                </a:cubicBezTo>
                <a:cubicBezTo>
                  <a:pt x="1534416" y="3559184"/>
                  <a:pt x="1525461" y="3559990"/>
                  <a:pt x="1525461" y="3564887"/>
                </a:cubicBezTo>
                <a:cubicBezTo>
                  <a:pt x="1525461" y="3568100"/>
                  <a:pt x="1523850" y="3569285"/>
                  <a:pt x="1521880" y="3567523"/>
                </a:cubicBezTo>
                <a:cubicBezTo>
                  <a:pt x="1515780" y="3562065"/>
                  <a:pt x="1521675" y="3600788"/>
                  <a:pt x="1528124" y="3608537"/>
                </a:cubicBezTo>
                <a:cubicBezTo>
                  <a:pt x="1531470" y="3612557"/>
                  <a:pt x="1534207" y="3621363"/>
                  <a:pt x="1534207" y="3628104"/>
                </a:cubicBezTo>
                <a:cubicBezTo>
                  <a:pt x="1534207" y="3634846"/>
                  <a:pt x="1540440" y="3651589"/>
                  <a:pt x="1548057" y="3665312"/>
                </a:cubicBezTo>
                <a:cubicBezTo>
                  <a:pt x="1555674" y="3679035"/>
                  <a:pt x="1562260" y="3695249"/>
                  <a:pt x="1562692" y="3701343"/>
                </a:cubicBezTo>
                <a:cubicBezTo>
                  <a:pt x="1563458" y="3712152"/>
                  <a:pt x="1570563" y="3739304"/>
                  <a:pt x="1578407" y="3761403"/>
                </a:cubicBezTo>
                <a:cubicBezTo>
                  <a:pt x="1580554" y="3767449"/>
                  <a:pt x="1582310" y="3778174"/>
                  <a:pt x="1582310" y="3785236"/>
                </a:cubicBezTo>
                <a:cubicBezTo>
                  <a:pt x="1582310" y="3792808"/>
                  <a:pt x="1587872" y="3802974"/>
                  <a:pt x="1595866" y="3810012"/>
                </a:cubicBezTo>
                <a:lnTo>
                  <a:pt x="1609422" y="3821947"/>
                </a:lnTo>
                <a:lnTo>
                  <a:pt x="1599783" y="3835903"/>
                </a:lnTo>
                <a:cubicBezTo>
                  <a:pt x="1592444" y="3846528"/>
                  <a:pt x="1590770" y="3854389"/>
                  <a:pt x="1592769" y="3868858"/>
                </a:cubicBezTo>
                <a:cubicBezTo>
                  <a:pt x="1594782" y="3883425"/>
                  <a:pt x="1593985" y="3887076"/>
                  <a:pt x="1589357" y="3884504"/>
                </a:cubicBezTo>
                <a:cubicBezTo>
                  <a:pt x="1584420" y="3881763"/>
                  <a:pt x="1584200" y="3884530"/>
                  <a:pt x="1588146" y="3899664"/>
                </a:cubicBezTo>
                <a:cubicBezTo>
                  <a:pt x="1591360" y="3911992"/>
                  <a:pt x="1596026" y="3918177"/>
                  <a:pt x="1602110" y="3918177"/>
                </a:cubicBezTo>
                <a:cubicBezTo>
                  <a:pt x="1615135" y="3918177"/>
                  <a:pt x="1626341" y="3931870"/>
                  <a:pt x="1628191" y="3950044"/>
                </a:cubicBezTo>
                <a:cubicBezTo>
                  <a:pt x="1629067" y="3958632"/>
                  <a:pt x="1631165" y="3976342"/>
                  <a:pt x="1632855" y="3989399"/>
                </a:cubicBezTo>
                <a:cubicBezTo>
                  <a:pt x="1634574" y="4002674"/>
                  <a:pt x="1634178" y="4013140"/>
                  <a:pt x="1631957" y="4013140"/>
                </a:cubicBezTo>
                <a:cubicBezTo>
                  <a:pt x="1622428" y="4013140"/>
                  <a:pt x="1608547" y="3992280"/>
                  <a:pt x="1608547" y="3977962"/>
                </a:cubicBezTo>
                <a:cubicBezTo>
                  <a:pt x="1608547" y="3969454"/>
                  <a:pt x="1606463" y="3962493"/>
                  <a:pt x="1603916" y="3962493"/>
                </a:cubicBezTo>
                <a:cubicBezTo>
                  <a:pt x="1601369" y="3962493"/>
                  <a:pt x="1600693" y="3959196"/>
                  <a:pt x="1602413" y="3955165"/>
                </a:cubicBezTo>
                <a:cubicBezTo>
                  <a:pt x="1604547" y="3950166"/>
                  <a:pt x="1602608" y="3948948"/>
                  <a:pt x="1596313" y="3951331"/>
                </a:cubicBezTo>
                <a:cubicBezTo>
                  <a:pt x="1589579" y="3953881"/>
                  <a:pt x="1585069" y="3950297"/>
                  <a:pt x="1579635" y="3938084"/>
                </a:cubicBezTo>
                <a:cubicBezTo>
                  <a:pt x="1575539" y="3928876"/>
                  <a:pt x="1569545" y="3919064"/>
                  <a:pt x="1566316" y="3916280"/>
                </a:cubicBezTo>
                <a:cubicBezTo>
                  <a:pt x="1563087" y="3913495"/>
                  <a:pt x="1560382" y="3903524"/>
                  <a:pt x="1560307" y="3894122"/>
                </a:cubicBezTo>
                <a:cubicBezTo>
                  <a:pt x="1560115" y="3870440"/>
                  <a:pt x="1542195" y="3842024"/>
                  <a:pt x="1530293" y="3846530"/>
                </a:cubicBezTo>
                <a:cubicBezTo>
                  <a:pt x="1517387" y="3851416"/>
                  <a:pt x="1518670" y="3838281"/>
                  <a:pt x="1532819" y="3820661"/>
                </a:cubicBezTo>
                <a:cubicBezTo>
                  <a:pt x="1544538" y="3806067"/>
                  <a:pt x="1544542" y="3806029"/>
                  <a:pt x="1536987" y="3782979"/>
                </a:cubicBezTo>
                <a:cubicBezTo>
                  <a:pt x="1530753" y="3763960"/>
                  <a:pt x="1527108" y="3759906"/>
                  <a:pt x="1516242" y="3759906"/>
                </a:cubicBezTo>
                <a:cubicBezTo>
                  <a:pt x="1503186" y="3759906"/>
                  <a:pt x="1503088" y="3759648"/>
                  <a:pt x="1505885" y="3732637"/>
                </a:cubicBezTo>
                <a:cubicBezTo>
                  <a:pt x="1509108" y="3701524"/>
                  <a:pt x="1501545" y="3686337"/>
                  <a:pt x="1486312" y="3693337"/>
                </a:cubicBezTo>
                <a:cubicBezTo>
                  <a:pt x="1477958" y="3697175"/>
                  <a:pt x="1451344" y="3676788"/>
                  <a:pt x="1447478" y="3663589"/>
                </a:cubicBezTo>
                <a:cubicBezTo>
                  <a:pt x="1446676" y="3660852"/>
                  <a:pt x="1443232" y="3658612"/>
                  <a:pt x="1439825" y="3658612"/>
                </a:cubicBezTo>
                <a:cubicBezTo>
                  <a:pt x="1429673" y="3658612"/>
                  <a:pt x="1432795" y="3646096"/>
                  <a:pt x="1444562" y="3639619"/>
                </a:cubicBezTo>
                <a:cubicBezTo>
                  <a:pt x="1450575" y="3636310"/>
                  <a:pt x="1455495" y="3629090"/>
                  <a:pt x="1455495" y="3623575"/>
                </a:cubicBezTo>
                <a:cubicBezTo>
                  <a:pt x="1455495" y="3617656"/>
                  <a:pt x="1457734" y="3615176"/>
                  <a:pt x="1460961" y="3617522"/>
                </a:cubicBezTo>
                <a:cubicBezTo>
                  <a:pt x="1463968" y="3619706"/>
                  <a:pt x="1460312" y="3613464"/>
                  <a:pt x="1452837" y="3603651"/>
                </a:cubicBezTo>
                <a:cubicBezTo>
                  <a:pt x="1442928" y="3590641"/>
                  <a:pt x="1438581" y="3578327"/>
                  <a:pt x="1436789" y="3558195"/>
                </a:cubicBezTo>
                <a:cubicBezTo>
                  <a:pt x="1433074" y="3516449"/>
                  <a:pt x="1404079" y="3477046"/>
                  <a:pt x="1396928" y="3504024"/>
                </a:cubicBezTo>
                <a:cubicBezTo>
                  <a:pt x="1392375" y="3521202"/>
                  <a:pt x="1393960" y="3531540"/>
                  <a:pt x="1403198" y="3544914"/>
                </a:cubicBezTo>
                <a:cubicBezTo>
                  <a:pt x="1410061" y="3554850"/>
                  <a:pt x="1412379" y="3567442"/>
                  <a:pt x="1413240" y="3599452"/>
                </a:cubicBezTo>
                <a:cubicBezTo>
                  <a:pt x="1414062" y="3630005"/>
                  <a:pt x="1416340" y="3643168"/>
                  <a:pt x="1421808" y="3648957"/>
                </a:cubicBezTo>
                <a:cubicBezTo>
                  <a:pt x="1429750" y="3657364"/>
                  <a:pt x="1431902" y="3671274"/>
                  <a:pt x="1425263" y="3671274"/>
                </a:cubicBezTo>
                <a:cubicBezTo>
                  <a:pt x="1423045" y="3671274"/>
                  <a:pt x="1422690" y="3679020"/>
                  <a:pt x="1424464" y="3688684"/>
                </a:cubicBezTo>
                <a:cubicBezTo>
                  <a:pt x="1426515" y="3699859"/>
                  <a:pt x="1431077" y="3706818"/>
                  <a:pt x="1437204" y="3708117"/>
                </a:cubicBezTo>
                <a:cubicBezTo>
                  <a:pt x="1444851" y="3709737"/>
                  <a:pt x="1446749" y="3714383"/>
                  <a:pt x="1446749" y="3731484"/>
                </a:cubicBezTo>
                <a:cubicBezTo>
                  <a:pt x="1446749" y="3743223"/>
                  <a:pt x="1448948" y="3754796"/>
                  <a:pt x="1451637" y="3757202"/>
                </a:cubicBezTo>
                <a:cubicBezTo>
                  <a:pt x="1454723" y="3759963"/>
                  <a:pt x="1455559" y="3771776"/>
                  <a:pt x="1453905" y="3789250"/>
                </a:cubicBezTo>
                <a:cubicBezTo>
                  <a:pt x="1451711" y="3812432"/>
                  <a:pt x="1452692" y="3818195"/>
                  <a:pt x="1459949" y="3824758"/>
                </a:cubicBezTo>
                <a:cubicBezTo>
                  <a:pt x="1464715" y="3829066"/>
                  <a:pt x="1468613" y="3835830"/>
                  <a:pt x="1468613" y="3839789"/>
                </a:cubicBezTo>
                <a:cubicBezTo>
                  <a:pt x="1468613" y="3843748"/>
                  <a:pt x="1471702" y="3850699"/>
                  <a:pt x="1475477" y="3855234"/>
                </a:cubicBezTo>
                <a:cubicBezTo>
                  <a:pt x="1479252" y="3859769"/>
                  <a:pt x="1481517" y="3868037"/>
                  <a:pt x="1480511" y="3873606"/>
                </a:cubicBezTo>
                <a:cubicBezTo>
                  <a:pt x="1478594" y="3884222"/>
                  <a:pt x="1486874" y="3899185"/>
                  <a:pt x="1494666" y="3899185"/>
                </a:cubicBezTo>
                <a:cubicBezTo>
                  <a:pt x="1497173" y="3899185"/>
                  <a:pt x="1499224" y="3909090"/>
                  <a:pt x="1499224" y="3921197"/>
                </a:cubicBezTo>
                <a:cubicBezTo>
                  <a:pt x="1499224" y="3937382"/>
                  <a:pt x="1501973" y="3945817"/>
                  <a:pt x="1509610" y="3953061"/>
                </a:cubicBezTo>
                <a:cubicBezTo>
                  <a:pt x="1519932" y="3962853"/>
                  <a:pt x="1524025" y="3990773"/>
                  <a:pt x="1516169" y="3997802"/>
                </a:cubicBezTo>
                <a:cubicBezTo>
                  <a:pt x="1514065" y="3999685"/>
                  <a:pt x="1512343" y="3998208"/>
                  <a:pt x="1512343" y="3994521"/>
                </a:cubicBezTo>
                <a:cubicBezTo>
                  <a:pt x="1512343" y="3990833"/>
                  <a:pt x="1509604" y="3987817"/>
                  <a:pt x="1506257" y="3987817"/>
                </a:cubicBezTo>
                <a:cubicBezTo>
                  <a:pt x="1502911" y="3987817"/>
                  <a:pt x="1499039" y="3981284"/>
                  <a:pt x="1497656" y="3973300"/>
                </a:cubicBezTo>
                <a:cubicBezTo>
                  <a:pt x="1496096" y="3964303"/>
                  <a:pt x="1488706" y="3954673"/>
                  <a:pt x="1478220" y="3947976"/>
                </a:cubicBezTo>
                <a:cubicBezTo>
                  <a:pt x="1456305" y="3933979"/>
                  <a:pt x="1452330" y="3934348"/>
                  <a:pt x="1448741" y="3950719"/>
                </a:cubicBezTo>
                <a:cubicBezTo>
                  <a:pt x="1446440" y="3961216"/>
                  <a:pt x="1449383" y="3969058"/>
                  <a:pt x="1461808" y="3985538"/>
                </a:cubicBezTo>
                <a:cubicBezTo>
                  <a:pt x="1470629" y="3997237"/>
                  <a:pt x="1479463" y="4006809"/>
                  <a:pt x="1481440" y="4006809"/>
                </a:cubicBezTo>
                <a:cubicBezTo>
                  <a:pt x="1487212" y="4006809"/>
                  <a:pt x="1493425" y="4021174"/>
                  <a:pt x="1496501" y="4041629"/>
                </a:cubicBezTo>
                <a:cubicBezTo>
                  <a:pt x="1499066" y="4058676"/>
                  <a:pt x="1498736" y="4059475"/>
                  <a:pt x="1493287" y="4049433"/>
                </a:cubicBezTo>
                <a:cubicBezTo>
                  <a:pt x="1482027" y="4028678"/>
                  <a:pt x="1472986" y="4042419"/>
                  <a:pt x="1472986" y="4080292"/>
                </a:cubicBezTo>
                <a:cubicBezTo>
                  <a:pt x="1472986" y="4117150"/>
                  <a:pt x="1471933" y="4118339"/>
                  <a:pt x="1442104" y="4115143"/>
                </a:cubicBezTo>
                <a:cubicBezTo>
                  <a:pt x="1435256" y="4114409"/>
                  <a:pt x="1426158" y="4120305"/>
                  <a:pt x="1418702" y="4130309"/>
                </a:cubicBezTo>
                <a:lnTo>
                  <a:pt x="1406504" y="4146676"/>
                </a:lnTo>
                <a:lnTo>
                  <a:pt x="1417881" y="4160828"/>
                </a:lnTo>
                <a:cubicBezTo>
                  <a:pt x="1424138" y="4168612"/>
                  <a:pt x="1429257" y="4177765"/>
                  <a:pt x="1429257" y="4181169"/>
                </a:cubicBezTo>
                <a:cubicBezTo>
                  <a:pt x="1429257" y="4184573"/>
                  <a:pt x="1433193" y="4190917"/>
                  <a:pt x="1438003" y="4195266"/>
                </a:cubicBezTo>
                <a:cubicBezTo>
                  <a:pt x="1447662" y="4204000"/>
                  <a:pt x="1449888" y="4222114"/>
                  <a:pt x="1441283" y="4221961"/>
                </a:cubicBezTo>
                <a:cubicBezTo>
                  <a:pt x="1432591" y="4221807"/>
                  <a:pt x="1426304" y="4213680"/>
                  <a:pt x="1422992" y="4198318"/>
                </a:cubicBezTo>
                <a:cubicBezTo>
                  <a:pt x="1421198" y="4189993"/>
                  <a:pt x="1416410" y="4184073"/>
                  <a:pt x="1411471" y="4184073"/>
                </a:cubicBezTo>
                <a:cubicBezTo>
                  <a:pt x="1406287" y="4184073"/>
                  <a:pt x="1403020" y="4179722"/>
                  <a:pt x="1403020" y="4172819"/>
                </a:cubicBezTo>
                <a:cubicBezTo>
                  <a:pt x="1403020" y="4161295"/>
                  <a:pt x="1385964" y="4135643"/>
                  <a:pt x="1380062" y="4138288"/>
                </a:cubicBezTo>
                <a:cubicBezTo>
                  <a:pt x="1378258" y="4139096"/>
                  <a:pt x="1376782" y="4135484"/>
                  <a:pt x="1376782" y="4130261"/>
                </a:cubicBezTo>
                <a:cubicBezTo>
                  <a:pt x="1376782" y="4125038"/>
                  <a:pt x="1373179" y="4120765"/>
                  <a:pt x="1368775" y="4120765"/>
                </a:cubicBezTo>
                <a:cubicBezTo>
                  <a:pt x="1356373" y="4120765"/>
                  <a:pt x="1348483" y="4094119"/>
                  <a:pt x="1354046" y="4071017"/>
                </a:cubicBezTo>
                <a:cubicBezTo>
                  <a:pt x="1357615" y="4056193"/>
                  <a:pt x="1357295" y="4050278"/>
                  <a:pt x="1352620" y="4044661"/>
                </a:cubicBezTo>
                <a:cubicBezTo>
                  <a:pt x="1342683" y="4032721"/>
                  <a:pt x="1331004" y="4040005"/>
                  <a:pt x="1329483" y="4059093"/>
                </a:cubicBezTo>
                <a:cubicBezTo>
                  <a:pt x="1328273" y="4074272"/>
                  <a:pt x="1324663" y="4078966"/>
                  <a:pt x="1315264" y="4077582"/>
                </a:cubicBezTo>
                <a:cubicBezTo>
                  <a:pt x="1310380" y="4076864"/>
                  <a:pt x="1316632" y="4114170"/>
                  <a:pt x="1322597" y="4121336"/>
                </a:cubicBezTo>
                <a:cubicBezTo>
                  <a:pt x="1325942" y="4125357"/>
                  <a:pt x="1328680" y="4133646"/>
                  <a:pt x="1328680" y="4139757"/>
                </a:cubicBezTo>
                <a:cubicBezTo>
                  <a:pt x="1328680" y="4145869"/>
                  <a:pt x="1331631" y="4154415"/>
                  <a:pt x="1335239" y="4158750"/>
                </a:cubicBezTo>
                <a:cubicBezTo>
                  <a:pt x="1338847" y="4163085"/>
                  <a:pt x="1341799" y="4173405"/>
                  <a:pt x="1341799" y="4181683"/>
                </a:cubicBezTo>
                <a:cubicBezTo>
                  <a:pt x="1341799" y="4189961"/>
                  <a:pt x="1343766" y="4196735"/>
                  <a:pt x="1346172" y="4196735"/>
                </a:cubicBezTo>
                <a:cubicBezTo>
                  <a:pt x="1348577" y="4196735"/>
                  <a:pt x="1350544" y="4201008"/>
                  <a:pt x="1350544" y="4206232"/>
                </a:cubicBezTo>
                <a:cubicBezTo>
                  <a:pt x="1350544" y="4211454"/>
                  <a:pt x="1352242" y="4215728"/>
                  <a:pt x="1354316" y="4215728"/>
                </a:cubicBezTo>
                <a:cubicBezTo>
                  <a:pt x="1359967" y="4215728"/>
                  <a:pt x="1364711" y="4286383"/>
                  <a:pt x="1359560" y="4293840"/>
                </a:cubicBezTo>
                <a:cubicBezTo>
                  <a:pt x="1356667" y="4298027"/>
                  <a:pt x="1354165" y="4296068"/>
                  <a:pt x="1352111" y="4288008"/>
                </a:cubicBezTo>
                <a:cubicBezTo>
                  <a:pt x="1350410" y="4281333"/>
                  <a:pt x="1346409" y="4273593"/>
                  <a:pt x="1343221" y="4270808"/>
                </a:cubicBezTo>
                <a:cubicBezTo>
                  <a:pt x="1340034" y="4268023"/>
                  <a:pt x="1337426" y="4260357"/>
                  <a:pt x="1337426" y="4253772"/>
                </a:cubicBezTo>
                <a:cubicBezTo>
                  <a:pt x="1337426" y="4247186"/>
                  <a:pt x="1335458" y="4240037"/>
                  <a:pt x="1333053" y="4237886"/>
                </a:cubicBezTo>
                <a:cubicBezTo>
                  <a:pt x="1330648" y="4235734"/>
                  <a:pt x="1328680" y="4228841"/>
                  <a:pt x="1328680" y="4222568"/>
                </a:cubicBezTo>
                <a:cubicBezTo>
                  <a:pt x="1328680" y="4216296"/>
                  <a:pt x="1323647" y="4200428"/>
                  <a:pt x="1317496" y="4187305"/>
                </a:cubicBezTo>
                <a:cubicBezTo>
                  <a:pt x="1311345" y="4174183"/>
                  <a:pt x="1307348" y="4159541"/>
                  <a:pt x="1308613" y="4154767"/>
                </a:cubicBezTo>
                <a:cubicBezTo>
                  <a:pt x="1309878" y="4149994"/>
                  <a:pt x="1309150" y="4146088"/>
                  <a:pt x="1306994" y="4146088"/>
                </a:cubicBezTo>
                <a:cubicBezTo>
                  <a:pt x="1304839" y="4146088"/>
                  <a:pt x="1299602" y="4134692"/>
                  <a:pt x="1295358" y="4120765"/>
                </a:cubicBezTo>
                <a:cubicBezTo>
                  <a:pt x="1291113" y="4106837"/>
                  <a:pt x="1286051" y="4095441"/>
                  <a:pt x="1284109" y="4095441"/>
                </a:cubicBezTo>
                <a:cubicBezTo>
                  <a:pt x="1282167" y="4095441"/>
                  <a:pt x="1280578" y="4091517"/>
                  <a:pt x="1280578" y="4086720"/>
                </a:cubicBezTo>
                <a:cubicBezTo>
                  <a:pt x="1280578" y="4081923"/>
                  <a:pt x="1277627" y="4074453"/>
                  <a:pt x="1274018" y="4070118"/>
                </a:cubicBezTo>
                <a:cubicBezTo>
                  <a:pt x="1270410" y="4065783"/>
                  <a:pt x="1267425" y="4054751"/>
                  <a:pt x="1267383" y="4045602"/>
                </a:cubicBezTo>
                <a:cubicBezTo>
                  <a:pt x="1267307" y="4028781"/>
                  <a:pt x="1254172" y="4006148"/>
                  <a:pt x="1240129" y="3998638"/>
                </a:cubicBezTo>
                <a:cubicBezTo>
                  <a:pt x="1235919" y="3996387"/>
                  <a:pt x="1232476" y="3988961"/>
                  <a:pt x="1232476" y="3982137"/>
                </a:cubicBezTo>
                <a:cubicBezTo>
                  <a:pt x="1232476" y="3962494"/>
                  <a:pt x="1220354" y="3949831"/>
                  <a:pt x="1201553" y="3949831"/>
                </a:cubicBezTo>
                <a:cubicBezTo>
                  <a:pt x="1183145" y="3949831"/>
                  <a:pt x="1179938" y="3942097"/>
                  <a:pt x="1191004" y="3924394"/>
                </a:cubicBezTo>
                <a:cubicBezTo>
                  <a:pt x="1196019" y="3916371"/>
                  <a:pt x="1196776" y="3907769"/>
                  <a:pt x="1194112" y="3889076"/>
                </a:cubicBezTo>
                <a:cubicBezTo>
                  <a:pt x="1191174" y="3868470"/>
                  <a:pt x="1188620" y="3864032"/>
                  <a:pt x="1178736" y="3862362"/>
                </a:cubicBezTo>
                <a:cubicBezTo>
                  <a:pt x="1167843" y="3860521"/>
                  <a:pt x="1166882" y="3862153"/>
                  <a:pt x="1166882" y="3882485"/>
                </a:cubicBezTo>
                <a:cubicBezTo>
                  <a:pt x="1166882" y="3894654"/>
                  <a:pt x="1169833" y="3908885"/>
                  <a:pt x="1173441" y="3914107"/>
                </a:cubicBezTo>
                <a:cubicBezTo>
                  <a:pt x="1181913" y="3926373"/>
                  <a:pt x="1181753" y="3928302"/>
                  <a:pt x="1170962" y="3943924"/>
                </a:cubicBezTo>
                <a:cubicBezTo>
                  <a:pt x="1163777" y="3954326"/>
                  <a:pt x="1162990" y="3958870"/>
                  <a:pt x="1167124" y="3966082"/>
                </a:cubicBezTo>
                <a:cubicBezTo>
                  <a:pt x="1169985" y="3971072"/>
                  <a:pt x="1175922" y="3975155"/>
                  <a:pt x="1180319" y="3975155"/>
                </a:cubicBezTo>
                <a:cubicBezTo>
                  <a:pt x="1184715" y="3975155"/>
                  <a:pt x="1189885" y="3978721"/>
                  <a:pt x="1191809" y="3983079"/>
                </a:cubicBezTo>
                <a:cubicBezTo>
                  <a:pt x="1193732" y="3987437"/>
                  <a:pt x="1200405" y="3994799"/>
                  <a:pt x="1206636" y="3999437"/>
                </a:cubicBezTo>
                <a:cubicBezTo>
                  <a:pt x="1215472" y="4006015"/>
                  <a:pt x="1218100" y="4012974"/>
                  <a:pt x="1218569" y="4031037"/>
                </a:cubicBezTo>
                <a:cubicBezTo>
                  <a:pt x="1218899" y="4043777"/>
                  <a:pt x="1221215" y="4055188"/>
                  <a:pt x="1223715" y="4056394"/>
                </a:cubicBezTo>
                <a:cubicBezTo>
                  <a:pt x="1226214" y="4057600"/>
                  <a:pt x="1231175" y="4062809"/>
                  <a:pt x="1234740" y="4067970"/>
                </a:cubicBezTo>
                <a:cubicBezTo>
                  <a:pt x="1240530" y="4076353"/>
                  <a:pt x="1241690" y="4084387"/>
                  <a:pt x="1243044" y="4125505"/>
                </a:cubicBezTo>
                <a:cubicBezTo>
                  <a:pt x="1243268" y="4132318"/>
                  <a:pt x="1240234" y="4136578"/>
                  <a:pt x="1235153" y="4136583"/>
                </a:cubicBezTo>
                <a:cubicBezTo>
                  <a:pt x="1223754" y="4136596"/>
                  <a:pt x="1215032" y="4157179"/>
                  <a:pt x="1223274" y="4164622"/>
                </a:cubicBezTo>
                <a:cubicBezTo>
                  <a:pt x="1233075" y="4173473"/>
                  <a:pt x="1225614" y="4192124"/>
                  <a:pt x="1214344" y="4186944"/>
                </a:cubicBezTo>
                <a:cubicBezTo>
                  <a:pt x="1206748" y="4183454"/>
                  <a:pt x="1205459" y="4184665"/>
                  <a:pt x="1207713" y="4193168"/>
                </a:cubicBezTo>
                <a:cubicBezTo>
                  <a:pt x="1209359" y="4199378"/>
                  <a:pt x="1208731" y="4202131"/>
                  <a:pt x="1206188" y="4199856"/>
                </a:cubicBezTo>
                <a:cubicBezTo>
                  <a:pt x="1203811" y="4197729"/>
                  <a:pt x="1201865" y="4200711"/>
                  <a:pt x="1201865" y="4206484"/>
                </a:cubicBezTo>
                <a:cubicBezTo>
                  <a:pt x="1201865" y="4219051"/>
                  <a:pt x="1226414" y="4253713"/>
                  <a:pt x="1235316" y="4253713"/>
                </a:cubicBezTo>
                <a:cubicBezTo>
                  <a:pt x="1238775" y="4253713"/>
                  <a:pt x="1241285" y="4257274"/>
                  <a:pt x="1240895" y="4261626"/>
                </a:cubicBezTo>
                <a:cubicBezTo>
                  <a:pt x="1239252" y="4279944"/>
                  <a:pt x="1241824" y="4285367"/>
                  <a:pt x="1252153" y="4285367"/>
                </a:cubicBezTo>
                <a:cubicBezTo>
                  <a:pt x="1259084" y="4285367"/>
                  <a:pt x="1263086" y="4288938"/>
                  <a:pt x="1263086" y="4295120"/>
                </a:cubicBezTo>
                <a:cubicBezTo>
                  <a:pt x="1263086" y="4302596"/>
                  <a:pt x="1258748" y="4304541"/>
                  <a:pt x="1244501" y="4303451"/>
                </a:cubicBezTo>
                <a:cubicBezTo>
                  <a:pt x="1223712" y="4301861"/>
                  <a:pt x="1210611" y="4292883"/>
                  <a:pt x="1210611" y="4280227"/>
                </a:cubicBezTo>
                <a:cubicBezTo>
                  <a:pt x="1210611" y="4275593"/>
                  <a:pt x="1207641" y="4267502"/>
                  <a:pt x="1204011" y="4262246"/>
                </a:cubicBezTo>
                <a:cubicBezTo>
                  <a:pt x="1200382" y="4256991"/>
                  <a:pt x="1198357" y="4250477"/>
                  <a:pt x="1199513" y="4247770"/>
                </a:cubicBezTo>
                <a:cubicBezTo>
                  <a:pt x="1200669" y="4245063"/>
                  <a:pt x="1192991" y="4229251"/>
                  <a:pt x="1182452" y="4212632"/>
                </a:cubicBezTo>
                <a:cubicBezTo>
                  <a:pt x="1165571" y="4186013"/>
                  <a:pt x="1161818" y="4182951"/>
                  <a:pt x="1150918" y="4186912"/>
                </a:cubicBezTo>
                <a:cubicBezTo>
                  <a:pt x="1144113" y="4189385"/>
                  <a:pt x="1137080" y="4194744"/>
                  <a:pt x="1135289" y="4198820"/>
                </a:cubicBezTo>
                <a:cubicBezTo>
                  <a:pt x="1129071" y="4212971"/>
                  <a:pt x="1131844" y="4240278"/>
                  <a:pt x="1140378" y="4248933"/>
                </a:cubicBezTo>
                <a:cubicBezTo>
                  <a:pt x="1145042" y="4253662"/>
                  <a:pt x="1149578" y="4265309"/>
                  <a:pt x="1150457" y="4274815"/>
                </a:cubicBezTo>
                <a:cubicBezTo>
                  <a:pt x="1151337" y="4284321"/>
                  <a:pt x="1155392" y="4297739"/>
                  <a:pt x="1159469" y="4304632"/>
                </a:cubicBezTo>
                <a:cubicBezTo>
                  <a:pt x="1163546" y="4311526"/>
                  <a:pt x="1166882" y="4321153"/>
                  <a:pt x="1166882" y="4326027"/>
                </a:cubicBezTo>
                <a:cubicBezTo>
                  <a:pt x="1166882" y="4330901"/>
                  <a:pt x="1172786" y="4342080"/>
                  <a:pt x="1180000" y="4350870"/>
                </a:cubicBezTo>
                <a:cubicBezTo>
                  <a:pt x="1187216" y="4359659"/>
                  <a:pt x="1193119" y="4369015"/>
                  <a:pt x="1193119" y="4371661"/>
                </a:cubicBezTo>
                <a:cubicBezTo>
                  <a:pt x="1193119" y="4374307"/>
                  <a:pt x="1198254" y="4384231"/>
                  <a:pt x="1204529" y="4393713"/>
                </a:cubicBezTo>
                <a:cubicBezTo>
                  <a:pt x="1215886" y="4410876"/>
                  <a:pt x="1215312" y="4428613"/>
                  <a:pt x="1203609" y="4422111"/>
                </a:cubicBezTo>
                <a:cubicBezTo>
                  <a:pt x="1200245" y="4420242"/>
                  <a:pt x="1197492" y="4421472"/>
                  <a:pt x="1197492" y="4424845"/>
                </a:cubicBezTo>
                <a:cubicBezTo>
                  <a:pt x="1197492" y="4432023"/>
                  <a:pt x="1181420" y="4433200"/>
                  <a:pt x="1178586" y="4426228"/>
                </a:cubicBezTo>
                <a:cubicBezTo>
                  <a:pt x="1177525" y="4423618"/>
                  <a:pt x="1175285" y="4412222"/>
                  <a:pt x="1173608" y="4400905"/>
                </a:cubicBezTo>
                <a:cubicBezTo>
                  <a:pt x="1171931" y="4389589"/>
                  <a:pt x="1169196" y="4380330"/>
                  <a:pt x="1167529" y="4380330"/>
                </a:cubicBezTo>
                <a:cubicBezTo>
                  <a:pt x="1165862" y="4380330"/>
                  <a:pt x="1160820" y="4370440"/>
                  <a:pt x="1156323" y="4358354"/>
                </a:cubicBezTo>
                <a:cubicBezTo>
                  <a:pt x="1151827" y="4346267"/>
                  <a:pt x="1146459" y="4337888"/>
                  <a:pt x="1144396" y="4339735"/>
                </a:cubicBezTo>
                <a:cubicBezTo>
                  <a:pt x="1142333" y="4341581"/>
                  <a:pt x="1140644" y="4340248"/>
                  <a:pt x="1140644" y="4336772"/>
                </a:cubicBezTo>
                <a:cubicBezTo>
                  <a:pt x="1140644" y="4333295"/>
                  <a:pt x="1132281" y="4330990"/>
                  <a:pt x="1122060" y="4331650"/>
                </a:cubicBezTo>
                <a:cubicBezTo>
                  <a:pt x="1108087" y="4332551"/>
                  <a:pt x="1103474" y="4330492"/>
                  <a:pt x="1103474" y="4323352"/>
                </a:cubicBezTo>
                <a:cubicBezTo>
                  <a:pt x="1103474" y="4317790"/>
                  <a:pt x="1108272" y="4313052"/>
                  <a:pt x="1115054" y="4311915"/>
                </a:cubicBezTo>
                <a:cubicBezTo>
                  <a:pt x="1128371" y="4309683"/>
                  <a:pt x="1134241" y="4289732"/>
                  <a:pt x="1124887" y="4278494"/>
                </a:cubicBezTo>
                <a:cubicBezTo>
                  <a:pt x="1121528" y="4274458"/>
                  <a:pt x="1118779" y="4267231"/>
                  <a:pt x="1118779" y="4262434"/>
                </a:cubicBezTo>
                <a:cubicBezTo>
                  <a:pt x="1118779" y="4257638"/>
                  <a:pt x="1116812" y="4253713"/>
                  <a:pt x="1114407" y="4253713"/>
                </a:cubicBezTo>
                <a:cubicBezTo>
                  <a:pt x="1112001" y="4253713"/>
                  <a:pt x="1110034" y="4249745"/>
                  <a:pt x="1110034" y="4244894"/>
                </a:cubicBezTo>
                <a:cubicBezTo>
                  <a:pt x="1110034" y="4240043"/>
                  <a:pt x="1106980" y="4234379"/>
                  <a:pt x="1103247" y="4232305"/>
                </a:cubicBezTo>
                <a:cubicBezTo>
                  <a:pt x="1098848" y="4229860"/>
                  <a:pt x="1097550" y="4231086"/>
                  <a:pt x="1099558" y="4235790"/>
                </a:cubicBezTo>
                <a:cubicBezTo>
                  <a:pt x="1101683" y="4240769"/>
                  <a:pt x="1099562" y="4241874"/>
                  <a:pt x="1092793" y="4239312"/>
                </a:cubicBezTo>
                <a:cubicBezTo>
                  <a:pt x="1084258" y="4236081"/>
                  <a:pt x="1083326" y="4237437"/>
                  <a:pt x="1085867" y="4249394"/>
                </a:cubicBezTo>
                <a:cubicBezTo>
                  <a:pt x="1089276" y="4265439"/>
                  <a:pt x="1089254" y="4268861"/>
                  <a:pt x="1085559" y="4296446"/>
                </a:cubicBezTo>
                <a:cubicBezTo>
                  <a:pt x="1084044" y="4307763"/>
                  <a:pt x="1081284" y="4317021"/>
                  <a:pt x="1079427" y="4317021"/>
                </a:cubicBezTo>
                <a:cubicBezTo>
                  <a:pt x="1066480" y="4317021"/>
                  <a:pt x="1026948" y="4271870"/>
                  <a:pt x="1026948" y="4257083"/>
                </a:cubicBezTo>
                <a:cubicBezTo>
                  <a:pt x="1026948" y="4251523"/>
                  <a:pt x="1023504" y="4244929"/>
                  <a:pt x="1019295" y="4242429"/>
                </a:cubicBezTo>
                <a:cubicBezTo>
                  <a:pt x="1015087" y="4239930"/>
                  <a:pt x="1011367" y="4235037"/>
                  <a:pt x="1011029" y="4231555"/>
                </a:cubicBezTo>
                <a:cubicBezTo>
                  <a:pt x="1010691" y="4228073"/>
                  <a:pt x="1009059" y="4215966"/>
                  <a:pt x="1007402" y="4204648"/>
                </a:cubicBezTo>
                <a:cubicBezTo>
                  <a:pt x="1005630" y="4192550"/>
                  <a:pt x="1006141" y="4184073"/>
                  <a:pt x="1008641" y="4184073"/>
                </a:cubicBezTo>
                <a:cubicBezTo>
                  <a:pt x="1017991" y="4184073"/>
                  <a:pt x="1017850" y="4163144"/>
                  <a:pt x="1008391" y="4147050"/>
                </a:cubicBezTo>
                <a:cubicBezTo>
                  <a:pt x="1001455" y="4135249"/>
                  <a:pt x="995116" y="4130833"/>
                  <a:pt x="987053" y="4132187"/>
                </a:cubicBezTo>
                <a:cubicBezTo>
                  <a:pt x="976259" y="4133999"/>
                  <a:pt x="975609" y="4132580"/>
                  <a:pt x="976052" y="4108153"/>
                </a:cubicBezTo>
                <a:cubicBezTo>
                  <a:pt x="976310" y="4093877"/>
                  <a:pt x="974249" y="4080161"/>
                  <a:pt x="971471" y="4077676"/>
                </a:cubicBezTo>
                <a:cubicBezTo>
                  <a:pt x="968693" y="4075190"/>
                  <a:pt x="965067" y="4065351"/>
                  <a:pt x="963413" y="4055810"/>
                </a:cubicBezTo>
                <a:cubicBezTo>
                  <a:pt x="961760" y="4046270"/>
                  <a:pt x="959132" y="4038463"/>
                  <a:pt x="957575" y="4038463"/>
                </a:cubicBezTo>
                <a:cubicBezTo>
                  <a:pt x="956018" y="4038463"/>
                  <a:pt x="952070" y="4029721"/>
                  <a:pt x="948803" y="4019035"/>
                </a:cubicBezTo>
                <a:cubicBezTo>
                  <a:pt x="945536" y="4008350"/>
                  <a:pt x="938168" y="3992810"/>
                  <a:pt x="932430" y="3984503"/>
                </a:cubicBezTo>
                <a:cubicBezTo>
                  <a:pt x="926693" y="3976196"/>
                  <a:pt x="922028" y="3965709"/>
                  <a:pt x="922065" y="3961198"/>
                </a:cubicBezTo>
                <a:cubicBezTo>
                  <a:pt x="922113" y="3955348"/>
                  <a:pt x="923347" y="3955719"/>
                  <a:pt x="926371" y="3962493"/>
                </a:cubicBezTo>
                <a:cubicBezTo>
                  <a:pt x="928702" y="3967716"/>
                  <a:pt x="930640" y="3968777"/>
                  <a:pt x="930677" y="3964851"/>
                </a:cubicBezTo>
                <a:cubicBezTo>
                  <a:pt x="930712" y="3960925"/>
                  <a:pt x="927792" y="3954166"/>
                  <a:pt x="924185" y="3949831"/>
                </a:cubicBezTo>
                <a:cubicBezTo>
                  <a:pt x="920577" y="3945497"/>
                  <a:pt x="917625" y="3937043"/>
                  <a:pt x="917625" y="3931045"/>
                </a:cubicBezTo>
                <a:cubicBezTo>
                  <a:pt x="917625" y="3925047"/>
                  <a:pt x="913690" y="3914983"/>
                  <a:pt x="908879" y="3908681"/>
                </a:cubicBezTo>
                <a:cubicBezTo>
                  <a:pt x="903383" y="3901480"/>
                  <a:pt x="900133" y="3889182"/>
                  <a:pt x="900133" y="3875582"/>
                </a:cubicBezTo>
                <a:cubicBezTo>
                  <a:pt x="900133" y="3858345"/>
                  <a:pt x="896574" y="3849317"/>
                  <a:pt x="882642" y="3831209"/>
                </a:cubicBezTo>
                <a:cubicBezTo>
                  <a:pt x="868169" y="3812400"/>
                  <a:pt x="865150" y="3804400"/>
                  <a:pt x="865150" y="3784868"/>
                </a:cubicBezTo>
                <a:cubicBezTo>
                  <a:pt x="865150" y="3769724"/>
                  <a:pt x="862798" y="3759954"/>
                  <a:pt x="858591" y="3757617"/>
                </a:cubicBezTo>
                <a:cubicBezTo>
                  <a:pt x="853801" y="3754956"/>
                  <a:pt x="852031" y="3744046"/>
                  <a:pt x="852031" y="3717196"/>
                </a:cubicBezTo>
                <a:cubicBezTo>
                  <a:pt x="852031" y="3688253"/>
                  <a:pt x="850168" y="3678109"/>
                  <a:pt x="843285" y="3669577"/>
                </a:cubicBezTo>
                <a:cubicBezTo>
                  <a:pt x="838475" y="3663615"/>
                  <a:pt x="834539" y="3654266"/>
                  <a:pt x="834539" y="3648804"/>
                </a:cubicBezTo>
                <a:cubicBezTo>
                  <a:pt x="834539" y="3643341"/>
                  <a:pt x="832856" y="3640378"/>
                  <a:pt x="830798" y="3642220"/>
                </a:cubicBezTo>
                <a:cubicBezTo>
                  <a:pt x="828740" y="3644061"/>
                  <a:pt x="827979" y="3638584"/>
                  <a:pt x="829106" y="3630048"/>
                </a:cubicBezTo>
                <a:cubicBezTo>
                  <a:pt x="834347" y="3590360"/>
                  <a:pt x="815210" y="3564788"/>
                  <a:pt x="803657" y="3596041"/>
                </a:cubicBezTo>
                <a:cubicBezTo>
                  <a:pt x="798876" y="3608974"/>
                  <a:pt x="797959" y="3608378"/>
                  <a:pt x="777265" y="3578868"/>
                </a:cubicBezTo>
                <a:cubicBezTo>
                  <a:pt x="765474" y="3562055"/>
                  <a:pt x="755827" y="3544630"/>
                  <a:pt x="755827" y="3540146"/>
                </a:cubicBezTo>
                <a:cubicBezTo>
                  <a:pt x="755827" y="3535663"/>
                  <a:pt x="753859" y="3531995"/>
                  <a:pt x="751454" y="3531995"/>
                </a:cubicBezTo>
                <a:cubicBezTo>
                  <a:pt x="749049" y="3531995"/>
                  <a:pt x="747081" y="3524872"/>
                  <a:pt x="747081" y="3516168"/>
                </a:cubicBezTo>
                <a:cubicBezTo>
                  <a:pt x="747081" y="3497574"/>
                  <a:pt x="748340" y="3497095"/>
                  <a:pt x="762326" y="3510362"/>
                </a:cubicBezTo>
                <a:cubicBezTo>
                  <a:pt x="778495" y="3525700"/>
                  <a:pt x="791643" y="3516911"/>
                  <a:pt x="789966" y="3491886"/>
                </a:cubicBezTo>
                <a:cubicBezTo>
                  <a:pt x="788864" y="3475439"/>
                  <a:pt x="786080" y="3470767"/>
                  <a:pt x="774412" y="3465794"/>
                </a:cubicBezTo>
                <a:cubicBezTo>
                  <a:pt x="763726" y="3461240"/>
                  <a:pt x="760200" y="3456135"/>
                  <a:pt x="760200" y="3445219"/>
                </a:cubicBezTo>
                <a:cubicBezTo>
                  <a:pt x="760200" y="3437234"/>
                  <a:pt x="762819" y="3430701"/>
                  <a:pt x="766020" y="3430701"/>
                </a:cubicBezTo>
                <a:cubicBezTo>
                  <a:pt x="769221" y="3430701"/>
                  <a:pt x="774526" y="3423437"/>
                  <a:pt x="777808" y="3414557"/>
                </a:cubicBezTo>
                <a:cubicBezTo>
                  <a:pt x="783331" y="3399618"/>
                  <a:pt x="782853" y="3397265"/>
                  <a:pt x="771392" y="3383009"/>
                </a:cubicBezTo>
                <a:cubicBezTo>
                  <a:pt x="761301" y="3370454"/>
                  <a:pt x="759990" y="3365890"/>
                  <a:pt x="764313" y="3358350"/>
                </a:cubicBezTo>
                <a:cubicBezTo>
                  <a:pt x="767230" y="3353261"/>
                  <a:pt x="768974" y="3342530"/>
                  <a:pt x="768188" y="3334504"/>
                </a:cubicBezTo>
                <a:cubicBezTo>
                  <a:pt x="766066" y="3312831"/>
                  <a:pt x="745481" y="3313854"/>
                  <a:pt x="743360" y="3335738"/>
                </a:cubicBezTo>
                <a:cubicBezTo>
                  <a:pt x="741520" y="3354721"/>
                  <a:pt x="735798" y="3360835"/>
                  <a:pt x="719750" y="3360965"/>
                </a:cubicBezTo>
                <a:cubicBezTo>
                  <a:pt x="709951" y="3361044"/>
                  <a:pt x="707725" y="3363908"/>
                  <a:pt x="707725" y="3376437"/>
                </a:cubicBezTo>
                <a:cubicBezTo>
                  <a:pt x="707725" y="3393857"/>
                  <a:pt x="718119" y="3411709"/>
                  <a:pt x="728262" y="3411709"/>
                </a:cubicBezTo>
                <a:cubicBezTo>
                  <a:pt x="733538" y="3411709"/>
                  <a:pt x="734445" y="3416127"/>
                  <a:pt x="732322" y="3431493"/>
                </a:cubicBezTo>
                <a:cubicBezTo>
                  <a:pt x="730819" y="3442374"/>
                  <a:pt x="729589" y="3453769"/>
                  <a:pt x="729589" y="3456816"/>
                </a:cubicBezTo>
                <a:cubicBezTo>
                  <a:pt x="729589" y="3459863"/>
                  <a:pt x="725810" y="3462355"/>
                  <a:pt x="721191" y="3462355"/>
                </a:cubicBezTo>
                <a:cubicBezTo>
                  <a:pt x="715415" y="3462355"/>
                  <a:pt x="711893" y="3456425"/>
                  <a:pt x="709911" y="3443363"/>
                </a:cubicBezTo>
                <a:cubicBezTo>
                  <a:pt x="708327" y="3432917"/>
                  <a:pt x="705432" y="3424370"/>
                  <a:pt x="703479" y="3424370"/>
                </a:cubicBezTo>
                <a:cubicBezTo>
                  <a:pt x="701525" y="3424370"/>
                  <a:pt x="698777" y="3417736"/>
                  <a:pt x="697371" y="3409629"/>
                </a:cubicBezTo>
                <a:cubicBezTo>
                  <a:pt x="694864" y="3395169"/>
                  <a:pt x="674734" y="3376173"/>
                  <a:pt x="671316" y="3385041"/>
                </a:cubicBezTo>
                <a:cubicBezTo>
                  <a:pt x="666955" y="3396354"/>
                  <a:pt x="664197" y="3424370"/>
                  <a:pt x="667444" y="3424370"/>
                </a:cubicBezTo>
                <a:cubicBezTo>
                  <a:pt x="669431" y="3424370"/>
                  <a:pt x="674531" y="3435766"/>
                  <a:pt x="678776" y="3449694"/>
                </a:cubicBezTo>
                <a:cubicBezTo>
                  <a:pt x="683020" y="3463622"/>
                  <a:pt x="688092" y="3475017"/>
                  <a:pt x="690046" y="3475017"/>
                </a:cubicBezTo>
                <a:cubicBezTo>
                  <a:pt x="691999" y="3475017"/>
                  <a:pt x="694933" y="3490487"/>
                  <a:pt x="696565" y="3509394"/>
                </a:cubicBezTo>
                <a:cubicBezTo>
                  <a:pt x="698196" y="3528301"/>
                  <a:pt x="702359" y="3547168"/>
                  <a:pt x="705815" y="3551320"/>
                </a:cubicBezTo>
                <a:cubicBezTo>
                  <a:pt x="716194" y="3563791"/>
                  <a:pt x="713062" y="3571842"/>
                  <a:pt x="699374" y="3567879"/>
                </a:cubicBezTo>
                <a:cubicBezTo>
                  <a:pt x="690482" y="3565304"/>
                  <a:pt x="685915" y="3566972"/>
                  <a:pt x="684206" y="3573418"/>
                </a:cubicBezTo>
                <a:cubicBezTo>
                  <a:pt x="682862" y="3578492"/>
                  <a:pt x="676913" y="3582642"/>
                  <a:pt x="670986" y="3582642"/>
                </a:cubicBezTo>
                <a:cubicBezTo>
                  <a:pt x="655359" y="3582642"/>
                  <a:pt x="651685" y="3560461"/>
                  <a:pt x="664136" y="3541275"/>
                </a:cubicBezTo>
                <a:cubicBezTo>
                  <a:pt x="669477" y="3533043"/>
                  <a:pt x="672781" y="3522286"/>
                  <a:pt x="671478" y="3517368"/>
                </a:cubicBezTo>
                <a:cubicBezTo>
                  <a:pt x="668773" y="3507163"/>
                  <a:pt x="650877" y="3498485"/>
                  <a:pt x="650877" y="3507379"/>
                </a:cubicBezTo>
                <a:cubicBezTo>
                  <a:pt x="650877" y="3510598"/>
                  <a:pt x="642514" y="3512469"/>
                  <a:pt x="632292" y="3511535"/>
                </a:cubicBezTo>
                <a:cubicBezTo>
                  <a:pt x="615743" y="3510023"/>
                  <a:pt x="613548" y="3511455"/>
                  <a:pt x="612262" y="3524603"/>
                </a:cubicBezTo>
                <a:cubicBezTo>
                  <a:pt x="611467" y="3532725"/>
                  <a:pt x="613547" y="3544121"/>
                  <a:pt x="616883" y="3549927"/>
                </a:cubicBezTo>
                <a:cubicBezTo>
                  <a:pt x="641170" y="3592201"/>
                  <a:pt x="630436" y="3620939"/>
                  <a:pt x="604596" y="3582818"/>
                </a:cubicBezTo>
                <a:cubicBezTo>
                  <a:pt x="596294" y="3570568"/>
                  <a:pt x="587264" y="3563869"/>
                  <a:pt x="578723" y="3563624"/>
                </a:cubicBezTo>
                <a:cubicBezTo>
                  <a:pt x="557396" y="3563010"/>
                  <a:pt x="550299" y="3550762"/>
                  <a:pt x="550299" y="3514565"/>
                </a:cubicBezTo>
                <a:cubicBezTo>
                  <a:pt x="550299" y="3492083"/>
                  <a:pt x="548369" y="3481630"/>
                  <a:pt x="543740" y="3479059"/>
                </a:cubicBezTo>
                <a:cubicBezTo>
                  <a:pt x="540132" y="3477054"/>
                  <a:pt x="537180" y="3468203"/>
                  <a:pt x="537180" y="3459388"/>
                </a:cubicBezTo>
                <a:cubicBezTo>
                  <a:pt x="537180" y="3450575"/>
                  <a:pt x="535213" y="3443363"/>
                  <a:pt x="532807" y="3443363"/>
                </a:cubicBezTo>
                <a:cubicBezTo>
                  <a:pt x="530402" y="3443363"/>
                  <a:pt x="528435" y="3438313"/>
                  <a:pt x="528435" y="3432141"/>
                </a:cubicBezTo>
                <a:cubicBezTo>
                  <a:pt x="528435" y="3425969"/>
                  <a:pt x="520563" y="3411076"/>
                  <a:pt x="510943" y="3399047"/>
                </a:cubicBezTo>
                <a:cubicBezTo>
                  <a:pt x="501322" y="3387017"/>
                  <a:pt x="493451" y="3372475"/>
                  <a:pt x="493451" y="3366729"/>
                </a:cubicBezTo>
                <a:cubicBezTo>
                  <a:pt x="493451" y="3360983"/>
                  <a:pt x="490540" y="3352784"/>
                  <a:pt x="486983" y="3348509"/>
                </a:cubicBezTo>
                <a:cubicBezTo>
                  <a:pt x="478571" y="3338403"/>
                  <a:pt x="467214" y="3305262"/>
                  <a:pt x="467214" y="3290823"/>
                </a:cubicBezTo>
                <a:cubicBezTo>
                  <a:pt x="467214" y="3284600"/>
                  <a:pt x="465214" y="3277718"/>
                  <a:pt x="462770" y="3275532"/>
                </a:cubicBezTo>
                <a:cubicBezTo>
                  <a:pt x="460325" y="3273344"/>
                  <a:pt x="459294" y="3269284"/>
                  <a:pt x="460480" y="3266508"/>
                </a:cubicBezTo>
                <a:cubicBezTo>
                  <a:pt x="461665" y="3263732"/>
                  <a:pt x="458715" y="3256326"/>
                  <a:pt x="453925" y="3250050"/>
                </a:cubicBezTo>
                <a:cubicBezTo>
                  <a:pt x="449136" y="3243774"/>
                  <a:pt x="443990" y="3227531"/>
                  <a:pt x="442490" y="3213955"/>
                </a:cubicBezTo>
                <a:cubicBezTo>
                  <a:pt x="440714" y="3197875"/>
                  <a:pt x="436164" y="3185855"/>
                  <a:pt x="429437" y="3179475"/>
                </a:cubicBezTo>
                <a:cubicBezTo>
                  <a:pt x="420386" y="3170889"/>
                  <a:pt x="419111" y="3164737"/>
                  <a:pt x="419111" y="3129631"/>
                </a:cubicBezTo>
                <a:cubicBezTo>
                  <a:pt x="419111" y="3107604"/>
                  <a:pt x="417144" y="3087821"/>
                  <a:pt x="414739" y="3085670"/>
                </a:cubicBezTo>
                <a:cubicBezTo>
                  <a:pt x="408725" y="3080289"/>
                  <a:pt x="409222" y="3058788"/>
                  <a:pt x="415429" y="3055792"/>
                </a:cubicBezTo>
                <a:cubicBezTo>
                  <a:pt x="426207" y="3050591"/>
                  <a:pt x="414493" y="3021857"/>
                  <a:pt x="393008" y="3000795"/>
                </a:cubicBezTo>
                <a:cubicBezTo>
                  <a:pt x="371303" y="2979517"/>
                  <a:pt x="371009" y="2978788"/>
                  <a:pt x="371009" y="2946175"/>
                </a:cubicBezTo>
                <a:cubicBezTo>
                  <a:pt x="371009" y="2924518"/>
                  <a:pt x="368748" y="2910404"/>
                  <a:pt x="364450" y="2905240"/>
                </a:cubicBezTo>
                <a:cubicBezTo>
                  <a:pt x="360842" y="2900905"/>
                  <a:pt x="357891" y="2889161"/>
                  <a:pt x="357891" y="2879142"/>
                </a:cubicBezTo>
                <a:cubicBezTo>
                  <a:pt x="357891" y="2869122"/>
                  <a:pt x="355792" y="2860924"/>
                  <a:pt x="353227" y="2860924"/>
                </a:cubicBezTo>
                <a:cubicBezTo>
                  <a:pt x="350663" y="2860924"/>
                  <a:pt x="349186" y="2853090"/>
                  <a:pt x="349948" y="2843514"/>
                </a:cubicBezTo>
                <a:cubicBezTo>
                  <a:pt x="350917" y="2831312"/>
                  <a:pt x="348082" y="2821877"/>
                  <a:pt x="340471" y="2811971"/>
                </a:cubicBezTo>
                <a:cubicBezTo>
                  <a:pt x="331901" y="2800818"/>
                  <a:pt x="329719" y="2792140"/>
                  <a:pt x="330125" y="2770820"/>
                </a:cubicBezTo>
                <a:cubicBezTo>
                  <a:pt x="330408" y="2755961"/>
                  <a:pt x="329391" y="2742379"/>
                  <a:pt x="327866" y="2740638"/>
                </a:cubicBezTo>
                <a:cubicBezTo>
                  <a:pt x="321736" y="2733639"/>
                  <a:pt x="305415" y="2675988"/>
                  <a:pt x="305415" y="2661333"/>
                </a:cubicBezTo>
                <a:cubicBezTo>
                  <a:pt x="305415" y="2652721"/>
                  <a:pt x="303448" y="2645675"/>
                  <a:pt x="301042" y="2645675"/>
                </a:cubicBezTo>
                <a:cubicBezTo>
                  <a:pt x="298637" y="2645675"/>
                  <a:pt x="296670" y="2630543"/>
                  <a:pt x="296670" y="2612049"/>
                </a:cubicBezTo>
                <a:cubicBezTo>
                  <a:pt x="296670" y="2585923"/>
                  <a:pt x="294475" y="2575017"/>
                  <a:pt x="286831" y="2563152"/>
                </a:cubicBezTo>
                <a:cubicBezTo>
                  <a:pt x="281419" y="2554752"/>
                  <a:pt x="276629" y="2543532"/>
                  <a:pt x="276187" y="2538217"/>
                </a:cubicBezTo>
                <a:cubicBezTo>
                  <a:pt x="271291" y="2479416"/>
                  <a:pt x="268063" y="2457746"/>
                  <a:pt x="263140" y="2450618"/>
                </a:cubicBezTo>
                <a:cubicBezTo>
                  <a:pt x="259935" y="2445979"/>
                  <a:pt x="257313" y="2438113"/>
                  <a:pt x="257313" y="2433139"/>
                </a:cubicBezTo>
                <a:cubicBezTo>
                  <a:pt x="257313" y="2428164"/>
                  <a:pt x="255346" y="2424095"/>
                  <a:pt x="252940" y="2424095"/>
                </a:cubicBezTo>
                <a:cubicBezTo>
                  <a:pt x="250535" y="2424095"/>
                  <a:pt x="248567" y="2411275"/>
                  <a:pt x="248567" y="2395606"/>
                </a:cubicBezTo>
                <a:cubicBezTo>
                  <a:pt x="248567" y="2378998"/>
                  <a:pt x="246549" y="2367117"/>
                  <a:pt x="243727" y="2367117"/>
                </a:cubicBezTo>
                <a:cubicBezTo>
                  <a:pt x="241064" y="2367117"/>
                  <a:pt x="239948" y="2363111"/>
                  <a:pt x="241245" y="2358215"/>
                </a:cubicBezTo>
                <a:cubicBezTo>
                  <a:pt x="242543" y="2353320"/>
                  <a:pt x="239802" y="2344332"/>
                  <a:pt x="235154" y="2338242"/>
                </a:cubicBezTo>
                <a:cubicBezTo>
                  <a:pt x="230238" y="2331802"/>
                  <a:pt x="226703" y="2318900"/>
                  <a:pt x="226703" y="2307402"/>
                </a:cubicBezTo>
                <a:cubicBezTo>
                  <a:pt x="226703" y="2296529"/>
                  <a:pt x="223914" y="2281868"/>
                  <a:pt x="220505" y="2274822"/>
                </a:cubicBezTo>
                <a:cubicBezTo>
                  <a:pt x="217096" y="2267776"/>
                  <a:pt x="212969" y="2250762"/>
                  <a:pt x="211334" y="2237011"/>
                </a:cubicBezTo>
                <a:cubicBezTo>
                  <a:pt x="207643" y="2205980"/>
                  <a:pt x="199565" y="2177191"/>
                  <a:pt x="194546" y="2177191"/>
                </a:cubicBezTo>
                <a:cubicBezTo>
                  <a:pt x="192465" y="2177191"/>
                  <a:pt x="191567" y="2167220"/>
                  <a:pt x="192550" y="2155033"/>
                </a:cubicBezTo>
                <a:cubicBezTo>
                  <a:pt x="193532" y="2142846"/>
                  <a:pt x="192764" y="2132875"/>
                  <a:pt x="190841" y="2132875"/>
                </a:cubicBezTo>
                <a:cubicBezTo>
                  <a:pt x="188919" y="2132875"/>
                  <a:pt x="187346" y="2127178"/>
                  <a:pt x="187346" y="2120214"/>
                </a:cubicBezTo>
                <a:cubicBezTo>
                  <a:pt x="187346" y="2113250"/>
                  <a:pt x="185468" y="2107552"/>
                  <a:pt x="183172" y="2107552"/>
                </a:cubicBezTo>
                <a:cubicBezTo>
                  <a:pt x="180875" y="2107552"/>
                  <a:pt x="177705" y="2097581"/>
                  <a:pt x="176125" y="2085394"/>
                </a:cubicBezTo>
                <a:cubicBezTo>
                  <a:pt x="174546" y="2073207"/>
                  <a:pt x="171506" y="2063236"/>
                  <a:pt x="169368" y="2063236"/>
                </a:cubicBezTo>
                <a:cubicBezTo>
                  <a:pt x="167231" y="2063236"/>
                  <a:pt x="165482" y="2057449"/>
                  <a:pt x="165482" y="2050375"/>
                </a:cubicBezTo>
                <a:cubicBezTo>
                  <a:pt x="165482" y="2043302"/>
                  <a:pt x="162530" y="2035875"/>
                  <a:pt x="158923" y="2033872"/>
                </a:cubicBezTo>
                <a:cubicBezTo>
                  <a:pt x="155295" y="2031855"/>
                  <a:pt x="152363" y="2022455"/>
                  <a:pt x="152363" y="2012836"/>
                </a:cubicBezTo>
                <a:cubicBezTo>
                  <a:pt x="152363" y="1991912"/>
                  <a:pt x="134460" y="1961942"/>
                  <a:pt x="121961" y="1961942"/>
                </a:cubicBezTo>
                <a:cubicBezTo>
                  <a:pt x="117036" y="1961942"/>
                  <a:pt x="113007" y="1957906"/>
                  <a:pt x="113007" y="1952973"/>
                </a:cubicBezTo>
                <a:cubicBezTo>
                  <a:pt x="113007" y="1948041"/>
                  <a:pt x="110685" y="1942885"/>
                  <a:pt x="107847" y="1941515"/>
                </a:cubicBezTo>
                <a:cubicBezTo>
                  <a:pt x="105009" y="1940146"/>
                  <a:pt x="103936" y="1934314"/>
                  <a:pt x="105462" y="1928555"/>
                </a:cubicBezTo>
                <a:cubicBezTo>
                  <a:pt x="107799" y="1919740"/>
                  <a:pt x="110403" y="1919178"/>
                  <a:pt x="121932" y="1924997"/>
                </a:cubicBezTo>
                <a:cubicBezTo>
                  <a:pt x="133186" y="1930676"/>
                  <a:pt x="136908" y="1930053"/>
                  <a:pt x="142816" y="1921499"/>
                </a:cubicBezTo>
                <a:cubicBezTo>
                  <a:pt x="148733" y="1912932"/>
                  <a:pt x="149053" y="1908883"/>
                  <a:pt x="144625" y="1898617"/>
                </a:cubicBezTo>
                <a:cubicBezTo>
                  <a:pt x="141666" y="1891757"/>
                  <a:pt x="139244" y="1879553"/>
                  <a:pt x="139244" y="1871497"/>
                </a:cubicBezTo>
                <a:cubicBezTo>
                  <a:pt x="139244" y="1863442"/>
                  <a:pt x="137428" y="1854144"/>
                  <a:pt x="135208" y="1850836"/>
                </a:cubicBezTo>
                <a:cubicBezTo>
                  <a:pt x="132989" y="1847528"/>
                  <a:pt x="129144" y="1817757"/>
                  <a:pt x="126665" y="1784678"/>
                </a:cubicBezTo>
                <a:cubicBezTo>
                  <a:pt x="122307" y="1726528"/>
                  <a:pt x="113812" y="1670914"/>
                  <a:pt x="108293" y="1664392"/>
                </a:cubicBezTo>
                <a:cubicBezTo>
                  <a:pt x="106819" y="1662651"/>
                  <a:pt x="104420" y="1650289"/>
                  <a:pt x="102962" y="1636921"/>
                </a:cubicBezTo>
                <a:cubicBezTo>
                  <a:pt x="101504" y="1623553"/>
                  <a:pt x="97787" y="1608213"/>
                  <a:pt x="94702" y="1602831"/>
                </a:cubicBezTo>
                <a:cubicBezTo>
                  <a:pt x="86626" y="1588743"/>
                  <a:pt x="89567" y="1460643"/>
                  <a:pt x="98128" y="1453577"/>
                </a:cubicBezTo>
                <a:cubicBezTo>
                  <a:pt x="101501" y="1450792"/>
                  <a:pt x="104261" y="1438989"/>
                  <a:pt x="104261" y="1427347"/>
                </a:cubicBezTo>
                <a:cubicBezTo>
                  <a:pt x="104261" y="1414373"/>
                  <a:pt x="106800" y="1404771"/>
                  <a:pt x="110821" y="1402538"/>
                </a:cubicBezTo>
                <a:cubicBezTo>
                  <a:pt x="114428" y="1400533"/>
                  <a:pt x="117380" y="1393455"/>
                  <a:pt x="117380" y="1386808"/>
                </a:cubicBezTo>
                <a:cubicBezTo>
                  <a:pt x="117380" y="1380161"/>
                  <a:pt x="120331" y="1371177"/>
                  <a:pt x="123939" y="1366842"/>
                </a:cubicBezTo>
                <a:cubicBezTo>
                  <a:pt x="127547" y="1362507"/>
                  <a:pt x="130498" y="1351111"/>
                  <a:pt x="130498" y="1341518"/>
                </a:cubicBezTo>
                <a:cubicBezTo>
                  <a:pt x="130498" y="1318073"/>
                  <a:pt x="137674" y="1310914"/>
                  <a:pt x="163457" y="1308631"/>
                </a:cubicBezTo>
                <a:cubicBezTo>
                  <a:pt x="194631" y="1305871"/>
                  <a:pt x="202426" y="1293646"/>
                  <a:pt x="198730" y="1253312"/>
                </a:cubicBezTo>
                <a:cubicBezTo>
                  <a:pt x="196229" y="1226013"/>
                  <a:pt x="197082" y="1219880"/>
                  <a:pt x="204698" y="1210441"/>
                </a:cubicBezTo>
                <a:cubicBezTo>
                  <a:pt x="209585" y="1204382"/>
                  <a:pt x="213584" y="1196282"/>
                  <a:pt x="213584" y="1192440"/>
                </a:cubicBezTo>
                <a:cubicBezTo>
                  <a:pt x="213584" y="1188597"/>
                  <a:pt x="218504" y="1178763"/>
                  <a:pt x="224517" y="1170585"/>
                </a:cubicBezTo>
                <a:cubicBezTo>
                  <a:pt x="230529" y="1162407"/>
                  <a:pt x="235449" y="1150864"/>
                  <a:pt x="235449" y="1144933"/>
                </a:cubicBezTo>
                <a:cubicBezTo>
                  <a:pt x="235449" y="1139003"/>
                  <a:pt x="238400" y="1130604"/>
                  <a:pt x="242008" y="1126269"/>
                </a:cubicBezTo>
                <a:cubicBezTo>
                  <a:pt x="245616" y="1121934"/>
                  <a:pt x="248567" y="1114463"/>
                  <a:pt x="248567" y="1109667"/>
                </a:cubicBezTo>
                <a:cubicBezTo>
                  <a:pt x="248567" y="1104871"/>
                  <a:pt x="250358" y="1100946"/>
                  <a:pt x="252548" y="1100946"/>
                </a:cubicBezTo>
                <a:cubicBezTo>
                  <a:pt x="254737" y="1100946"/>
                  <a:pt x="257922" y="1076730"/>
                  <a:pt x="259624" y="1047134"/>
                </a:cubicBezTo>
                <a:cubicBezTo>
                  <a:pt x="261327" y="1017537"/>
                  <a:pt x="264456" y="993321"/>
                  <a:pt x="266576" y="993321"/>
                </a:cubicBezTo>
                <a:cubicBezTo>
                  <a:pt x="268697" y="993321"/>
                  <a:pt x="270432" y="989682"/>
                  <a:pt x="270432" y="985235"/>
                </a:cubicBezTo>
                <a:cubicBezTo>
                  <a:pt x="270432" y="976465"/>
                  <a:pt x="295092" y="942674"/>
                  <a:pt x="301492" y="942674"/>
                </a:cubicBezTo>
                <a:cubicBezTo>
                  <a:pt x="303650" y="942674"/>
                  <a:pt x="305415" y="939703"/>
                  <a:pt x="305415" y="936072"/>
                </a:cubicBezTo>
                <a:cubicBezTo>
                  <a:pt x="305415" y="932441"/>
                  <a:pt x="314270" y="915764"/>
                  <a:pt x="325094" y="899013"/>
                </a:cubicBezTo>
                <a:cubicBezTo>
                  <a:pt x="335917" y="882262"/>
                  <a:pt x="344772" y="866574"/>
                  <a:pt x="344772" y="864151"/>
                </a:cubicBezTo>
                <a:cubicBezTo>
                  <a:pt x="344772" y="858916"/>
                  <a:pt x="373017" y="816057"/>
                  <a:pt x="376468" y="816057"/>
                </a:cubicBezTo>
                <a:cubicBezTo>
                  <a:pt x="379972" y="816057"/>
                  <a:pt x="405993" y="782255"/>
                  <a:pt x="405993" y="777703"/>
                </a:cubicBezTo>
                <a:cubicBezTo>
                  <a:pt x="405993" y="766887"/>
                  <a:pt x="458830" y="695771"/>
                  <a:pt x="466866" y="695771"/>
                </a:cubicBezTo>
                <a:cubicBezTo>
                  <a:pt x="471868" y="695771"/>
                  <a:pt x="475959" y="693114"/>
                  <a:pt x="475959" y="689867"/>
                </a:cubicBezTo>
                <a:cubicBezTo>
                  <a:pt x="475959" y="686619"/>
                  <a:pt x="480295" y="681970"/>
                  <a:pt x="485595" y="679535"/>
                </a:cubicBezTo>
                <a:cubicBezTo>
                  <a:pt x="490894" y="677100"/>
                  <a:pt x="497922" y="671210"/>
                  <a:pt x="501212" y="666447"/>
                </a:cubicBezTo>
                <a:cubicBezTo>
                  <a:pt x="504503" y="661683"/>
                  <a:pt x="513941" y="657786"/>
                  <a:pt x="522188" y="657786"/>
                </a:cubicBezTo>
                <a:cubicBezTo>
                  <a:pt x="530434" y="657786"/>
                  <a:pt x="537180" y="654937"/>
                  <a:pt x="537180" y="651455"/>
                </a:cubicBezTo>
                <a:cubicBezTo>
                  <a:pt x="537180" y="647973"/>
                  <a:pt x="541824" y="645124"/>
                  <a:pt x="547500" y="645124"/>
                </a:cubicBezTo>
                <a:cubicBezTo>
                  <a:pt x="553404" y="645124"/>
                  <a:pt x="561334" y="638350"/>
                  <a:pt x="566030" y="629297"/>
                </a:cubicBezTo>
                <a:cubicBezTo>
                  <a:pt x="570545" y="620592"/>
                  <a:pt x="577568" y="613470"/>
                  <a:pt x="581636" y="613470"/>
                </a:cubicBezTo>
                <a:cubicBezTo>
                  <a:pt x="585703" y="613470"/>
                  <a:pt x="591983" y="609196"/>
                  <a:pt x="595590" y="603974"/>
                </a:cubicBezTo>
                <a:cubicBezTo>
                  <a:pt x="599198" y="598750"/>
                  <a:pt x="603469" y="594477"/>
                  <a:pt x="605081" y="594477"/>
                </a:cubicBezTo>
                <a:cubicBezTo>
                  <a:pt x="606693" y="594477"/>
                  <a:pt x="614213" y="590263"/>
                  <a:pt x="621792" y="585112"/>
                </a:cubicBezTo>
                <a:cubicBezTo>
                  <a:pt x="638495" y="573760"/>
                  <a:pt x="692969" y="562678"/>
                  <a:pt x="758458" y="557307"/>
                </a:cubicBezTo>
                <a:cubicBezTo>
                  <a:pt x="805917" y="553416"/>
                  <a:pt x="817472" y="548216"/>
                  <a:pt x="827104" y="526420"/>
                </a:cubicBezTo>
                <a:cubicBezTo>
                  <a:pt x="829027" y="522068"/>
                  <a:pt x="833087" y="518507"/>
                  <a:pt x="836125" y="518507"/>
                </a:cubicBezTo>
                <a:cubicBezTo>
                  <a:pt x="839163" y="518507"/>
                  <a:pt x="847305" y="509960"/>
                  <a:pt x="854218" y="499514"/>
                </a:cubicBezTo>
                <a:cubicBezTo>
                  <a:pt x="861130" y="489068"/>
                  <a:pt x="870238" y="480522"/>
                  <a:pt x="874456" y="480522"/>
                </a:cubicBezTo>
                <a:cubicBezTo>
                  <a:pt x="878674" y="480522"/>
                  <a:pt x="883342" y="477673"/>
                  <a:pt x="884828" y="474191"/>
                </a:cubicBezTo>
                <a:cubicBezTo>
                  <a:pt x="886314" y="470709"/>
                  <a:pt x="891186" y="467860"/>
                  <a:pt x="895654" y="467860"/>
                </a:cubicBezTo>
                <a:cubicBezTo>
                  <a:pt x="900121" y="467860"/>
                  <a:pt x="907745" y="460026"/>
                  <a:pt x="912594" y="450450"/>
                </a:cubicBezTo>
                <a:cubicBezTo>
                  <a:pt x="919668" y="436483"/>
                  <a:pt x="922507" y="434605"/>
                  <a:pt x="926952" y="440954"/>
                </a:cubicBezTo>
                <a:cubicBezTo>
                  <a:pt x="930000" y="445306"/>
                  <a:pt x="935794" y="448867"/>
                  <a:pt x="939829" y="448867"/>
                </a:cubicBezTo>
                <a:cubicBezTo>
                  <a:pt x="943863" y="448867"/>
                  <a:pt x="949567" y="453057"/>
                  <a:pt x="952502" y="458179"/>
                </a:cubicBezTo>
                <a:cubicBezTo>
                  <a:pt x="956617" y="465356"/>
                  <a:pt x="967169" y="467169"/>
                  <a:pt x="998543" y="466092"/>
                </a:cubicBezTo>
                <a:cubicBezTo>
                  <a:pt x="1020929" y="465323"/>
                  <a:pt x="1038330" y="466831"/>
                  <a:pt x="1037211" y="469443"/>
                </a:cubicBezTo>
                <a:cubicBezTo>
                  <a:pt x="1036093" y="472054"/>
                  <a:pt x="1038362" y="474191"/>
                  <a:pt x="1042254" y="474191"/>
                </a:cubicBezTo>
                <a:cubicBezTo>
                  <a:pt x="1046145" y="474191"/>
                  <a:pt x="1048113" y="471342"/>
                  <a:pt x="1046626" y="467860"/>
                </a:cubicBezTo>
                <a:cubicBezTo>
                  <a:pt x="1041127" y="454979"/>
                  <a:pt x="1051925" y="462057"/>
                  <a:pt x="1061114" y="477356"/>
                </a:cubicBezTo>
                <a:cubicBezTo>
                  <a:pt x="1072567" y="496426"/>
                  <a:pt x="1083781" y="497803"/>
                  <a:pt x="1086902" y="480522"/>
                </a:cubicBezTo>
                <a:cubicBezTo>
                  <a:pt x="1090408" y="461111"/>
                  <a:pt x="1104109" y="464970"/>
                  <a:pt x="1109378" y="486853"/>
                </a:cubicBezTo>
                <a:cubicBezTo>
                  <a:pt x="1111894" y="497298"/>
                  <a:pt x="1116022" y="505845"/>
                  <a:pt x="1118552" y="505845"/>
                </a:cubicBezTo>
                <a:cubicBezTo>
                  <a:pt x="1121082" y="505845"/>
                  <a:pt x="1123152" y="510248"/>
                  <a:pt x="1123152" y="515629"/>
                </a:cubicBezTo>
                <a:cubicBezTo>
                  <a:pt x="1123152" y="521011"/>
                  <a:pt x="1128072" y="532536"/>
                  <a:pt x="1134085" y="541240"/>
                </a:cubicBezTo>
                <a:cubicBezTo>
                  <a:pt x="1140098" y="549945"/>
                  <a:pt x="1145017" y="561211"/>
                  <a:pt x="1145017" y="566276"/>
                </a:cubicBezTo>
                <a:cubicBezTo>
                  <a:pt x="1145017" y="571340"/>
                  <a:pt x="1146985" y="575485"/>
                  <a:pt x="1149390" y="575485"/>
                </a:cubicBezTo>
                <a:cubicBezTo>
                  <a:pt x="1151796" y="575485"/>
                  <a:pt x="1153763" y="579488"/>
                  <a:pt x="1153763" y="584382"/>
                </a:cubicBezTo>
                <a:cubicBezTo>
                  <a:pt x="1153763" y="591870"/>
                  <a:pt x="1176828" y="638301"/>
                  <a:pt x="1187659" y="652617"/>
                </a:cubicBezTo>
                <a:cubicBezTo>
                  <a:pt x="1218661" y="693591"/>
                  <a:pt x="1254340" y="745441"/>
                  <a:pt x="1254340" y="749518"/>
                </a:cubicBezTo>
                <a:cubicBezTo>
                  <a:pt x="1254340" y="757171"/>
                  <a:pt x="1280568" y="789876"/>
                  <a:pt x="1290288" y="794342"/>
                </a:cubicBezTo>
                <a:cubicBezTo>
                  <a:pt x="1295629" y="796796"/>
                  <a:pt x="1301342" y="793539"/>
                  <a:pt x="1306344" y="785189"/>
                </a:cubicBezTo>
                <a:cubicBezTo>
                  <a:pt x="1310616" y="778060"/>
                  <a:pt x="1321893" y="770425"/>
                  <a:pt x="1331406" y="768222"/>
                </a:cubicBezTo>
                <a:cubicBezTo>
                  <a:pt x="1346576" y="764711"/>
                  <a:pt x="1349748" y="766237"/>
                  <a:pt x="1357220" y="780642"/>
                </a:cubicBezTo>
                <a:cubicBezTo>
                  <a:pt x="1361906" y="789674"/>
                  <a:pt x="1368224" y="797065"/>
                  <a:pt x="1371260" y="797065"/>
                </a:cubicBezTo>
                <a:cubicBezTo>
                  <a:pt x="1374297" y="797065"/>
                  <a:pt x="1376782" y="802321"/>
                  <a:pt x="1376782" y="808745"/>
                </a:cubicBezTo>
                <a:cubicBezTo>
                  <a:pt x="1376782" y="821451"/>
                  <a:pt x="1389677" y="841380"/>
                  <a:pt x="1397898" y="841380"/>
                </a:cubicBezTo>
                <a:cubicBezTo>
                  <a:pt x="1400715" y="841380"/>
                  <a:pt x="1403266" y="847079"/>
                  <a:pt x="1403566" y="854042"/>
                </a:cubicBezTo>
                <a:cubicBezTo>
                  <a:pt x="1404643" y="878986"/>
                  <a:pt x="1405317" y="881243"/>
                  <a:pt x="1413767" y="888172"/>
                </a:cubicBezTo>
                <a:cubicBezTo>
                  <a:pt x="1427980" y="899827"/>
                  <a:pt x="1432763" y="908218"/>
                  <a:pt x="1434326" y="924237"/>
                </a:cubicBezTo>
                <a:cubicBezTo>
                  <a:pt x="1436019" y="941586"/>
                  <a:pt x="1450406" y="945523"/>
                  <a:pt x="1455432" y="930013"/>
                </a:cubicBezTo>
                <a:cubicBezTo>
                  <a:pt x="1457124" y="924790"/>
                  <a:pt x="1460937" y="913785"/>
                  <a:pt x="1463906" y="905557"/>
                </a:cubicBezTo>
                <a:cubicBezTo>
                  <a:pt x="1468658" y="892389"/>
                  <a:pt x="1467954" y="888558"/>
                  <a:pt x="1458027" y="873556"/>
                </a:cubicBezTo>
                <a:cubicBezTo>
                  <a:pt x="1451824" y="864183"/>
                  <a:pt x="1446749" y="851685"/>
                  <a:pt x="1446749" y="845782"/>
                </a:cubicBezTo>
                <a:cubicBezTo>
                  <a:pt x="1446749" y="839879"/>
                  <a:pt x="1444912" y="835050"/>
                  <a:pt x="1442667" y="835050"/>
                </a:cubicBezTo>
                <a:cubicBezTo>
                  <a:pt x="1440421" y="835050"/>
                  <a:pt x="1437961" y="827215"/>
                  <a:pt x="1437200" y="817640"/>
                </a:cubicBezTo>
                <a:cubicBezTo>
                  <a:pt x="1436198" y="805025"/>
                  <a:pt x="1433036" y="799659"/>
                  <a:pt x="1425722" y="798159"/>
                </a:cubicBezTo>
                <a:cubicBezTo>
                  <a:pt x="1412003" y="795343"/>
                  <a:pt x="1414880" y="778695"/>
                  <a:pt x="1431370" y="765466"/>
                </a:cubicBezTo>
                <a:cubicBezTo>
                  <a:pt x="1439248" y="759147"/>
                  <a:pt x="1445995" y="747031"/>
                  <a:pt x="1448402" y="734883"/>
                </a:cubicBezTo>
                <a:cubicBezTo>
                  <a:pt x="1451293" y="720285"/>
                  <a:pt x="1454974" y="714763"/>
                  <a:pt x="1461812" y="714763"/>
                </a:cubicBezTo>
                <a:cubicBezTo>
                  <a:pt x="1466996" y="714763"/>
                  <a:pt x="1473107" y="712136"/>
                  <a:pt x="1475392" y="708925"/>
                </a:cubicBezTo>
                <a:cubicBezTo>
                  <a:pt x="1477677" y="705714"/>
                  <a:pt x="1486459" y="701250"/>
                  <a:pt x="1494907" y="699006"/>
                </a:cubicBezTo>
                <a:cubicBezTo>
                  <a:pt x="1507788" y="695584"/>
                  <a:pt x="1511972" y="697549"/>
                  <a:pt x="1520814" y="711175"/>
                </a:cubicBezTo>
                <a:cubicBezTo>
                  <a:pt x="1531470" y="727595"/>
                  <a:pt x="1542953" y="732741"/>
                  <a:pt x="1542953" y="721094"/>
                </a:cubicBezTo>
                <a:cubicBezTo>
                  <a:pt x="1542953" y="717612"/>
                  <a:pt x="1545305" y="714763"/>
                  <a:pt x="1548180" y="714763"/>
                </a:cubicBezTo>
                <a:cubicBezTo>
                  <a:pt x="1551055" y="714763"/>
                  <a:pt x="1558868" y="707189"/>
                  <a:pt x="1565543" y="697931"/>
                </a:cubicBezTo>
                <a:cubicBezTo>
                  <a:pt x="1576313" y="682993"/>
                  <a:pt x="1578004" y="682326"/>
                  <a:pt x="1580569" y="692004"/>
                </a:cubicBezTo>
                <a:cubicBezTo>
                  <a:pt x="1582158" y="698002"/>
                  <a:pt x="1581490" y="709167"/>
                  <a:pt x="1579083" y="716815"/>
                </a:cubicBezTo>
                <a:cubicBezTo>
                  <a:pt x="1573971" y="733059"/>
                  <a:pt x="1582935" y="749854"/>
                  <a:pt x="1593565" y="743948"/>
                </a:cubicBezTo>
                <a:cubicBezTo>
                  <a:pt x="1602131" y="739190"/>
                  <a:pt x="1607148" y="719364"/>
                  <a:pt x="1600588" y="716198"/>
                </a:cubicBezTo>
                <a:cubicBezTo>
                  <a:pt x="1592584" y="712335"/>
                  <a:pt x="1594497" y="690789"/>
                  <a:pt x="1604075" y="676922"/>
                </a:cubicBezTo>
                <a:cubicBezTo>
                  <a:pt x="1608831" y="670037"/>
                  <a:pt x="1611648" y="660354"/>
                  <a:pt x="1610336" y="655404"/>
                </a:cubicBezTo>
                <a:cubicBezTo>
                  <a:pt x="1606241" y="639955"/>
                  <a:pt x="1616711" y="637515"/>
                  <a:pt x="1627075" y="651503"/>
                </a:cubicBezTo>
                <a:cubicBezTo>
                  <a:pt x="1635408" y="662749"/>
                  <a:pt x="1640251" y="664207"/>
                  <a:pt x="1657724" y="660732"/>
                </a:cubicBezTo>
                <a:cubicBezTo>
                  <a:pt x="1673801" y="657535"/>
                  <a:pt x="1679028" y="658688"/>
                  <a:pt x="1680927" y="665854"/>
                </a:cubicBezTo>
                <a:cubicBezTo>
                  <a:pt x="1682551" y="671980"/>
                  <a:pt x="1693005" y="676530"/>
                  <a:pt x="1711891" y="679332"/>
                </a:cubicBezTo>
                <a:cubicBezTo>
                  <a:pt x="1730763" y="682131"/>
                  <a:pt x="1746175" y="688836"/>
                  <a:pt x="1757474" y="699162"/>
                </a:cubicBezTo>
                <a:cubicBezTo>
                  <a:pt x="1766863" y="707743"/>
                  <a:pt x="1777535" y="714763"/>
                  <a:pt x="1781191" y="714763"/>
                </a:cubicBezTo>
                <a:cubicBezTo>
                  <a:pt x="1784846" y="714763"/>
                  <a:pt x="1787837" y="717333"/>
                  <a:pt x="1787837" y="720473"/>
                </a:cubicBezTo>
                <a:cubicBezTo>
                  <a:pt x="1787837" y="723614"/>
                  <a:pt x="1795170" y="731694"/>
                  <a:pt x="1804133" y="738427"/>
                </a:cubicBezTo>
                <a:cubicBezTo>
                  <a:pt x="1816070" y="747395"/>
                  <a:pt x="1821182" y="756003"/>
                  <a:pt x="1823246" y="770607"/>
                </a:cubicBezTo>
                <a:cubicBezTo>
                  <a:pt x="1826969" y="796962"/>
                  <a:pt x="1843835" y="817162"/>
                  <a:pt x="1854936" y="808560"/>
                </a:cubicBezTo>
                <a:cubicBezTo>
                  <a:pt x="1861330" y="803606"/>
                  <a:pt x="1865591" y="805762"/>
                  <a:pt x="1874886" y="818655"/>
                </a:cubicBezTo>
                <a:cubicBezTo>
                  <a:pt x="1881387" y="827672"/>
                  <a:pt x="1888197" y="835050"/>
                  <a:pt x="1890018" y="835050"/>
                </a:cubicBezTo>
                <a:cubicBezTo>
                  <a:pt x="1891839" y="835050"/>
                  <a:pt x="1907144" y="855209"/>
                  <a:pt x="1924029" y="879848"/>
                </a:cubicBezTo>
                <a:cubicBezTo>
                  <a:pt x="1947915" y="914705"/>
                  <a:pt x="1958287" y="925437"/>
                  <a:pt x="1970767" y="928208"/>
                </a:cubicBezTo>
                <a:cubicBezTo>
                  <a:pt x="1979588" y="930167"/>
                  <a:pt x="1989240" y="934542"/>
                  <a:pt x="1992216" y="937930"/>
                </a:cubicBezTo>
                <a:cubicBezTo>
                  <a:pt x="1995191" y="941318"/>
                  <a:pt x="2000741" y="942361"/>
                  <a:pt x="2004549" y="940246"/>
                </a:cubicBezTo>
                <a:cubicBezTo>
                  <a:pt x="2014139" y="934918"/>
                  <a:pt x="2010854" y="908587"/>
                  <a:pt x="2000233" y="905653"/>
                </a:cubicBezTo>
                <a:cubicBezTo>
                  <a:pt x="1990506" y="902967"/>
                  <a:pt x="1980246" y="889704"/>
                  <a:pt x="1980246" y="879818"/>
                </a:cubicBezTo>
                <a:cubicBezTo>
                  <a:pt x="1980246" y="871202"/>
                  <a:pt x="1982879" y="871305"/>
                  <a:pt x="2000661" y="880614"/>
                </a:cubicBezTo>
                <a:cubicBezTo>
                  <a:pt x="2014087" y="887642"/>
                  <a:pt x="2016093" y="886867"/>
                  <a:pt x="2028302" y="869933"/>
                </a:cubicBezTo>
                <a:cubicBezTo>
                  <a:pt x="2035543" y="859890"/>
                  <a:pt x="2041467" y="845084"/>
                  <a:pt x="2041467" y="837031"/>
                </a:cubicBezTo>
                <a:cubicBezTo>
                  <a:pt x="2041467" y="828236"/>
                  <a:pt x="2044086" y="822388"/>
                  <a:pt x="2048027" y="822388"/>
                </a:cubicBezTo>
                <a:cubicBezTo>
                  <a:pt x="2051634" y="822388"/>
                  <a:pt x="2054585" y="825256"/>
                  <a:pt x="2054585" y="828761"/>
                </a:cubicBezTo>
                <a:cubicBezTo>
                  <a:pt x="2054585" y="832265"/>
                  <a:pt x="2059386" y="841176"/>
                  <a:pt x="2065253" y="848562"/>
                </a:cubicBezTo>
                <a:cubicBezTo>
                  <a:pt x="2075061" y="860908"/>
                  <a:pt x="2075402" y="863133"/>
                  <a:pt x="2069492" y="876195"/>
                </a:cubicBezTo>
                <a:cubicBezTo>
                  <a:pt x="2063387" y="889682"/>
                  <a:pt x="2063842" y="890935"/>
                  <a:pt x="2078502" y="901007"/>
                </a:cubicBezTo>
                <a:cubicBezTo>
                  <a:pt x="2086994" y="906841"/>
                  <a:pt x="2093942" y="914329"/>
                  <a:pt x="2093942" y="917648"/>
                </a:cubicBezTo>
                <a:cubicBezTo>
                  <a:pt x="2093942" y="920967"/>
                  <a:pt x="2096894" y="923682"/>
                  <a:pt x="2100502" y="923682"/>
                </a:cubicBezTo>
                <a:cubicBezTo>
                  <a:pt x="2107463" y="923682"/>
                  <a:pt x="2109052" y="934932"/>
                  <a:pt x="2103714" y="946427"/>
                </a:cubicBezTo>
                <a:cubicBezTo>
                  <a:pt x="2101947" y="950232"/>
                  <a:pt x="2093992" y="955179"/>
                  <a:pt x="2086036" y="957421"/>
                </a:cubicBezTo>
                <a:cubicBezTo>
                  <a:pt x="2067913" y="962528"/>
                  <a:pt x="2058351" y="975401"/>
                  <a:pt x="2063661" y="987546"/>
                </a:cubicBezTo>
                <a:cubicBezTo>
                  <a:pt x="2065812" y="992464"/>
                  <a:pt x="2067600" y="1010810"/>
                  <a:pt x="2067637" y="1028317"/>
                </a:cubicBezTo>
                <a:cubicBezTo>
                  <a:pt x="2067710" y="1062723"/>
                  <a:pt x="2077159" y="1081953"/>
                  <a:pt x="2093992" y="1081953"/>
                </a:cubicBezTo>
                <a:cubicBezTo>
                  <a:pt x="2100657" y="1081953"/>
                  <a:pt x="2102688" y="1086209"/>
                  <a:pt x="2102688" y="1100171"/>
                </a:cubicBezTo>
                <a:cubicBezTo>
                  <a:pt x="2102688" y="1125740"/>
                  <a:pt x="2113772" y="1138266"/>
                  <a:pt x="2123679" y="1123892"/>
                </a:cubicBezTo>
                <a:cubicBezTo>
                  <a:pt x="2129457" y="1115507"/>
                  <a:pt x="2130863" y="1103709"/>
                  <a:pt x="2129992" y="1070902"/>
                </a:cubicBezTo>
                <a:cubicBezTo>
                  <a:pt x="2129377" y="1047689"/>
                  <a:pt x="2126917" y="1025866"/>
                  <a:pt x="2124526" y="1022405"/>
                </a:cubicBezTo>
                <a:cubicBezTo>
                  <a:pt x="2118039" y="1013013"/>
                  <a:pt x="2119278" y="989624"/>
                  <a:pt x="2126739" y="980659"/>
                </a:cubicBezTo>
                <a:cubicBezTo>
                  <a:pt x="2134268" y="971613"/>
                  <a:pt x="2135439" y="951668"/>
                  <a:pt x="2128791" y="945720"/>
                </a:cubicBezTo>
                <a:cubicBezTo>
                  <a:pt x="2126210" y="943411"/>
                  <a:pt x="2125453" y="932663"/>
                  <a:pt x="2127020" y="920573"/>
                </a:cubicBezTo>
                <a:cubicBezTo>
                  <a:pt x="2128525" y="908960"/>
                  <a:pt x="2128387" y="893215"/>
                  <a:pt x="2126714" y="885583"/>
                </a:cubicBezTo>
                <a:cubicBezTo>
                  <a:pt x="2124232" y="874263"/>
                  <a:pt x="2121368" y="872374"/>
                  <a:pt x="2111163" y="875329"/>
                </a:cubicBezTo>
                <a:cubicBezTo>
                  <a:pt x="2098619" y="878962"/>
                  <a:pt x="2089911" y="871058"/>
                  <a:pt x="2098244" y="863602"/>
                </a:cubicBezTo>
                <a:cubicBezTo>
                  <a:pt x="2103992" y="858459"/>
                  <a:pt x="2104054" y="822388"/>
                  <a:pt x="2098315" y="822388"/>
                </a:cubicBezTo>
                <a:cubicBezTo>
                  <a:pt x="2095910" y="822388"/>
                  <a:pt x="2093942" y="813841"/>
                  <a:pt x="2093942" y="803395"/>
                </a:cubicBezTo>
                <a:cubicBezTo>
                  <a:pt x="2093942" y="792950"/>
                  <a:pt x="2096066" y="784403"/>
                  <a:pt x="2098662" y="784403"/>
                </a:cubicBezTo>
                <a:cubicBezTo>
                  <a:pt x="2101561" y="784403"/>
                  <a:pt x="2102341" y="777537"/>
                  <a:pt x="2100683" y="766608"/>
                </a:cubicBezTo>
                <a:cubicBezTo>
                  <a:pt x="2098503" y="752236"/>
                  <a:pt x="2099907" y="747417"/>
                  <a:pt x="2107989" y="741548"/>
                </a:cubicBezTo>
                <a:cubicBezTo>
                  <a:pt x="2113491" y="737553"/>
                  <a:pt x="2122912" y="733452"/>
                  <a:pt x="2128925" y="732437"/>
                </a:cubicBezTo>
                <a:cubicBezTo>
                  <a:pt x="2137207" y="731038"/>
                  <a:pt x="2140193" y="726370"/>
                  <a:pt x="2141241" y="713181"/>
                </a:cubicBezTo>
                <a:cubicBezTo>
                  <a:pt x="2142339" y="699367"/>
                  <a:pt x="2144882" y="695771"/>
                  <a:pt x="2153554" y="695771"/>
                </a:cubicBezTo>
                <a:cubicBezTo>
                  <a:pt x="2159566" y="695771"/>
                  <a:pt x="2167904" y="693121"/>
                  <a:pt x="2172084" y="689882"/>
                </a:cubicBezTo>
                <a:cubicBezTo>
                  <a:pt x="2176573" y="686404"/>
                  <a:pt x="2182266" y="686302"/>
                  <a:pt x="2185988" y="689631"/>
                </a:cubicBezTo>
                <a:cubicBezTo>
                  <a:pt x="2191250" y="694341"/>
                  <a:pt x="2190851" y="696845"/>
                  <a:pt x="2183565" y="704816"/>
                </a:cubicBezTo>
                <a:cubicBezTo>
                  <a:pt x="2176968" y="712034"/>
                  <a:pt x="2176450" y="714410"/>
                  <a:pt x="2181442" y="714562"/>
                </a:cubicBezTo>
                <a:cubicBezTo>
                  <a:pt x="2185072" y="714673"/>
                  <a:pt x="2190395" y="709309"/>
                  <a:pt x="2193271" y="702641"/>
                </a:cubicBezTo>
                <a:cubicBezTo>
                  <a:pt x="2199199" y="688899"/>
                  <a:pt x="2194453" y="679849"/>
                  <a:pt x="2179214" y="675840"/>
                </a:cubicBezTo>
                <a:cubicBezTo>
                  <a:pt x="2174404" y="674574"/>
                  <a:pt x="2168526" y="667145"/>
                  <a:pt x="2166151" y="659332"/>
                </a:cubicBezTo>
                <a:cubicBezTo>
                  <a:pt x="2163777" y="651517"/>
                  <a:pt x="2160334" y="645124"/>
                  <a:pt x="2158499" y="645124"/>
                </a:cubicBezTo>
                <a:cubicBezTo>
                  <a:pt x="2156664" y="645124"/>
                  <a:pt x="2155163" y="640851"/>
                  <a:pt x="2155163" y="635628"/>
                </a:cubicBezTo>
                <a:cubicBezTo>
                  <a:pt x="2155163" y="620205"/>
                  <a:pt x="2172160" y="624706"/>
                  <a:pt x="2184048" y="643278"/>
                </a:cubicBezTo>
                <a:cubicBezTo>
                  <a:pt x="2192775" y="656910"/>
                  <a:pt x="2196541" y="659049"/>
                  <a:pt x="2202425" y="653711"/>
                </a:cubicBezTo>
                <a:cubicBezTo>
                  <a:pt x="2213231" y="643905"/>
                  <a:pt x="2213663" y="624496"/>
                  <a:pt x="2203453" y="607453"/>
                </a:cubicBezTo>
                <a:cubicBezTo>
                  <a:pt x="2193012" y="590025"/>
                  <a:pt x="2192102" y="581815"/>
                  <a:pt x="2200610" y="581815"/>
                </a:cubicBezTo>
                <a:cubicBezTo>
                  <a:pt x="2203961" y="581815"/>
                  <a:pt x="2207897" y="577309"/>
                  <a:pt x="2209356" y="571802"/>
                </a:cubicBezTo>
                <a:cubicBezTo>
                  <a:pt x="2213448" y="556366"/>
                  <a:pt x="2212502" y="537499"/>
                  <a:pt x="2207638" y="537499"/>
                </a:cubicBezTo>
                <a:cubicBezTo>
                  <a:pt x="2200214" y="537499"/>
                  <a:pt x="2202808" y="521779"/>
                  <a:pt x="2211777" y="512421"/>
                </a:cubicBezTo>
                <a:cubicBezTo>
                  <a:pt x="2216458" y="507535"/>
                  <a:pt x="2219456" y="501589"/>
                  <a:pt x="2218439" y="499207"/>
                </a:cubicBezTo>
                <a:cubicBezTo>
                  <a:pt x="2215330" y="491923"/>
                  <a:pt x="2230901" y="475843"/>
                  <a:pt x="2245369" y="471396"/>
                </a:cubicBezTo>
                <a:cubicBezTo>
                  <a:pt x="2257458" y="467681"/>
                  <a:pt x="2259373" y="469060"/>
                  <a:pt x="2261834" y="483257"/>
                </a:cubicBezTo>
                <a:cubicBezTo>
                  <a:pt x="2265391" y="503772"/>
                  <a:pt x="2285196" y="512691"/>
                  <a:pt x="2292979" y="497282"/>
                </a:cubicBezTo>
                <a:cubicBezTo>
                  <a:pt x="2301499" y="480415"/>
                  <a:pt x="2331129" y="488021"/>
                  <a:pt x="2323798" y="505194"/>
                </a:cubicBezTo>
                <a:cubicBezTo>
                  <a:pt x="2318982" y="516475"/>
                  <a:pt x="2325564" y="537499"/>
                  <a:pt x="2333912" y="537499"/>
                </a:cubicBezTo>
                <a:cubicBezTo>
                  <a:pt x="2338100" y="537499"/>
                  <a:pt x="2345347" y="533317"/>
                  <a:pt x="2350016" y="528204"/>
                </a:cubicBezTo>
                <a:cubicBezTo>
                  <a:pt x="2354684" y="523092"/>
                  <a:pt x="2362932" y="518819"/>
                  <a:pt x="2368343" y="518708"/>
                </a:cubicBezTo>
                <a:cubicBezTo>
                  <a:pt x="2373754" y="518597"/>
                  <a:pt x="2378182" y="515658"/>
                  <a:pt x="2378182" y="512176"/>
                </a:cubicBezTo>
                <a:cubicBezTo>
                  <a:pt x="2378182" y="508694"/>
                  <a:pt x="2381133" y="505845"/>
                  <a:pt x="2384742" y="505845"/>
                </a:cubicBezTo>
                <a:cubicBezTo>
                  <a:pt x="2388349" y="505845"/>
                  <a:pt x="2391301" y="502996"/>
                  <a:pt x="2391301" y="499514"/>
                </a:cubicBezTo>
                <a:cubicBezTo>
                  <a:pt x="2391301" y="496032"/>
                  <a:pt x="2394252" y="493183"/>
                  <a:pt x="2397860" y="493183"/>
                </a:cubicBezTo>
                <a:cubicBezTo>
                  <a:pt x="2401468" y="493183"/>
                  <a:pt x="2404419" y="498713"/>
                  <a:pt x="2404419" y="505472"/>
                </a:cubicBezTo>
                <a:cubicBezTo>
                  <a:pt x="2404419" y="520955"/>
                  <a:pt x="2410752" y="526800"/>
                  <a:pt x="2421950" y="521654"/>
                </a:cubicBezTo>
                <a:cubicBezTo>
                  <a:pt x="2427501" y="519104"/>
                  <a:pt x="2430657" y="512070"/>
                  <a:pt x="2430657" y="502253"/>
                </a:cubicBezTo>
                <a:cubicBezTo>
                  <a:pt x="2430657" y="486471"/>
                  <a:pt x="2441550" y="480348"/>
                  <a:pt x="2444767" y="494323"/>
                </a:cubicBezTo>
                <a:cubicBezTo>
                  <a:pt x="2447125" y="504566"/>
                  <a:pt x="2460800" y="496112"/>
                  <a:pt x="2464298" y="482248"/>
                </a:cubicBezTo>
                <a:cubicBezTo>
                  <a:pt x="2465855" y="476076"/>
                  <a:pt x="2470730" y="464231"/>
                  <a:pt x="2475130" y="455927"/>
                </a:cubicBezTo>
                <a:cubicBezTo>
                  <a:pt x="2484828" y="437629"/>
                  <a:pt x="2485486" y="418123"/>
                  <a:pt x="2476573" y="413172"/>
                </a:cubicBezTo>
                <a:cubicBezTo>
                  <a:pt x="2472509" y="410914"/>
                  <a:pt x="2470013" y="401279"/>
                  <a:pt x="2470013" y="387848"/>
                </a:cubicBezTo>
                <a:cubicBezTo>
                  <a:pt x="2470013" y="374418"/>
                  <a:pt x="2467518" y="364782"/>
                  <a:pt x="2463454" y="362525"/>
                </a:cubicBezTo>
                <a:cubicBezTo>
                  <a:pt x="2459846" y="360520"/>
                  <a:pt x="2456910" y="351351"/>
                  <a:pt x="2456929" y="342148"/>
                </a:cubicBezTo>
                <a:cubicBezTo>
                  <a:pt x="2456968" y="323282"/>
                  <a:pt x="2472032" y="309588"/>
                  <a:pt x="2492750" y="309588"/>
                </a:cubicBezTo>
                <a:cubicBezTo>
                  <a:pt x="2499486" y="309588"/>
                  <a:pt x="2504997" y="306740"/>
                  <a:pt x="2504997" y="303258"/>
                </a:cubicBezTo>
                <a:cubicBezTo>
                  <a:pt x="2504997" y="292419"/>
                  <a:pt x="2515749" y="296317"/>
                  <a:pt x="2521291" y="309165"/>
                </a:cubicBezTo>
                <a:cubicBezTo>
                  <a:pt x="2525702" y="319390"/>
                  <a:pt x="2525335" y="321779"/>
                  <a:pt x="2519063" y="323689"/>
                </a:cubicBezTo>
                <a:cubicBezTo>
                  <a:pt x="2514934" y="324947"/>
                  <a:pt x="2522027" y="326405"/>
                  <a:pt x="2534825" y="326930"/>
                </a:cubicBezTo>
                <a:cubicBezTo>
                  <a:pt x="2556889" y="327835"/>
                  <a:pt x="2558327" y="326919"/>
                  <a:pt x="2562584" y="309240"/>
                </a:cubicBezTo>
                <a:cubicBezTo>
                  <a:pt x="2567794" y="287603"/>
                  <a:pt x="2576900" y="285569"/>
                  <a:pt x="2596446" y="301675"/>
                </a:cubicBezTo>
                <a:cubicBezTo>
                  <a:pt x="2605015" y="308735"/>
                  <a:pt x="2609902" y="317785"/>
                  <a:pt x="2609919" y="326625"/>
                </a:cubicBezTo>
                <a:cubicBezTo>
                  <a:pt x="2609955" y="344221"/>
                  <a:pt x="2615370" y="349022"/>
                  <a:pt x="2629424" y="343915"/>
                </a:cubicBezTo>
                <a:cubicBezTo>
                  <a:pt x="2639222" y="340356"/>
                  <a:pt x="2640558" y="336562"/>
                  <a:pt x="2640558" y="312290"/>
                </a:cubicBezTo>
                <a:cubicBezTo>
                  <a:pt x="2640558" y="291190"/>
                  <a:pt x="2642612" y="283118"/>
                  <a:pt x="2649304" y="277934"/>
                </a:cubicBezTo>
                <a:cubicBezTo>
                  <a:pt x="2654568" y="273855"/>
                  <a:pt x="2658050" y="264678"/>
                  <a:pt x="2658050" y="254876"/>
                </a:cubicBezTo>
                <a:cubicBezTo>
                  <a:pt x="2658050" y="242441"/>
                  <a:pt x="2659730" y="239528"/>
                  <a:pt x="2665163" y="242546"/>
                </a:cubicBezTo>
                <a:cubicBezTo>
                  <a:pt x="2669075" y="244720"/>
                  <a:pt x="2674979" y="243252"/>
                  <a:pt x="2678281" y="239283"/>
                </a:cubicBezTo>
                <a:cubicBezTo>
                  <a:pt x="2685187" y="230987"/>
                  <a:pt x="2686456" y="201964"/>
                  <a:pt x="2679914" y="201964"/>
                </a:cubicBezTo>
                <a:cubicBezTo>
                  <a:pt x="2673155" y="201964"/>
                  <a:pt x="2674745" y="182076"/>
                  <a:pt x="2682494" y="169679"/>
                </a:cubicBezTo>
                <a:cubicBezTo>
                  <a:pt x="2693070" y="152761"/>
                  <a:pt x="2686712" y="132325"/>
                  <a:pt x="2670873" y="132325"/>
                </a:cubicBezTo>
                <a:cubicBezTo>
                  <a:pt x="2653920" y="132325"/>
                  <a:pt x="2654096" y="117239"/>
                  <a:pt x="2671168" y="107001"/>
                </a:cubicBezTo>
                <a:cubicBezTo>
                  <a:pt x="2678758" y="102450"/>
                  <a:pt x="2684287" y="94411"/>
                  <a:pt x="2684287" y="87927"/>
                </a:cubicBezTo>
                <a:cubicBezTo>
                  <a:pt x="2684287" y="81252"/>
                  <a:pt x="2688709" y="75113"/>
                  <a:pt x="2695219" y="72747"/>
                </a:cubicBezTo>
                <a:cubicBezTo>
                  <a:pt x="2701232" y="70562"/>
                  <a:pt x="2706152" y="66375"/>
                  <a:pt x="2706152" y="63442"/>
                </a:cubicBezTo>
                <a:cubicBezTo>
                  <a:pt x="2706152" y="55417"/>
                  <a:pt x="2727018" y="62811"/>
                  <a:pt x="2732792" y="72882"/>
                </a:cubicBezTo>
                <a:cubicBezTo>
                  <a:pt x="2735565" y="77719"/>
                  <a:pt x="2742301" y="81678"/>
                  <a:pt x="2747762" y="81678"/>
                </a:cubicBezTo>
                <a:cubicBezTo>
                  <a:pt x="2753223" y="81678"/>
                  <a:pt x="2758824" y="85951"/>
                  <a:pt x="2760208" y="91174"/>
                </a:cubicBezTo>
                <a:cubicBezTo>
                  <a:pt x="2761593" y="96397"/>
                  <a:pt x="2767707" y="100670"/>
                  <a:pt x="2773795" y="100670"/>
                </a:cubicBezTo>
                <a:cubicBezTo>
                  <a:pt x="2782006" y="100670"/>
                  <a:pt x="2784864" y="103991"/>
                  <a:pt x="2784864" y="113531"/>
                </a:cubicBezTo>
                <a:cubicBezTo>
                  <a:pt x="2784864" y="128974"/>
                  <a:pt x="2796460" y="136816"/>
                  <a:pt x="2806176" y="127943"/>
                </a:cubicBezTo>
                <a:cubicBezTo>
                  <a:pt x="2811009" y="123529"/>
                  <a:pt x="2812755" y="114385"/>
                  <a:pt x="2811807" y="98446"/>
                </a:cubicBezTo>
                <a:cubicBezTo>
                  <a:pt x="2810957" y="84169"/>
                  <a:pt x="2812343" y="75347"/>
                  <a:pt x="2815434" y="75347"/>
                </a:cubicBezTo>
                <a:cubicBezTo>
                  <a:pt x="2818242" y="75347"/>
                  <a:pt x="2819352" y="70399"/>
                  <a:pt x="2817964" y="64068"/>
                </a:cubicBezTo>
                <a:cubicBezTo>
                  <a:pt x="2816160" y="55840"/>
                  <a:pt x="2818843" y="50959"/>
                  <a:pt x="2827881" y="46020"/>
                </a:cubicBezTo>
                <a:cubicBezTo>
                  <a:pt x="2843570" y="37446"/>
                  <a:pt x="2867950" y="42245"/>
                  <a:pt x="2867950" y="53908"/>
                </a:cubicBezTo>
                <a:cubicBezTo>
                  <a:pt x="2867950" y="58735"/>
                  <a:pt x="2869918" y="62685"/>
                  <a:pt x="2872323" y="62685"/>
                </a:cubicBezTo>
                <a:cubicBezTo>
                  <a:pt x="2874727" y="62685"/>
                  <a:pt x="2876696" y="66869"/>
                  <a:pt x="2876696" y="71983"/>
                </a:cubicBezTo>
                <a:cubicBezTo>
                  <a:pt x="2876696" y="77575"/>
                  <a:pt x="2879265" y="79852"/>
                  <a:pt x="2883143" y="77698"/>
                </a:cubicBezTo>
                <a:cubicBezTo>
                  <a:pt x="2891144" y="73253"/>
                  <a:pt x="2915481" y="100222"/>
                  <a:pt x="2915810" y="113898"/>
                </a:cubicBezTo>
                <a:cubicBezTo>
                  <a:pt x="2915943" y="119433"/>
                  <a:pt x="2911039" y="127267"/>
                  <a:pt x="2904913" y="131308"/>
                </a:cubicBezTo>
                <a:cubicBezTo>
                  <a:pt x="2890838" y="140594"/>
                  <a:pt x="2889815" y="140513"/>
                  <a:pt x="2889815" y="130128"/>
                </a:cubicBezTo>
                <a:cubicBezTo>
                  <a:pt x="2889815" y="118102"/>
                  <a:pt x="2873609" y="92441"/>
                  <a:pt x="2868756" y="96783"/>
                </a:cubicBezTo>
                <a:cubicBezTo>
                  <a:pt x="2866540" y="98767"/>
                  <a:pt x="2863494" y="111537"/>
                  <a:pt x="2861989" y="125162"/>
                </a:cubicBezTo>
                <a:cubicBezTo>
                  <a:pt x="2860485" y="138787"/>
                  <a:pt x="2856291" y="151581"/>
                  <a:pt x="2852669" y="153593"/>
                </a:cubicBezTo>
                <a:cubicBezTo>
                  <a:pt x="2840741" y="160220"/>
                  <a:pt x="2847175" y="202394"/>
                  <a:pt x="2864473" y="230956"/>
                </a:cubicBezTo>
                <a:cubicBezTo>
                  <a:pt x="2868859" y="238196"/>
                  <a:pt x="2874926" y="256521"/>
                  <a:pt x="2877958" y="271677"/>
                </a:cubicBezTo>
                <a:cubicBezTo>
                  <a:pt x="2881774" y="290765"/>
                  <a:pt x="2887467" y="302627"/>
                  <a:pt x="2896480" y="310278"/>
                </a:cubicBezTo>
                <a:cubicBezTo>
                  <a:pt x="2914313" y="325416"/>
                  <a:pt x="2921265" y="324529"/>
                  <a:pt x="2930626" y="305922"/>
                </a:cubicBezTo>
                <a:cubicBezTo>
                  <a:pt x="2940093" y="287102"/>
                  <a:pt x="2934487" y="271603"/>
                  <a:pt x="2918213" y="271603"/>
                </a:cubicBezTo>
                <a:cubicBezTo>
                  <a:pt x="2911656" y="271603"/>
                  <a:pt x="2907437" y="266805"/>
                  <a:pt x="2905690" y="257359"/>
                </a:cubicBezTo>
                <a:cubicBezTo>
                  <a:pt x="2901610" y="235322"/>
                  <a:pt x="2902186" y="233618"/>
                  <a:pt x="2913711" y="233618"/>
                </a:cubicBezTo>
                <a:cubicBezTo>
                  <a:pt x="2927050" y="233618"/>
                  <a:pt x="2933170" y="217887"/>
                  <a:pt x="2930337" y="190885"/>
                </a:cubicBezTo>
                <a:cubicBezTo>
                  <a:pt x="2928712" y="175393"/>
                  <a:pt x="2929806" y="170310"/>
                  <a:pt x="2934767" y="170310"/>
                </a:cubicBezTo>
                <a:cubicBezTo>
                  <a:pt x="2943173" y="170310"/>
                  <a:pt x="2947395" y="185709"/>
                  <a:pt x="2941378" y="194420"/>
                </a:cubicBezTo>
                <a:cubicBezTo>
                  <a:pt x="2938159" y="199081"/>
                  <a:pt x="2941598" y="202390"/>
                  <a:pt x="2952827" y="205440"/>
                </a:cubicBezTo>
                <a:cubicBezTo>
                  <a:pt x="2965084" y="208769"/>
                  <a:pt x="2970901" y="207145"/>
                  <a:pt x="2977447" y="198569"/>
                </a:cubicBezTo>
                <a:cubicBezTo>
                  <a:pt x="2991133" y="180640"/>
                  <a:pt x="2988109" y="159934"/>
                  <a:pt x="2967852" y="132854"/>
                </a:cubicBezTo>
                <a:cubicBezTo>
                  <a:pt x="2949478" y="108292"/>
                  <a:pt x="2946932" y="88008"/>
                  <a:pt x="2962222" y="88008"/>
                </a:cubicBezTo>
                <a:cubicBezTo>
                  <a:pt x="2970062" y="88008"/>
                  <a:pt x="2985645" y="64023"/>
                  <a:pt x="2985873" y="51606"/>
                </a:cubicBezTo>
                <a:cubicBezTo>
                  <a:pt x="2985960" y="46899"/>
                  <a:pt x="2991929" y="43693"/>
                  <a:pt x="3000606" y="43693"/>
                </a:cubicBezTo>
                <a:cubicBezTo>
                  <a:pt x="3012139" y="43693"/>
                  <a:pt x="3018546" y="49098"/>
                  <a:pt x="3031196" y="69498"/>
                </a:cubicBezTo>
                <a:cubicBezTo>
                  <a:pt x="3045443" y="92473"/>
                  <a:pt x="3047919" y="94259"/>
                  <a:pt x="3053778" y="85778"/>
                </a:cubicBezTo>
                <a:cubicBezTo>
                  <a:pt x="3061714" y="74289"/>
                  <a:pt x="3062205" y="61561"/>
                  <a:pt x="3055111" y="51289"/>
                </a:cubicBezTo>
                <a:cubicBezTo>
                  <a:pt x="3051030" y="45381"/>
                  <a:pt x="3051090" y="41934"/>
                  <a:pt x="3055383" y="35779"/>
                </a:cubicBezTo>
                <a:cubicBezTo>
                  <a:pt x="3059803" y="29442"/>
                  <a:pt x="3061685" y="29872"/>
                  <a:pt x="3064829" y="37931"/>
                </a:cubicBezTo>
                <a:cubicBezTo>
                  <a:pt x="3073651" y="60547"/>
                  <a:pt x="3085007" y="75367"/>
                  <a:pt x="3095119" y="77459"/>
                </a:cubicBezTo>
                <a:cubicBezTo>
                  <a:pt x="3110739" y="80691"/>
                  <a:pt x="3116466" y="97029"/>
                  <a:pt x="3107184" y="111877"/>
                </a:cubicBezTo>
                <a:cubicBezTo>
                  <a:pt x="3099011" y="124950"/>
                  <a:pt x="3097138" y="144986"/>
                  <a:pt x="3104088" y="144986"/>
                </a:cubicBezTo>
                <a:cubicBezTo>
                  <a:pt x="3106492" y="144986"/>
                  <a:pt x="3108461" y="151941"/>
                  <a:pt x="3108461" y="160439"/>
                </a:cubicBezTo>
                <a:cubicBezTo>
                  <a:pt x="3108461" y="168939"/>
                  <a:pt x="3110429" y="177654"/>
                  <a:pt x="3112834" y="179806"/>
                </a:cubicBezTo>
                <a:cubicBezTo>
                  <a:pt x="3115238" y="181958"/>
                  <a:pt x="3117207" y="193663"/>
                  <a:pt x="3117207" y="205817"/>
                </a:cubicBezTo>
                <a:cubicBezTo>
                  <a:pt x="3117207" y="222318"/>
                  <a:pt x="3120918" y="233447"/>
                  <a:pt x="3131860" y="249759"/>
                </a:cubicBezTo>
                <a:cubicBezTo>
                  <a:pt x="3139920" y="261774"/>
                  <a:pt x="3149007" y="271603"/>
                  <a:pt x="3152055" y="271603"/>
                </a:cubicBezTo>
                <a:cubicBezTo>
                  <a:pt x="3155102" y="271603"/>
                  <a:pt x="3164319" y="280150"/>
                  <a:pt x="3172536" y="290596"/>
                </a:cubicBezTo>
                <a:cubicBezTo>
                  <a:pt x="3188581" y="310992"/>
                  <a:pt x="3207725" y="315576"/>
                  <a:pt x="3211850" y="300011"/>
                </a:cubicBezTo>
                <a:cubicBezTo>
                  <a:pt x="3213246" y="294744"/>
                  <a:pt x="3211890" y="286077"/>
                  <a:pt x="3208838" y="280750"/>
                </a:cubicBezTo>
                <a:cubicBezTo>
                  <a:pt x="3201373" y="267728"/>
                  <a:pt x="3210491" y="252182"/>
                  <a:pt x="3218659" y="264006"/>
                </a:cubicBezTo>
                <a:cubicBezTo>
                  <a:pt x="3224862" y="272988"/>
                  <a:pt x="3249230" y="274134"/>
                  <a:pt x="3255173" y="265724"/>
                </a:cubicBezTo>
                <a:cubicBezTo>
                  <a:pt x="3257458" y="262490"/>
                  <a:pt x="3266214" y="258929"/>
                  <a:pt x="3274632" y="257810"/>
                </a:cubicBezTo>
                <a:cubicBezTo>
                  <a:pt x="3287659" y="256079"/>
                  <a:pt x="3290142" y="253185"/>
                  <a:pt x="3291320" y="238366"/>
                </a:cubicBezTo>
                <a:cubicBezTo>
                  <a:pt x="3292306" y="225960"/>
                  <a:pt x="3295174" y="220957"/>
                  <a:pt x="3301297" y="220957"/>
                </a:cubicBezTo>
                <a:cubicBezTo>
                  <a:pt x="3311988" y="220957"/>
                  <a:pt x="3316952" y="203956"/>
                  <a:pt x="3310575" y="189177"/>
                </a:cubicBezTo>
                <a:cubicBezTo>
                  <a:pt x="3306477" y="179673"/>
                  <a:pt x="3307719" y="177506"/>
                  <a:pt x="3319179" y="174188"/>
                </a:cubicBezTo>
                <a:cubicBezTo>
                  <a:pt x="3350857" y="165016"/>
                  <a:pt x="3375209" y="178300"/>
                  <a:pt x="3375209" y="204754"/>
                </a:cubicBezTo>
                <a:cubicBezTo>
                  <a:pt x="3375209" y="212452"/>
                  <a:pt x="3380128" y="225440"/>
                  <a:pt x="3386141" y="233618"/>
                </a:cubicBezTo>
                <a:cubicBezTo>
                  <a:pt x="3392154" y="241796"/>
                  <a:pt x="3397074" y="253213"/>
                  <a:pt x="3397074" y="258990"/>
                </a:cubicBezTo>
                <a:cubicBezTo>
                  <a:pt x="3397074" y="274893"/>
                  <a:pt x="3401750" y="278399"/>
                  <a:pt x="3408988" y="267922"/>
                </a:cubicBezTo>
                <a:cubicBezTo>
                  <a:pt x="3415535" y="258440"/>
                  <a:pt x="3432760" y="261354"/>
                  <a:pt x="3435701" y="272440"/>
                </a:cubicBezTo>
                <a:cubicBezTo>
                  <a:pt x="3436503" y="275462"/>
                  <a:pt x="3441799" y="277934"/>
                  <a:pt x="3447468" y="277934"/>
                </a:cubicBezTo>
                <a:cubicBezTo>
                  <a:pt x="3453139" y="277934"/>
                  <a:pt x="3458994" y="280783"/>
                  <a:pt x="3460481" y="284265"/>
                </a:cubicBezTo>
                <a:cubicBezTo>
                  <a:pt x="3461968" y="287747"/>
                  <a:pt x="3467993" y="290596"/>
                  <a:pt x="3473871" y="290596"/>
                </a:cubicBezTo>
                <a:cubicBezTo>
                  <a:pt x="3482160" y="290596"/>
                  <a:pt x="3486258" y="284916"/>
                  <a:pt x="3492137" y="265273"/>
                </a:cubicBezTo>
                <a:cubicBezTo>
                  <a:pt x="3496304" y="251345"/>
                  <a:pt x="3501176" y="239949"/>
                  <a:pt x="3502962" y="239949"/>
                </a:cubicBezTo>
                <a:cubicBezTo>
                  <a:pt x="3504748" y="239949"/>
                  <a:pt x="3503904" y="232623"/>
                  <a:pt x="3501086" y="223668"/>
                </a:cubicBezTo>
                <a:cubicBezTo>
                  <a:pt x="3497521" y="212342"/>
                  <a:pt x="3497370" y="206081"/>
                  <a:pt x="3500590" y="203093"/>
                </a:cubicBezTo>
                <a:cubicBezTo>
                  <a:pt x="3509297" y="195013"/>
                  <a:pt x="3511914" y="170548"/>
                  <a:pt x="3504512" y="166435"/>
                </a:cubicBezTo>
                <a:cubicBezTo>
                  <a:pt x="3500738" y="164339"/>
                  <a:pt x="3497651" y="156156"/>
                  <a:pt x="3497651" y="148250"/>
                </a:cubicBezTo>
                <a:cubicBezTo>
                  <a:pt x="3497651" y="140344"/>
                  <a:pt x="3494700" y="130329"/>
                  <a:pt x="3491091" y="125994"/>
                </a:cubicBezTo>
                <a:cubicBezTo>
                  <a:pt x="3487483" y="121659"/>
                  <a:pt x="3484532" y="111508"/>
                  <a:pt x="3484532" y="103434"/>
                </a:cubicBezTo>
                <a:cubicBezTo>
                  <a:pt x="3484532" y="95361"/>
                  <a:pt x="3482565" y="86995"/>
                  <a:pt x="3480160" y="84843"/>
                </a:cubicBezTo>
                <a:cubicBezTo>
                  <a:pt x="3477754" y="82691"/>
                  <a:pt x="3475787" y="65734"/>
                  <a:pt x="3475787" y="47161"/>
                </a:cubicBezTo>
                <a:cubicBezTo>
                  <a:pt x="3475787" y="22209"/>
                  <a:pt x="3477593" y="12390"/>
                  <a:pt x="3482704" y="9550"/>
                </a:cubicBezTo>
                <a:cubicBezTo>
                  <a:pt x="3487246" y="7027"/>
                  <a:pt x="3489200" y="5620"/>
                  <a:pt x="3491456" y="6650"/>
                </a:cubicBezTo>
                <a:close/>
                <a:moveTo>
                  <a:pt x="3226906" y="1812"/>
                </a:moveTo>
                <a:cubicBezTo>
                  <a:pt x="3239673" y="-1245"/>
                  <a:pt x="3244752" y="962"/>
                  <a:pt x="3254236" y="13687"/>
                </a:cubicBezTo>
                <a:cubicBezTo>
                  <a:pt x="3260643" y="22284"/>
                  <a:pt x="3265886" y="31224"/>
                  <a:pt x="3265886" y="33553"/>
                </a:cubicBezTo>
                <a:cubicBezTo>
                  <a:pt x="3265886" y="35882"/>
                  <a:pt x="3260213" y="45816"/>
                  <a:pt x="3253280" y="55628"/>
                </a:cubicBezTo>
                <a:cubicBezTo>
                  <a:pt x="3237852" y="77461"/>
                  <a:pt x="3214386" y="85952"/>
                  <a:pt x="3207342" y="72250"/>
                </a:cubicBezTo>
                <a:cubicBezTo>
                  <a:pt x="3202496" y="62824"/>
                  <a:pt x="3163632" y="56671"/>
                  <a:pt x="3158240" y="64477"/>
                </a:cubicBezTo>
                <a:cubicBezTo>
                  <a:pt x="3156779" y="66593"/>
                  <a:pt x="3155075" y="77738"/>
                  <a:pt x="3154454" y="89245"/>
                </a:cubicBezTo>
                <a:cubicBezTo>
                  <a:pt x="3153386" y="109054"/>
                  <a:pt x="3144752" y="119445"/>
                  <a:pt x="3137765" y="109330"/>
                </a:cubicBezTo>
                <a:cubicBezTo>
                  <a:pt x="3133071" y="102536"/>
                  <a:pt x="3134120" y="81678"/>
                  <a:pt x="3139154" y="81678"/>
                </a:cubicBezTo>
                <a:cubicBezTo>
                  <a:pt x="3141720" y="81678"/>
                  <a:pt x="3142451" y="74986"/>
                  <a:pt x="3140877" y="65909"/>
                </a:cubicBezTo>
                <a:cubicBezTo>
                  <a:pt x="3138806" y="53957"/>
                  <a:pt x="3140109" y="49249"/>
                  <a:pt x="3146260" y="46455"/>
                </a:cubicBezTo>
                <a:cubicBezTo>
                  <a:pt x="3150724" y="44427"/>
                  <a:pt x="3157793" y="40127"/>
                  <a:pt x="3161969" y="36900"/>
                </a:cubicBezTo>
                <a:cubicBezTo>
                  <a:pt x="3166146" y="33671"/>
                  <a:pt x="3172542" y="31031"/>
                  <a:pt x="3176182" y="31031"/>
                </a:cubicBezTo>
                <a:cubicBezTo>
                  <a:pt x="3179885" y="31031"/>
                  <a:pt x="3182801" y="25454"/>
                  <a:pt x="3182801" y="18369"/>
                </a:cubicBezTo>
                <a:cubicBezTo>
                  <a:pt x="3182801" y="8319"/>
                  <a:pt x="3185731" y="5693"/>
                  <a:pt x="3197012" y="5637"/>
                </a:cubicBezTo>
                <a:cubicBezTo>
                  <a:pt x="3204829" y="5599"/>
                  <a:pt x="3218281" y="3878"/>
                  <a:pt x="3226906" y="1812"/>
                </a:cubicBezTo>
                <a:close/>
                <a:moveTo>
                  <a:pt x="3353505" y="1044"/>
                </a:moveTo>
                <a:cubicBezTo>
                  <a:pt x="3365314" y="-3635"/>
                  <a:pt x="3365622" y="6767"/>
                  <a:pt x="3364731" y="45612"/>
                </a:cubicBezTo>
                <a:cubicBezTo>
                  <a:pt x="3364148" y="71042"/>
                  <a:pt x="3362215" y="95257"/>
                  <a:pt x="3360436" y="99424"/>
                </a:cubicBezTo>
                <a:cubicBezTo>
                  <a:pt x="3356504" y="108635"/>
                  <a:pt x="3346119" y="109352"/>
                  <a:pt x="3342412" y="100670"/>
                </a:cubicBezTo>
                <a:cubicBezTo>
                  <a:pt x="3340926" y="97188"/>
                  <a:pt x="3335147" y="94339"/>
                  <a:pt x="3329571" y="94339"/>
                </a:cubicBezTo>
                <a:cubicBezTo>
                  <a:pt x="3323994" y="94339"/>
                  <a:pt x="3316982" y="90066"/>
                  <a:pt x="3313988" y="84843"/>
                </a:cubicBezTo>
                <a:cubicBezTo>
                  <a:pt x="3310993" y="79620"/>
                  <a:pt x="3304850" y="75347"/>
                  <a:pt x="3300334" y="75347"/>
                </a:cubicBezTo>
                <a:cubicBezTo>
                  <a:pt x="3295819" y="75347"/>
                  <a:pt x="3292124" y="73173"/>
                  <a:pt x="3292124" y="70517"/>
                </a:cubicBezTo>
                <a:cubicBezTo>
                  <a:pt x="3292124" y="67861"/>
                  <a:pt x="3287696" y="62875"/>
                  <a:pt x="3282285" y="59438"/>
                </a:cubicBezTo>
                <a:cubicBezTo>
                  <a:pt x="3264498" y="48141"/>
                  <a:pt x="3270499" y="34725"/>
                  <a:pt x="3296497" y="27663"/>
                </a:cubicBezTo>
                <a:cubicBezTo>
                  <a:pt x="3309725" y="24071"/>
                  <a:pt x="3328167" y="16237"/>
                  <a:pt x="3337481" y="10254"/>
                </a:cubicBezTo>
                <a:cubicBezTo>
                  <a:pt x="3344354" y="5839"/>
                  <a:pt x="3349568" y="2604"/>
                  <a:pt x="3353505" y="1044"/>
                </a:cubicBezTo>
                <a:close/>
              </a:path>
            </a:pathLst>
          </a:custGeom>
        </p:spPr>
        <p:txBody>
          <a:bodyPr wrap="square">
            <a:noAutofit/>
          </a:bodyPr>
          <a:lstStyle/>
          <a:p>
            <a:endParaRPr lang="en-IN" dirty="0"/>
          </a:p>
        </p:txBody>
      </p:sp>
      <p:cxnSp>
        <p:nvCxnSpPr>
          <p:cNvPr id="11" name="Straight Connector 10">
            <a:extLst>
              <a:ext uri="{FF2B5EF4-FFF2-40B4-BE49-F238E27FC236}">
                <a16:creationId xmlns:a16="http://schemas.microsoft.com/office/drawing/2014/main" id="{E59C3B0B-12D9-4BA9-8EF5-11D626030F9F}"/>
              </a:ext>
            </a:extLst>
          </p:cNvPr>
          <p:cNvCxnSpPr/>
          <p:nvPr userDrawn="1"/>
        </p:nvCxnSpPr>
        <p:spPr>
          <a:xfrm>
            <a:off x="5624948" y="327809"/>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507957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748923"/>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400" baseline="0">
                <a:solidFill>
                  <a:schemeClr val="bg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a:p>
            <a:pPr lvl="1"/>
            <a:r>
              <a:rPr lang="en-US"/>
              <a:t>Dat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 |</a:t>
            </a:r>
          </a:p>
        </p:txBody>
      </p:sp>
    </p:spTree>
    <p:extLst>
      <p:ext uri="{BB962C8B-B14F-4D97-AF65-F5344CB8AC3E}">
        <p14:creationId xmlns:p14="http://schemas.microsoft.com/office/powerpoint/2010/main" val="312207863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5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307777"/>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000" b="1" baseline="0">
                <a:solidFill>
                  <a:schemeClr val="accent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3 Brillio</a:t>
            </a:r>
          </a:p>
        </p:txBody>
      </p:sp>
      <p:sp>
        <p:nvSpPr>
          <p:cNvPr id="3" name="Text Placeholder 2">
            <a:extLst>
              <a:ext uri="{FF2B5EF4-FFF2-40B4-BE49-F238E27FC236}">
                <a16:creationId xmlns:a16="http://schemas.microsoft.com/office/drawing/2014/main" id="{A7756114-6E00-4078-A005-BB61DA1914DB}"/>
              </a:ext>
            </a:extLst>
          </p:cNvPr>
          <p:cNvSpPr>
            <a:spLocks noGrp="1"/>
          </p:cNvSpPr>
          <p:nvPr>
            <p:ph type="body" sz="quarter" idx="12" hasCustomPrompt="1"/>
          </p:nvPr>
        </p:nvSpPr>
        <p:spPr>
          <a:xfrm>
            <a:off x="633733" y="4331096"/>
            <a:ext cx="5782128" cy="447675"/>
          </a:xfrm>
        </p:spPr>
        <p:txBody>
          <a:bodyPr anchor="ctr">
            <a:normAutofit/>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203421562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3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14638453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2373377"/>
            <a:ext cx="5386646" cy="357758"/>
          </a:xfrm>
        </p:spPr>
        <p:txBody>
          <a:bodyPr anchor="t" anchorCtr="0">
            <a:noAutofit/>
          </a:bodyPr>
          <a:lstStyle>
            <a:lvl1pPr>
              <a:defRPr sz="20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3" name="Text Placeholder 2">
            <a:extLst>
              <a:ext uri="{FF2B5EF4-FFF2-40B4-BE49-F238E27FC236}">
                <a16:creationId xmlns:a16="http://schemas.microsoft.com/office/drawing/2014/main" id="{47E45BC9-3FAC-4063-A618-4859991DC43A}"/>
              </a:ext>
            </a:extLst>
          </p:cNvPr>
          <p:cNvSpPr>
            <a:spLocks noGrp="1"/>
          </p:cNvSpPr>
          <p:nvPr>
            <p:ph type="body" sz="quarter" idx="14" hasCustomPrompt="1"/>
          </p:nvPr>
        </p:nvSpPr>
        <p:spPr>
          <a:xfrm>
            <a:off x="6334125" y="2816860"/>
            <a:ext cx="5400675" cy="1466850"/>
          </a:xfrm>
        </p:spPr>
        <p:txBody>
          <a:bodyPr vert="horz" lIns="0" tIns="0" rIns="0" bIns="0" rtlCol="0" anchor="t" anchorCtr="0">
            <a:noAutofit/>
          </a:bodyPr>
          <a:lstStyle>
            <a:lvl1pPr>
              <a:defRPr lang="en-US" sz="4400" b="1" spc="-150" dirty="0" smtClean="0">
                <a:solidFill>
                  <a:schemeClr val="bg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369724000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7" name="Text Placeholder 5">
            <a:extLst>
              <a:ext uri="{FF2B5EF4-FFF2-40B4-BE49-F238E27FC236}">
                <a16:creationId xmlns:a16="http://schemas.microsoft.com/office/drawing/2014/main" id="{757B889B-78AE-BC47-AE62-31DE2DF979D4}"/>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tx2"/>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Tree>
    <p:extLst>
      <p:ext uri="{BB962C8B-B14F-4D97-AF65-F5344CB8AC3E}">
        <p14:creationId xmlns:p14="http://schemas.microsoft.com/office/powerpoint/2010/main" val="195821086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6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3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8" name="Text Placeholder 5">
            <a:extLst>
              <a:ext uri="{FF2B5EF4-FFF2-40B4-BE49-F238E27FC236}">
                <a16:creationId xmlns:a16="http://schemas.microsoft.com/office/drawing/2014/main" id="{977E223E-CE50-41B8-A7D8-2F936420F122}"/>
              </a:ext>
            </a:extLst>
          </p:cNvPr>
          <p:cNvSpPr>
            <a:spLocks noGrp="1"/>
          </p:cNvSpPr>
          <p:nvPr>
            <p:ph type="body" sz="quarter" idx="13" hasCustomPrompt="1"/>
          </p:nvPr>
        </p:nvSpPr>
        <p:spPr>
          <a:xfrm>
            <a:off x="6305482" y="1956817"/>
            <a:ext cx="5386646" cy="357758"/>
          </a:xfrm>
        </p:spPr>
        <p:txBody>
          <a:bodyPr anchor="t" anchorCtr="0">
            <a:noAutofit/>
          </a:bodyPr>
          <a:lstStyle>
            <a:lvl1pPr>
              <a:defRPr sz="2000">
                <a:solidFill>
                  <a:schemeClr val="tx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10" name="Text Placeholder 2">
            <a:extLst>
              <a:ext uri="{FF2B5EF4-FFF2-40B4-BE49-F238E27FC236}">
                <a16:creationId xmlns:a16="http://schemas.microsoft.com/office/drawing/2014/main" id="{4B8D118F-6000-446B-85BD-AE03E03FC662}"/>
              </a:ext>
            </a:extLst>
          </p:cNvPr>
          <p:cNvSpPr>
            <a:spLocks noGrp="1"/>
          </p:cNvSpPr>
          <p:nvPr>
            <p:ph type="body" sz="quarter" idx="14" hasCustomPrompt="1"/>
          </p:nvPr>
        </p:nvSpPr>
        <p:spPr>
          <a:xfrm>
            <a:off x="6291453" y="2386012"/>
            <a:ext cx="5400675" cy="1466850"/>
          </a:xfrm>
        </p:spPr>
        <p:txBody>
          <a:bodyPr vert="horz" lIns="0" tIns="0" rIns="0" bIns="0" rtlCol="0" anchor="t" anchorCtr="0">
            <a:noAutofit/>
          </a:bodyPr>
          <a:lstStyle>
            <a:lvl1pPr>
              <a:defRPr lang="en-US" sz="4400" b="1" dirty="0" smtClean="0">
                <a:solidFill>
                  <a:schemeClr val="tx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46178490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tx2"/>
                </a:solidFill>
                <a:latin typeface="Arial" panose="020B0604020202020204" pitchFamily="34" charset="0"/>
                <a:cs typeface="Arial" panose="020B0604020202020204" pitchFamily="34" charset="0"/>
              </a:defRPr>
            </a:lvl1pPr>
            <a:lvl2pPr>
              <a:defRPr baseline="0">
                <a:solidFill>
                  <a:schemeClr val="tx2"/>
                </a:solidFill>
                <a:latin typeface="Arial" panose="020B0604020202020204" pitchFamily="34" charset="0"/>
                <a:cs typeface="Arial" panose="020B0604020202020204" pitchFamily="34" charset="0"/>
              </a:defRPr>
            </a:lvl2pPr>
            <a:lvl3pPr>
              <a:defRPr baseline="0">
                <a:solidFill>
                  <a:schemeClr val="tx2"/>
                </a:solidFill>
                <a:latin typeface="Arial" panose="020B0604020202020204" pitchFamily="34" charset="0"/>
                <a:cs typeface="Arial" panose="020B0604020202020204" pitchFamily="34" charset="0"/>
              </a:defRPr>
            </a:lvl3pPr>
            <a:lvl4pPr>
              <a:defRPr baseline="0">
                <a:solidFill>
                  <a:schemeClr val="tx2"/>
                </a:solidFill>
                <a:latin typeface="Arial" panose="020B0604020202020204" pitchFamily="34" charset="0"/>
                <a:cs typeface="Arial" panose="020B0604020202020204" pitchFamily="34" charset="0"/>
              </a:defRPr>
            </a:lvl4pPr>
            <a:lvl5pPr>
              <a:defRPr baseline="0">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429081997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759AFEE-79A3-4996-B06D-D9A66A9C5048}"/>
              </a:ext>
            </a:extLst>
          </p:cNvPr>
          <p:cNvSpPr>
            <a:spLocks noGrp="1"/>
          </p:cNvSpPr>
          <p:nvPr>
            <p:ph type="title" hasCustomPrompt="1"/>
          </p:nvPr>
        </p:nvSpPr>
        <p:spPr>
          <a:xfrm>
            <a:off x="512064" y="365762"/>
            <a:ext cx="11180064" cy="332399"/>
          </a:xfrm>
        </p:spPr>
        <p:txBody>
          <a:bodyPr>
            <a:spAutoFit/>
          </a:bodyPr>
          <a:lstStyle>
            <a:lvl1pPr>
              <a:defRPr sz="2400" b="1" cap="none" spc="-15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3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287319072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
        <p:nvSpPr>
          <p:cNvPr id="9" name="Title 1">
            <a:extLst>
              <a:ext uri="{FF2B5EF4-FFF2-40B4-BE49-F238E27FC236}">
                <a16:creationId xmlns:a16="http://schemas.microsoft.com/office/drawing/2014/main" id="{280D78C3-80B6-49DF-A0FA-DDCB75759120}"/>
              </a:ext>
            </a:extLst>
          </p:cNvPr>
          <p:cNvSpPr>
            <a:spLocks noGrp="1"/>
          </p:cNvSpPr>
          <p:nvPr>
            <p:ph type="title" hasCustomPrompt="1"/>
          </p:nvPr>
        </p:nvSpPr>
        <p:spPr>
          <a:xfrm>
            <a:off x="512064" y="365760"/>
            <a:ext cx="11180064" cy="570992"/>
          </a:xfrm>
        </p:spPr>
        <p:txBody>
          <a:bodyPr>
            <a:normAutofit/>
          </a:bodyPr>
          <a:lstStyle>
            <a:lvl1pPr>
              <a:defRPr sz="2400" cap="none" spc="-150">
                <a:solidFill>
                  <a:schemeClr val="bg1"/>
                </a:solidFill>
              </a:defRPr>
            </a:lvl1pPr>
          </a:lstStyle>
          <a:p>
            <a:r>
              <a:rPr lang="en-US"/>
              <a:t>Click to edit master title style</a:t>
            </a:r>
            <a:endParaRPr lang="en-IN"/>
          </a:p>
        </p:txBody>
      </p:sp>
      <p:sp>
        <p:nvSpPr>
          <p:cNvPr id="10" name="Text Placeholder 6">
            <a:extLst>
              <a:ext uri="{FF2B5EF4-FFF2-40B4-BE49-F238E27FC236}">
                <a16:creationId xmlns:a16="http://schemas.microsoft.com/office/drawing/2014/main" id="{B0D35454-165D-4B65-852F-65D6F214D304}"/>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79951194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dirty="0"/>
              <a:t>© 2022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2076580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FC563-103D-4F24-BF77-8A91AF042527}"/>
              </a:ext>
            </a:extLst>
          </p:cNvPr>
          <p:cNvSpPr>
            <a:spLocks noGrp="1"/>
          </p:cNvSpPr>
          <p:nvPr>
            <p:ph type="title"/>
          </p:nvPr>
        </p:nvSpPr>
        <p:spPr>
          <a:xfrm>
            <a:off x="330200" y="136523"/>
            <a:ext cx="11531600" cy="621461"/>
          </a:xfrm>
        </p:spPr>
        <p:txBody>
          <a:bodyPr>
            <a:normAutofit/>
          </a:bodyPr>
          <a:lstStyle>
            <a:lvl1pPr marL="0" algn="ctr" defTabSz="914400" rtl="0" eaLnBrk="1" latinLnBrk="0" hangingPunct="1">
              <a:lnSpc>
                <a:spcPct val="90000"/>
              </a:lnSpc>
              <a:spcBef>
                <a:spcPct val="0"/>
              </a:spcBef>
              <a:buNone/>
              <a:defRPr lang="hi-IN" sz="3200" kern="1200" dirty="0">
                <a:solidFill>
                  <a:schemeClr val="tx1"/>
                </a:solidFill>
                <a:latin typeface="Century Gothic" panose="020B0502020202020204" pitchFamily="34" charset="0"/>
                <a:ea typeface="+mj-ea"/>
                <a:cs typeface="+mj-cs"/>
              </a:defRPr>
            </a:lvl1pPr>
          </a:lstStyle>
          <a:p>
            <a:r>
              <a:rPr lang="en-US"/>
              <a:t>Click to edit Master title style</a:t>
            </a:r>
            <a:endParaRPr lang="hi-IN"/>
          </a:p>
        </p:txBody>
      </p:sp>
      <p:sp>
        <p:nvSpPr>
          <p:cNvPr id="3" name="Footer Placeholder 2">
            <a:extLst>
              <a:ext uri="{FF2B5EF4-FFF2-40B4-BE49-F238E27FC236}">
                <a16:creationId xmlns:a16="http://schemas.microsoft.com/office/drawing/2014/main" id="{CEEB7AA3-7EBC-46BE-B9CD-D779CD2426E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0112121-6BF9-41EC-BE74-DFAB40F9A40A}"/>
              </a:ext>
            </a:extLst>
          </p:cNvPr>
          <p:cNvSpPr>
            <a:spLocks noGrp="1"/>
          </p:cNvSpPr>
          <p:nvPr>
            <p:ph type="sldNum" sz="quarter" idx="11"/>
          </p:nvPr>
        </p:nvSpPr>
        <p:spPr/>
        <p:txBody>
          <a:bodyPr/>
          <a:lstStyle/>
          <a:p>
            <a:fld id="{7B3CB04D-A735-49A0-BBF9-5285A2D32F9A}" type="slidenum">
              <a:rPr lang="en-US" smtClean="0"/>
              <a:pPr/>
              <a:t>‹#›</a:t>
            </a:fld>
            <a:endParaRPr lang="en-US" dirty="0"/>
          </a:p>
        </p:txBody>
      </p:sp>
    </p:spTree>
    <p:extLst>
      <p:ext uri="{BB962C8B-B14F-4D97-AF65-F5344CB8AC3E}">
        <p14:creationId xmlns:p14="http://schemas.microsoft.com/office/powerpoint/2010/main" val="258097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dirty="0"/>
              <a:t>© 2022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dirty="0"/>
          </a:p>
        </p:txBody>
      </p:sp>
      <p:sp>
        <p:nvSpPr>
          <p:cNvPr id="7" name="Text Placeholder 6">
            <a:extLst>
              <a:ext uri="{FF2B5EF4-FFF2-40B4-BE49-F238E27FC236}">
                <a16:creationId xmlns:a16="http://schemas.microsoft.com/office/drawing/2014/main" id="{AB09D225-0CEA-4248-825C-7FE836C043C5}"/>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260909225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306892244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1985" y="381000"/>
            <a:ext cx="6630463" cy="5349875"/>
          </a:xfrm>
        </p:spPr>
        <p:txBody>
          <a:bodyPr rIns="457200" anchor="ctr"/>
          <a:lstStyle>
            <a:lvl1pPr>
              <a:defRPr sz="5400" b="0">
                <a:solidFill>
                  <a:schemeClr val="tx1"/>
                </a:solidFill>
              </a:defRPr>
            </a:lvl1pPr>
          </a:lstStyle>
          <a:p>
            <a:r>
              <a:rPr lang="en-US"/>
              <a:t>Click to edit Master title style</a:t>
            </a:r>
          </a:p>
        </p:txBody>
      </p:sp>
    </p:spTree>
    <p:extLst>
      <p:ext uri="{BB962C8B-B14F-4D97-AF65-F5344CB8AC3E}">
        <p14:creationId xmlns:p14="http://schemas.microsoft.com/office/powerpoint/2010/main" val="327763838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cSld name="1_Brillio_Blank slide-Light">
    <p:spTree>
      <p:nvGrpSpPr>
        <p:cNvPr id="1" name=""/>
        <p:cNvGrpSpPr/>
        <p:nvPr/>
      </p:nvGrpSpPr>
      <p:grpSpPr>
        <a:xfrm>
          <a:off x="0" y="0"/>
          <a:ext cx="0" cy="0"/>
          <a:chOff x="0" y="0"/>
          <a:chExt cx="0" cy="0"/>
        </a:xfrm>
      </p:grpSpPr>
      <p:sp>
        <p:nvSpPr>
          <p:cNvPr id="10" name="Slide Number Placeholder 10">
            <a:extLst>
              <a:ext uri="{FF2B5EF4-FFF2-40B4-BE49-F238E27FC236}">
                <a16:creationId xmlns:a16="http://schemas.microsoft.com/office/drawing/2014/main" id="{1E7815C5-F1A2-E14B-9035-9705ECE1E375}"/>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US" dirty="0"/>
              <a:t>©2022 Brillio  |  </a:t>
            </a:r>
            <a:fld id="{F1FE5E21-FD07-B44E-90A3-0254BFCDB49A}" type="slidenum">
              <a:rPr lang="en-US" smtClean="0"/>
              <a:pPr/>
              <a:t>‹#›</a:t>
            </a:fld>
            <a:endParaRPr lang="en-US" dirty="0"/>
          </a:p>
        </p:txBody>
      </p:sp>
    </p:spTree>
    <p:extLst>
      <p:ext uri="{BB962C8B-B14F-4D97-AF65-F5344CB8AC3E}">
        <p14:creationId xmlns:p14="http://schemas.microsoft.com/office/powerpoint/2010/main" val="787176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6858000"/>
          </a:xfrm>
        </p:spPr>
        <p:txBody>
          <a:bodyPr>
            <a:normAutofit/>
          </a:bodyPr>
          <a:lstStyle>
            <a:lvl1pPr>
              <a:defRPr sz="1200"/>
            </a:lvl1pPr>
          </a:lstStyle>
          <a:p>
            <a:endParaRPr lang="en-US" dirty="0"/>
          </a:p>
        </p:txBody>
      </p:sp>
      <p:pic>
        <p:nvPicPr>
          <p:cNvPr id="6" name="Picture 3" descr="C:\Users\Danielle.Landis\Dropbox\Brillio Brand Applications\Logo\Brillio Logo\Brillio-Png-logos\Brillio-Png-logos\Brillio_Logo_Colour.pn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19739" b="19739"/>
          <a:stretch/>
        </p:blipFill>
        <p:spPr bwMode="auto">
          <a:xfrm>
            <a:off x="11224011" y="6232884"/>
            <a:ext cx="790936" cy="27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5448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79A924EF-A713-40F1-9F1E-80AD192D1E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7193" y="280164"/>
            <a:ext cx="1493520" cy="858345"/>
          </a:xfrm>
          <a:prstGeom prst="rect">
            <a:avLst/>
          </a:prstGeom>
        </p:spPr>
      </p:pic>
      <p:sp>
        <p:nvSpPr>
          <p:cNvPr id="7" name="Rectangle 6">
            <a:extLst>
              <a:ext uri="{FF2B5EF4-FFF2-40B4-BE49-F238E27FC236}">
                <a16:creationId xmlns:a16="http://schemas.microsoft.com/office/drawing/2014/main" id="{27DE953F-948A-4DF4-BB3E-BEEE66E4380C}"/>
              </a:ext>
            </a:extLst>
          </p:cNvPr>
          <p:cNvSpPr/>
          <p:nvPr userDrawn="1"/>
        </p:nvSpPr>
        <p:spPr>
          <a:xfrm>
            <a:off x="1936704" y="451211"/>
            <a:ext cx="67483" cy="455852"/>
          </a:xfrm>
          <a:prstGeom prst="rect">
            <a:avLst/>
          </a:prstGeom>
          <a:solidFill>
            <a:srgbClr val="007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 name="Text Placeholder 8">
            <a:extLst>
              <a:ext uri="{FF2B5EF4-FFF2-40B4-BE49-F238E27FC236}">
                <a16:creationId xmlns:a16="http://schemas.microsoft.com/office/drawing/2014/main" id="{06F2C881-B4FA-4F15-B4C7-9BF04F0702B1}"/>
              </a:ext>
            </a:extLst>
          </p:cNvPr>
          <p:cNvSpPr>
            <a:spLocks noGrp="1"/>
          </p:cNvSpPr>
          <p:nvPr>
            <p:ph type="body" sz="quarter" idx="10" hasCustomPrompt="1"/>
          </p:nvPr>
        </p:nvSpPr>
        <p:spPr>
          <a:xfrm>
            <a:off x="2069805" y="448592"/>
            <a:ext cx="6946900" cy="455613"/>
          </a:xfrm>
        </p:spPr>
        <p:txBody>
          <a:bodyPr>
            <a:normAutofit/>
          </a:bodyPr>
          <a:lstStyle>
            <a:lvl1pPr marL="0" indent="0">
              <a:buNone/>
              <a:defRPr lang="en-US" sz="2400" kern="1200" dirty="0" smtClean="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Add Title Here</a:t>
            </a:r>
          </a:p>
        </p:txBody>
      </p:sp>
    </p:spTree>
    <p:extLst>
      <p:ext uri="{BB962C8B-B14F-4D97-AF65-F5344CB8AC3E}">
        <p14:creationId xmlns:p14="http://schemas.microsoft.com/office/powerpoint/2010/main" val="19602533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6"/>
            <a:ext cx="11610109" cy="757093"/>
          </a:xfrm>
        </p:spPr>
        <p:txBody>
          <a:bodyPr vert="horz" lIns="91440" tIns="45720" rIns="91440" bIns="45720" rtlCol="0" anchor="ctr">
            <a:normAutofit/>
          </a:bodyPr>
          <a:lstStyle>
            <a:lvl1pPr>
              <a:defRPr lang="en-IN" sz="2400" cap="all" spc="200" baseline="0" dirty="0">
                <a:solidFill>
                  <a:schemeClr val="tx1">
                    <a:lumMod val="75000"/>
                    <a:lumOff val="25000"/>
                  </a:schemeClr>
                </a:solidFill>
                <a:latin typeface="Open Sans Extrabold" panose="020B0906030804020204"/>
                <a:ea typeface="Open Sans Extrabold" panose="020B0906030804020204"/>
                <a:cs typeface="Open Sans Extrabold" panose="020B0906030804020204"/>
              </a:defRPr>
            </a:lvl1pPr>
          </a:lstStyle>
          <a:p>
            <a:pPr lvl="0"/>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a:xfrm>
            <a:off x="1200445" y="6425628"/>
            <a:ext cx="2394811" cy="365125"/>
          </a:xfrm>
        </p:spPr>
        <p:txBody>
          <a:bodyPr/>
          <a:lstStyle/>
          <a:p>
            <a:pPr defTabSz="304807">
              <a:defRPr/>
            </a:pPr>
            <a:fld id="{BCFA3C7E-60CC-4E3C-A79A-07886A9CC02E}" type="datetime3">
              <a:rPr lang="en-IN" smtClean="0">
                <a:solidFill>
                  <a:prstClr val="black">
                    <a:tint val="75000"/>
                  </a:prstClr>
                </a:solidFill>
              </a:rPr>
              <a:pPr defTabSz="304807">
                <a:defRPr/>
              </a:pPr>
              <a:t>28 May 2024</a:t>
            </a:fld>
            <a:endParaRPr lang="en-IN" dirty="0">
              <a:solidFill>
                <a:prstClr val="black">
                  <a:tint val="75000"/>
                </a:prstClr>
              </a:solidFill>
            </a:endParaRPr>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pPr defTabSz="304807">
              <a:defRPr/>
            </a:pPr>
            <a:endParaRPr lang="en-IN" dirty="0">
              <a:solidFill>
                <a:prstClr val="black">
                  <a:tint val="75000"/>
                </a:prstClr>
              </a:solidFill>
            </a:endParaRPr>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pPr defTabSz="304807">
              <a:defRPr/>
            </a:pPr>
            <a:fld id="{CE8D28EE-DADA-4185-923A-61843F8176A9}" type="slidenum">
              <a:rPr lang="en-IN" smtClean="0">
                <a:solidFill>
                  <a:prstClr val="black">
                    <a:tint val="75000"/>
                  </a:prstClr>
                </a:solidFill>
              </a:rPr>
              <a:pPr defTabSz="304807">
                <a:defRPr/>
              </a:pPr>
              <a:t>‹#›</a:t>
            </a:fld>
            <a:endParaRPr lang="en-IN" dirty="0">
              <a:solidFill>
                <a:prstClr val="black">
                  <a:tint val="75000"/>
                </a:prstClr>
              </a:solidFill>
            </a:endParaRPr>
          </a:p>
        </p:txBody>
      </p:sp>
      <p:cxnSp>
        <p:nvCxnSpPr>
          <p:cNvPr id="7" name="Straight Connector 6">
            <a:extLst>
              <a:ext uri="{FF2B5EF4-FFF2-40B4-BE49-F238E27FC236}">
                <a16:creationId xmlns:a16="http://schemas.microsoft.com/office/drawing/2014/main" id="{DDC949F5-DEF2-46F9-AB38-2AB8ED8825A7}"/>
              </a:ext>
            </a:extLst>
          </p:cNvPr>
          <p:cNvCxnSpPr/>
          <p:nvPr userDrawn="1"/>
        </p:nvCxnSpPr>
        <p:spPr>
          <a:xfrm>
            <a:off x="346368" y="323561"/>
            <a:ext cx="942109" cy="0"/>
          </a:xfrm>
          <a:prstGeom prst="line">
            <a:avLst/>
          </a:prstGeom>
          <a:ln w="60325"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1706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E8CBE-222A-0715-D340-97C714AB8B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63EE9BC-4D64-83E1-79DB-15B90F7467E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E2886FC-AAF0-6DD5-A67C-3A2C691F772E}"/>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5" name="Footer Placeholder 4">
            <a:extLst>
              <a:ext uri="{FF2B5EF4-FFF2-40B4-BE49-F238E27FC236}">
                <a16:creationId xmlns:a16="http://schemas.microsoft.com/office/drawing/2014/main" id="{B588D30A-7610-4DA3-479E-1B365235B42D}"/>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B36DCCEE-45AC-D70D-8865-570EA8365139}"/>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34087757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B254214E-5E27-4F31-BA33-B3560ADDEE2D}"/>
              </a:ext>
            </a:extLst>
          </p:cNvPr>
          <p:cNvSpPr>
            <a:spLocks noGrp="1"/>
          </p:cNvSpPr>
          <p:nvPr>
            <p:ph type="pic" sz="quarter" idx="15"/>
          </p:nvPr>
        </p:nvSpPr>
        <p:spPr>
          <a:xfrm>
            <a:off x="6096795" y="0"/>
            <a:ext cx="5314951"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dirty="0"/>
          </a:p>
        </p:txBody>
      </p:sp>
      <p:sp>
        <p:nvSpPr>
          <p:cNvPr id="3" name="TextBox 2">
            <a:extLst>
              <a:ext uri="{FF2B5EF4-FFF2-40B4-BE49-F238E27FC236}">
                <a16:creationId xmlns:a16="http://schemas.microsoft.com/office/drawing/2014/main" id="{1E509A79-1931-4CFF-BACE-651ECD60CFB0}"/>
              </a:ext>
            </a:extLst>
          </p:cNvPr>
          <p:cNvSpPr txBox="1"/>
          <p:nvPr userDrawn="1"/>
        </p:nvSpPr>
        <p:spPr>
          <a:xfrm>
            <a:off x="390525" y="6420188"/>
            <a:ext cx="4267200" cy="230832"/>
          </a:xfrm>
          <a:prstGeom prst="rect">
            <a:avLst/>
          </a:prstGeom>
          <a:noFill/>
        </p:spPr>
        <p:txBody>
          <a:bodyPr vert="horz" wrap="square" rtlCol="0">
            <a:spAutoFit/>
          </a:bodyPr>
          <a:lstStyle/>
          <a:p>
            <a:r>
              <a:rPr lang="en-US" sz="900" spc="151" dirty="0">
                <a:latin typeface="+mj-lt"/>
              </a:rPr>
              <a:t>A BRILLIO PRESENTATION</a:t>
            </a:r>
            <a:endParaRPr lang="en-IN" sz="900" spc="151" dirty="0">
              <a:latin typeface="+mj-lt"/>
            </a:endParaRPr>
          </a:p>
        </p:txBody>
      </p:sp>
      <p:sp>
        <p:nvSpPr>
          <p:cNvPr id="4" name="Rectangle 3">
            <a:extLst>
              <a:ext uri="{FF2B5EF4-FFF2-40B4-BE49-F238E27FC236}">
                <a16:creationId xmlns:a16="http://schemas.microsoft.com/office/drawing/2014/main" id="{313F1312-25A5-441A-B82F-CCEE114E0DC5}"/>
              </a:ext>
            </a:extLst>
          </p:cNvPr>
          <p:cNvSpPr/>
          <p:nvPr userDrawn="1"/>
        </p:nvSpPr>
        <p:spPr>
          <a:xfrm>
            <a:off x="781845" y="647701"/>
            <a:ext cx="5314951" cy="5524500"/>
          </a:xfrm>
          <a:prstGeom prst="rect">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 name="Title 4">
            <a:extLst>
              <a:ext uri="{FF2B5EF4-FFF2-40B4-BE49-F238E27FC236}">
                <a16:creationId xmlns:a16="http://schemas.microsoft.com/office/drawing/2014/main" id="{2DA28E79-13D4-49B3-8559-3C0FCFE2E4E3}"/>
              </a:ext>
            </a:extLst>
          </p:cNvPr>
          <p:cNvSpPr>
            <a:spLocks noGrp="1"/>
          </p:cNvSpPr>
          <p:nvPr>
            <p:ph type="title" hasCustomPrompt="1"/>
          </p:nvPr>
        </p:nvSpPr>
        <p:spPr>
          <a:xfrm>
            <a:off x="894556" y="2612371"/>
            <a:ext cx="4920653" cy="646331"/>
          </a:xfrm>
          <a:noFill/>
        </p:spPr>
        <p:txBody>
          <a:bodyPr wrap="square" rtlCol="0" anchor="ctr">
            <a:spAutoFit/>
          </a:bodyPr>
          <a:lstStyle>
            <a:lvl1pPr>
              <a:defRPr lang="en-IN" sz="4000" cap="all" baseline="0" dirty="0">
                <a:solidFill>
                  <a:schemeClr val="bg1"/>
                </a:solidFill>
                <a:ea typeface="+mn-ea"/>
                <a:cs typeface="+mn-cs"/>
              </a:defRPr>
            </a:lvl1pPr>
          </a:lstStyle>
          <a:p>
            <a:pPr marL="0" lvl="0" defTabSz="304786"/>
            <a:r>
              <a:rPr lang="en-US"/>
              <a:t>DECK TITLE</a:t>
            </a:r>
            <a:endParaRPr lang="en-IN"/>
          </a:p>
        </p:txBody>
      </p:sp>
      <p:sp>
        <p:nvSpPr>
          <p:cNvPr id="7" name="Text Placeholder 6">
            <a:extLst>
              <a:ext uri="{FF2B5EF4-FFF2-40B4-BE49-F238E27FC236}">
                <a16:creationId xmlns:a16="http://schemas.microsoft.com/office/drawing/2014/main" id="{D27C2F6B-DDCB-4DFE-815B-9682CC5460DE}"/>
              </a:ext>
            </a:extLst>
          </p:cNvPr>
          <p:cNvSpPr>
            <a:spLocks noGrp="1"/>
          </p:cNvSpPr>
          <p:nvPr>
            <p:ph type="body" sz="quarter" idx="16" hasCustomPrompt="1"/>
          </p:nvPr>
        </p:nvSpPr>
        <p:spPr>
          <a:xfrm>
            <a:off x="894557" y="3520243"/>
            <a:ext cx="4695825" cy="424732"/>
          </a:xfrm>
          <a:noFill/>
        </p:spPr>
        <p:txBody>
          <a:bodyPr wrap="square" rtlCol="0" anchor="ctr">
            <a:spAutoFit/>
          </a:bodyPr>
          <a:lstStyle>
            <a:lvl1pPr marL="0" indent="0">
              <a:buNone/>
              <a:defRPr lang="en-US" sz="2400" cap="all" spc="151" baseline="0" smtClean="0">
                <a:solidFill>
                  <a:schemeClr val="bg1"/>
                </a:solidFill>
                <a:latin typeface="+mj-lt"/>
              </a:defRPr>
            </a:lvl1pPr>
            <a:lvl2pPr>
              <a:defRPr lang="en-US" smtClean="0"/>
            </a:lvl2pPr>
            <a:lvl3pPr>
              <a:defRPr lang="en-US" sz="1200" smtClean="0"/>
            </a:lvl3pPr>
            <a:lvl4pPr>
              <a:defRPr lang="en-US" sz="1200" smtClean="0"/>
            </a:lvl4pPr>
            <a:lvl5pPr>
              <a:defRPr lang="en-IN" sz="1200"/>
            </a:lvl5pPr>
          </a:lstStyle>
          <a:p>
            <a:pPr marL="0" lvl="0" defTabSz="304786"/>
            <a:r>
              <a:rPr lang="en-US"/>
              <a:t>SUBTITLE</a:t>
            </a:r>
            <a:endParaRPr lang="en-IN"/>
          </a:p>
        </p:txBody>
      </p:sp>
      <p:sp>
        <p:nvSpPr>
          <p:cNvPr id="8" name="Oval 7">
            <a:extLst>
              <a:ext uri="{FF2B5EF4-FFF2-40B4-BE49-F238E27FC236}">
                <a16:creationId xmlns:a16="http://schemas.microsoft.com/office/drawing/2014/main" id="{A19E6934-A1F7-4F7E-9AFD-6EE048711816}"/>
              </a:ext>
            </a:extLst>
          </p:cNvPr>
          <p:cNvSpPr/>
          <p:nvPr userDrawn="1"/>
        </p:nvSpPr>
        <p:spPr>
          <a:xfrm>
            <a:off x="364819" y="369583"/>
            <a:ext cx="51412" cy="51412"/>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Oval 8">
            <a:extLst>
              <a:ext uri="{FF2B5EF4-FFF2-40B4-BE49-F238E27FC236}">
                <a16:creationId xmlns:a16="http://schemas.microsoft.com/office/drawing/2014/main" id="{AAE6ECFF-F612-4207-B966-1CA7BA8087A7}"/>
              </a:ext>
            </a:extLst>
          </p:cNvPr>
          <p:cNvSpPr/>
          <p:nvPr userDrawn="1"/>
        </p:nvSpPr>
        <p:spPr>
          <a:xfrm>
            <a:off x="364819" y="518411"/>
            <a:ext cx="51412" cy="51412"/>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 name="Oval 9">
            <a:extLst>
              <a:ext uri="{FF2B5EF4-FFF2-40B4-BE49-F238E27FC236}">
                <a16:creationId xmlns:a16="http://schemas.microsoft.com/office/drawing/2014/main" id="{36CBDBBA-CAA0-48B0-A5BC-021683ADBC10}"/>
              </a:ext>
            </a:extLst>
          </p:cNvPr>
          <p:cNvSpPr/>
          <p:nvPr userDrawn="1"/>
        </p:nvSpPr>
        <p:spPr>
          <a:xfrm>
            <a:off x="364819" y="667239"/>
            <a:ext cx="51412" cy="51412"/>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cxnSp>
        <p:nvCxnSpPr>
          <p:cNvPr id="11" name="Straight Connector 10">
            <a:extLst>
              <a:ext uri="{FF2B5EF4-FFF2-40B4-BE49-F238E27FC236}">
                <a16:creationId xmlns:a16="http://schemas.microsoft.com/office/drawing/2014/main" id="{E59D9CBF-42F8-4CE3-ACDB-3A5FE32D7D26}"/>
              </a:ext>
            </a:extLst>
          </p:cNvPr>
          <p:cNvCxnSpPr>
            <a:cxnSpLocks/>
          </p:cNvCxnSpPr>
          <p:nvPr userDrawn="1"/>
        </p:nvCxnSpPr>
        <p:spPr>
          <a:xfrm>
            <a:off x="6082939" y="0"/>
            <a:ext cx="0" cy="6858000"/>
          </a:xfrm>
          <a:prstGeom prst="line">
            <a:avLst/>
          </a:prstGeom>
          <a:ln w="635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7E73D9FE-CC77-4869-9CBD-F6DCF2D8FAF1}"/>
              </a:ext>
            </a:extLst>
          </p:cNvPr>
          <p:cNvSpPr/>
          <p:nvPr userDrawn="1"/>
        </p:nvSpPr>
        <p:spPr>
          <a:xfrm>
            <a:off x="5953483" y="3299544"/>
            <a:ext cx="258915" cy="25891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pic>
        <p:nvPicPr>
          <p:cNvPr id="15" name="Picture 2" descr="Brillio - Wikipedia">
            <a:extLst>
              <a:ext uri="{FF2B5EF4-FFF2-40B4-BE49-F238E27FC236}">
                <a16:creationId xmlns:a16="http://schemas.microsoft.com/office/drawing/2014/main" id="{032A0901-5349-47DB-A6B1-68CB7F4304BC}"/>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27715" y="6420188"/>
            <a:ext cx="602939" cy="26870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FF65A24D-BA68-4B3A-88F7-3FA13EAB9BE3}"/>
              </a:ext>
            </a:extLst>
          </p:cNvPr>
          <p:cNvSpPr txBox="1"/>
          <p:nvPr userDrawn="1"/>
        </p:nvSpPr>
        <p:spPr>
          <a:xfrm>
            <a:off x="894558" y="1073728"/>
            <a:ext cx="4564255" cy="424732"/>
          </a:xfrm>
          <a:prstGeom prst="rect">
            <a:avLst/>
          </a:prstGeom>
          <a:noFill/>
        </p:spPr>
        <p:txBody>
          <a:bodyPr wrap="square" rtlCol="0">
            <a:spAutoFit/>
          </a:bodyPr>
          <a:lstStyle/>
          <a:p>
            <a:pPr marL="0" lvl="0" indent="0" algn="l" defTabSz="304786" rtl="0" eaLnBrk="1" latinLnBrk="0" hangingPunct="1">
              <a:lnSpc>
                <a:spcPct val="90000"/>
              </a:lnSpc>
              <a:spcBef>
                <a:spcPts val="500"/>
              </a:spcBef>
              <a:buFont typeface="Arial" panose="020B0604020202020204" pitchFamily="34" charset="0"/>
              <a:buNone/>
            </a:pPr>
            <a:fld id="{986948C0-CB4B-438B-9B8C-B776B9882495}" type="datetime4">
              <a:rPr lang="en-US" sz="2400" kern="1200" cap="all" spc="151" baseline="0" noProof="0" smtClean="0">
                <a:solidFill>
                  <a:schemeClr val="bg1"/>
                </a:solidFill>
                <a:latin typeface="+mj-lt"/>
                <a:ea typeface="+mn-ea"/>
                <a:cs typeface="+mn-cs"/>
              </a:rPr>
              <a:pPr marL="0" lvl="0" indent="0" algn="l" defTabSz="304786" rtl="0" eaLnBrk="1" latinLnBrk="0" hangingPunct="1">
                <a:lnSpc>
                  <a:spcPct val="90000"/>
                </a:lnSpc>
                <a:spcBef>
                  <a:spcPts val="500"/>
                </a:spcBef>
                <a:buFont typeface="Arial" panose="020B0604020202020204" pitchFamily="34" charset="0"/>
                <a:buNone/>
              </a:pPr>
              <a:t>May 28, 2024</a:t>
            </a:fld>
            <a:endParaRPr lang="en-IN" sz="2400" kern="1200" cap="all" spc="151" baseline="0" dirty="0">
              <a:solidFill>
                <a:schemeClr val="bg1"/>
              </a:solidFill>
              <a:latin typeface="+mj-lt"/>
              <a:ea typeface="+mn-ea"/>
              <a:cs typeface="+mn-cs"/>
            </a:endParaRPr>
          </a:p>
        </p:txBody>
      </p:sp>
    </p:spTree>
    <p:extLst>
      <p:ext uri="{BB962C8B-B14F-4D97-AF65-F5344CB8AC3E}">
        <p14:creationId xmlns:p14="http://schemas.microsoft.com/office/powerpoint/2010/main" val="238486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par>
                                <p:cTn id="9" presetID="1" presetClass="entr" presetSubtype="0" fill="hold" grpId="1" nodeType="withEffect">
                                  <p:stCondLst>
                                    <p:cond delay="1300"/>
                                  </p:stCondLst>
                                  <p:childTnLst>
                                    <p:set>
                                      <p:cBhvr>
                                        <p:cTn id="10" dur="1" fill="hold">
                                          <p:stCondLst>
                                            <p:cond delay="0"/>
                                          </p:stCondLst>
                                        </p:cTn>
                                        <p:tgtEl>
                                          <p:spTgt spid="4"/>
                                        </p:tgtEl>
                                        <p:attrNameLst>
                                          <p:attrName>style.visibility</p:attrName>
                                        </p:attrNameLst>
                                      </p:cBhvr>
                                      <p:to>
                                        <p:strVal val="visible"/>
                                      </p:to>
                                    </p:set>
                                  </p:childTnLst>
                                </p:cTn>
                              </p:par>
                              <p:par>
                                <p:cTn id="11" presetID="35" presetClass="path" presetSubtype="0" decel="100000" fill="hold" grpId="0" nodeType="withEffect">
                                  <p:stCondLst>
                                    <p:cond delay="1300"/>
                                  </p:stCondLst>
                                  <p:childTnLst>
                                    <p:animMotion origin="layout" path="M 3.64583E-6 -2.22222E-6 L 0.43587 -2.22222E-6 " pathEditMode="relative" rAng="0" ptsTypes="AA">
                                      <p:cBhvr>
                                        <p:cTn id="12" dur="2000" spd="-100000" fill="hold"/>
                                        <p:tgtEl>
                                          <p:spTgt spid="4"/>
                                        </p:tgtEl>
                                        <p:attrNameLst>
                                          <p:attrName>ppt_x</p:attrName>
                                          <p:attrName>ppt_y</p:attrName>
                                        </p:attrNameLst>
                                      </p:cBhvr>
                                      <p:rCtr x="2179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4" grpId="1" animBg="1"/>
    </p:bld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4"/>
            <a:ext cx="11610109" cy="757093"/>
          </a:xfrm>
        </p:spPr>
        <p:txBody>
          <a:bodyPr vert="horz" lIns="91440" tIns="45720" rIns="91440" bIns="45720" rtlCol="0" anchor="ctr">
            <a:normAutofit/>
          </a:bodyPr>
          <a:lstStyle>
            <a:lvl1pPr>
              <a:defRPr lang="en-IN" sz="2400" cap="all" baseline="0" dirty="0">
                <a:solidFill>
                  <a:schemeClr val="tx1">
                    <a:lumMod val="75000"/>
                    <a:lumOff val="25000"/>
                  </a:schemeClr>
                </a:solidFill>
                <a:latin typeface="Arial Black" panose="020B0A04020102020204" pitchFamily="34" charset="0"/>
                <a:ea typeface="Open Sans Extrabold" panose="020B0906030804020204" pitchFamily="34" charset="0"/>
                <a:cs typeface="Open Sans Extrabold" panose="020B0906030804020204" pitchFamily="34" charset="0"/>
              </a:defRPr>
            </a:lvl1pPr>
          </a:lstStyle>
          <a:p>
            <a:pPr lvl="0"/>
            <a:r>
              <a:rPr lang="en-US"/>
              <a:t>CLICK TO EDIT MASTER TITLE STYLE</a:t>
            </a:r>
            <a:endParaRPr lang="en-IN"/>
          </a:p>
        </p:txBody>
      </p:sp>
      <p:cxnSp>
        <p:nvCxnSpPr>
          <p:cNvPr id="7" name="Straight Connector 6">
            <a:extLst>
              <a:ext uri="{FF2B5EF4-FFF2-40B4-BE49-F238E27FC236}">
                <a16:creationId xmlns:a16="http://schemas.microsoft.com/office/drawing/2014/main" id="{DDC949F5-DEF2-46F9-AB38-2AB8ED8825A7}"/>
              </a:ext>
            </a:extLst>
          </p:cNvPr>
          <p:cNvCxnSpPr/>
          <p:nvPr userDrawn="1"/>
        </p:nvCxnSpPr>
        <p:spPr>
          <a:xfrm>
            <a:off x="346367" y="323561"/>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55120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6"/>
            <a:ext cx="11610109" cy="757093"/>
          </a:xfrm>
        </p:spPr>
        <p:txBody>
          <a:bodyPr vert="horz" lIns="91440" tIns="45720" rIns="91440" bIns="45720" rtlCol="0" anchor="ctr">
            <a:normAutofit/>
          </a:bodyPr>
          <a:lstStyle>
            <a:lvl1pPr>
              <a:defRPr lang="en-IN" sz="2399" cap="all" baseline="0" dirty="0">
                <a:solidFill>
                  <a:schemeClr val="tx1">
                    <a:lumMod val="75000"/>
                    <a:lumOff val="25000"/>
                  </a:schemeClr>
                </a:solidFill>
                <a:latin typeface="Arial Black" panose="020B0A04020102020204" pitchFamily="34" charset="0"/>
                <a:ea typeface="Open Sans Extrabold" panose="020B0906030804020204" pitchFamily="34" charset="0"/>
                <a:cs typeface="Open Sans Extrabold" panose="020B0906030804020204" pitchFamily="34" charset="0"/>
              </a:defRPr>
            </a:lvl1pPr>
          </a:lstStyle>
          <a:p>
            <a:pPr lvl="0"/>
            <a:r>
              <a:rPr lang="en-US"/>
              <a:t>CLICK TO EDIT MASTER TITLE STYLE</a:t>
            </a:r>
            <a:endParaRPr lang="en-IN"/>
          </a:p>
        </p:txBody>
      </p:sp>
      <p:cxnSp>
        <p:nvCxnSpPr>
          <p:cNvPr id="7" name="Straight Connector 6">
            <a:extLst>
              <a:ext uri="{FF2B5EF4-FFF2-40B4-BE49-F238E27FC236}">
                <a16:creationId xmlns:a16="http://schemas.microsoft.com/office/drawing/2014/main" id="{DDC949F5-DEF2-46F9-AB38-2AB8ED8825A7}"/>
              </a:ext>
            </a:extLst>
          </p:cNvPr>
          <p:cNvCxnSpPr/>
          <p:nvPr userDrawn="1"/>
        </p:nvCxnSpPr>
        <p:spPr>
          <a:xfrm>
            <a:off x="346368" y="323561"/>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0247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68FBEF-95AC-4382-AD83-A71376E12AB3}"/>
              </a:ext>
            </a:extLst>
          </p:cNvPr>
          <p:cNvSpPr/>
          <p:nvPr userDrawn="1"/>
        </p:nvSpPr>
        <p:spPr>
          <a:xfrm>
            <a:off x="64" y="4"/>
            <a:ext cx="12191936" cy="6857997"/>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2" name="Title 1">
            <a:extLst>
              <a:ext uri="{FF2B5EF4-FFF2-40B4-BE49-F238E27FC236}">
                <a16:creationId xmlns:a16="http://schemas.microsoft.com/office/drawing/2014/main" id="{16E324FA-3C3A-49D3-B33D-E1035E3F330F}"/>
              </a:ext>
            </a:extLst>
          </p:cNvPr>
          <p:cNvSpPr>
            <a:spLocks noGrp="1"/>
          </p:cNvSpPr>
          <p:nvPr>
            <p:ph type="title"/>
          </p:nvPr>
        </p:nvSpPr>
        <p:spPr>
          <a:xfrm>
            <a:off x="424543" y="320040"/>
            <a:ext cx="9601200" cy="594360"/>
          </a:xfrm>
          <a:prstGeom prst="rect">
            <a:avLst/>
          </a:prstGeom>
        </p:spPr>
        <p:txBody>
          <a:bodyPr anchor="ctr"/>
          <a:lstStyle>
            <a:lvl1pPr>
              <a:defRPr sz="2800" b="1">
                <a:solidFill>
                  <a:srgbClr val="0070C0"/>
                </a:solidFill>
                <a:latin typeface="Open Sans Extrabold" panose="020B0906030804020204"/>
              </a:defRPr>
            </a:lvl1pPr>
          </a:lstStyle>
          <a:p>
            <a:r>
              <a:rPr lang="en-US"/>
              <a:t>Click to edit Master title style</a:t>
            </a:r>
            <a:endParaRPr lang="en-IN"/>
          </a:p>
        </p:txBody>
      </p:sp>
      <p:sp>
        <p:nvSpPr>
          <p:cNvPr id="23" name="Isosceles Triangle 22">
            <a:extLst>
              <a:ext uri="{FF2B5EF4-FFF2-40B4-BE49-F238E27FC236}">
                <a16:creationId xmlns:a16="http://schemas.microsoft.com/office/drawing/2014/main" id="{02127498-EB5C-4645-8916-DD75249C67D9}"/>
              </a:ext>
            </a:extLst>
          </p:cNvPr>
          <p:cNvSpPr>
            <a:spLocks noChangeAspect="1"/>
          </p:cNvSpPr>
          <p:nvPr userDrawn="1"/>
        </p:nvSpPr>
        <p:spPr>
          <a:xfrm>
            <a:off x="11073594" y="3200400"/>
            <a:ext cx="1118407" cy="3657600"/>
          </a:xfrm>
          <a:prstGeom prst="triangle">
            <a:avLst>
              <a:gd name="adj" fmla="val 100000"/>
            </a:avLst>
          </a:prstGeom>
          <a:gradFill flip="none" rotWithShape="1">
            <a:gsLst>
              <a:gs pos="51000">
                <a:srgbClr val="6ACD60"/>
              </a:gs>
              <a:gs pos="0">
                <a:srgbClr val="29B984"/>
              </a:gs>
              <a:gs pos="10000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pic>
        <p:nvPicPr>
          <p:cNvPr id="21" name="Picture 2" descr="Brillio">
            <a:extLst>
              <a:ext uri="{FF2B5EF4-FFF2-40B4-BE49-F238E27FC236}">
                <a16:creationId xmlns:a16="http://schemas.microsoft.com/office/drawing/2014/main" id="{4250CEEB-CE22-4FF6-ACA9-7506BB4FB73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332031" y="6466127"/>
            <a:ext cx="653139" cy="261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4910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5" name="Parallelogram 24">
            <a:extLst>
              <a:ext uri="{FF2B5EF4-FFF2-40B4-BE49-F238E27FC236}">
                <a16:creationId xmlns:a16="http://schemas.microsoft.com/office/drawing/2014/main" id="{46D8144E-784A-4038-9010-9A672F089B57}"/>
              </a:ext>
            </a:extLst>
          </p:cNvPr>
          <p:cNvSpPr/>
          <p:nvPr userDrawn="1"/>
        </p:nvSpPr>
        <p:spPr>
          <a:xfrm>
            <a:off x="124642" y="6700"/>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42975" y="48473"/>
            <a:ext cx="10118887" cy="698611"/>
          </a:xfrm>
          <a:prstGeom prst="rect">
            <a:avLst/>
          </a:prstGeom>
        </p:spPr>
        <p:txBody>
          <a:bodyPr anchor="ctr"/>
          <a:lstStyle>
            <a:lvl1pPr>
              <a:defRPr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41"/>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3" name="Text Placeholder 2">
            <a:extLst>
              <a:ext uri="{FF2B5EF4-FFF2-40B4-BE49-F238E27FC236}">
                <a16:creationId xmlns:a16="http://schemas.microsoft.com/office/drawing/2014/main" id="{7F821F01-3422-422B-BB80-A117C5A0BBBA}"/>
              </a:ext>
            </a:extLst>
          </p:cNvPr>
          <p:cNvSpPr>
            <a:spLocks noGrp="1"/>
          </p:cNvSpPr>
          <p:nvPr>
            <p:ph type="body" sz="quarter" idx="10" hasCustomPrompt="1"/>
          </p:nvPr>
        </p:nvSpPr>
        <p:spPr>
          <a:xfrm>
            <a:off x="842963" y="677647"/>
            <a:ext cx="7222332" cy="185739"/>
          </a:xfrm>
          <a:prstGeom prst="rect">
            <a:avLst/>
          </a:prstGeom>
        </p:spPr>
        <p:txBody>
          <a:bodyPr anchor="ctr"/>
          <a:lstStyle>
            <a:lvl1pPr marL="0" indent="0">
              <a:buNone/>
              <a:defRPr sz="1200" cap="all" spc="300" baseline="0">
                <a:solidFill>
                  <a:schemeClr val="tx1">
                    <a:lumMod val="75000"/>
                    <a:lumOff val="25000"/>
                  </a:schemeClr>
                </a:solidFill>
                <a:latin typeface="+mj-lt"/>
              </a:defRPr>
            </a:lvl1pPr>
            <a:lvl2pPr marL="228594" indent="0">
              <a:buNone/>
              <a:defRPr cap="all" baseline="0">
                <a:solidFill>
                  <a:schemeClr val="tx1">
                    <a:lumMod val="75000"/>
                    <a:lumOff val="25000"/>
                  </a:schemeClr>
                </a:solidFill>
                <a:latin typeface="+mj-lt"/>
              </a:defRPr>
            </a:lvl2pPr>
            <a:lvl3pPr marL="457189" indent="0">
              <a:buNone/>
              <a:defRPr cap="all" baseline="0">
                <a:solidFill>
                  <a:schemeClr val="tx1">
                    <a:lumMod val="75000"/>
                    <a:lumOff val="25000"/>
                  </a:schemeClr>
                </a:solidFill>
                <a:latin typeface="+mj-lt"/>
              </a:defRPr>
            </a:lvl3pPr>
            <a:lvl4pPr marL="685783" indent="0">
              <a:buNone/>
              <a:defRPr cap="all" baseline="0">
                <a:solidFill>
                  <a:schemeClr val="tx1">
                    <a:lumMod val="75000"/>
                    <a:lumOff val="25000"/>
                  </a:schemeClr>
                </a:solidFill>
                <a:latin typeface="+mj-lt"/>
              </a:defRPr>
            </a:lvl4pPr>
            <a:lvl5pPr marL="914377" indent="0">
              <a:buNone/>
              <a:defRPr cap="all" baseline="0">
                <a:solidFill>
                  <a:schemeClr val="tx1">
                    <a:lumMod val="75000"/>
                    <a:lumOff val="25000"/>
                  </a:schemeClr>
                </a:solidFill>
                <a:latin typeface="+mj-lt"/>
              </a:defRPr>
            </a:lvl5pPr>
          </a:lstStyle>
          <a:p>
            <a:pPr lvl="0"/>
            <a:r>
              <a:rPr lang="en-US"/>
              <a:t>CLICK HERE TO EDIT SUBTITLES</a:t>
            </a:r>
            <a:endParaRPr lang="en-IN"/>
          </a:p>
        </p:txBody>
      </p:sp>
      <p:pic>
        <p:nvPicPr>
          <p:cNvPr id="2" name="Picture 2" descr="Brillio - Wikipedia">
            <a:extLst>
              <a:ext uri="{FF2B5EF4-FFF2-40B4-BE49-F238E27FC236}">
                <a16:creationId xmlns:a16="http://schemas.microsoft.com/office/drawing/2014/main" id="{BFFFE76F-4621-4269-A981-C98F1EEA1726}"/>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5"/>
            <a:ext cx="602939" cy="268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03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Text Placeholder 9"/>
          <p:cNvSpPr>
            <a:spLocks noGrp="1"/>
          </p:cNvSpPr>
          <p:nvPr>
            <p:ph type="body" sz="quarter" idx="13"/>
          </p:nvPr>
        </p:nvSpPr>
        <p:spPr>
          <a:xfrm>
            <a:off x="742949" y="1676401"/>
            <a:ext cx="10249595" cy="1380891"/>
          </a:xfrm>
          <a:prstGeom prst="rect">
            <a:avLst/>
          </a:prstGeom>
        </p:spPr>
        <p:txBody>
          <a:bodyPr wrap="square">
            <a:spAutoFit/>
          </a:bodyPr>
          <a:lstStyle>
            <a:lvl1pPr>
              <a:defRPr sz="1900">
                <a:solidFill>
                  <a:schemeClr val="tx2"/>
                </a:solidFill>
              </a:defRPr>
            </a:lvl1pPr>
            <a:lvl2pPr>
              <a:defRPr sz="1900">
                <a:solidFill>
                  <a:schemeClr val="tx2"/>
                </a:solidFill>
              </a:defRPr>
            </a:lvl2pPr>
            <a:lvl3pPr>
              <a:buFont typeface="Calibri" pitchFamily="34" charset="0"/>
              <a:buChar char="&gt;"/>
              <a:defRPr sz="1900">
                <a:solidFill>
                  <a:schemeClr val="tx2"/>
                </a:solidFill>
              </a:defRPr>
            </a:lvl3pPr>
            <a:lvl4pPr>
              <a:buFont typeface="Wingdings" pitchFamily="2" charset="2"/>
              <a:buChar char="§"/>
              <a:defRPr sz="1900">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p:cNvSpPr>
            <a:spLocks noGrp="1"/>
          </p:cNvSpPr>
          <p:nvPr>
            <p:ph type="ftr" sz="quarter" idx="11"/>
          </p:nvPr>
        </p:nvSpPr>
        <p:spPr>
          <a:xfrm>
            <a:off x="754456" y="6356352"/>
            <a:ext cx="5725589" cy="365125"/>
          </a:xfrm>
          <a:prstGeom prst="rect">
            <a:avLst/>
          </a:prstGeom>
        </p:spPr>
        <p:txBody>
          <a:bodyPr/>
          <a:lstStyle>
            <a:lvl1pPr algn="l">
              <a:defRPr sz="1200">
                <a:solidFill>
                  <a:schemeClr val="tx2"/>
                </a:solidFill>
              </a:defRPr>
            </a:lvl1pPr>
          </a:lstStyle>
          <a:p>
            <a:endParaRPr lang="en-IN" dirty="0">
              <a:solidFill>
                <a:srgbClr val="595A5C"/>
              </a:solidFill>
            </a:endParaRPr>
          </a:p>
        </p:txBody>
      </p:sp>
      <p:sp>
        <p:nvSpPr>
          <p:cNvPr id="6" name="Slide Number Placeholder 5"/>
          <p:cNvSpPr>
            <a:spLocks noGrp="1"/>
          </p:cNvSpPr>
          <p:nvPr>
            <p:ph type="sldNum" sz="quarter" idx="12"/>
          </p:nvPr>
        </p:nvSpPr>
        <p:spPr>
          <a:xfrm>
            <a:off x="6480044" y="6356352"/>
            <a:ext cx="530357" cy="365125"/>
          </a:xfrm>
          <a:prstGeom prst="rect">
            <a:avLst/>
          </a:prstGeom>
        </p:spPr>
        <p:txBody>
          <a:bodyPr/>
          <a:lstStyle>
            <a:lvl1pPr algn="r">
              <a:defRPr sz="1200">
                <a:solidFill>
                  <a:schemeClr val="tx2"/>
                </a:solidFill>
              </a:defRPr>
            </a:lvl1pPr>
          </a:lstStyle>
          <a:p>
            <a:fld id="{34682E68-0D98-40C8-B119-B00B3E3639EE}" type="slidenum">
              <a:rPr lang="en-IN" smtClean="0">
                <a:solidFill>
                  <a:srgbClr val="595A5C"/>
                </a:solidFill>
              </a:rPr>
              <a:pPr/>
              <a:t>‹#›</a:t>
            </a:fld>
            <a:endParaRPr lang="en-IN" dirty="0">
              <a:solidFill>
                <a:srgbClr val="595A5C"/>
              </a:solidFill>
            </a:endParaRPr>
          </a:p>
        </p:txBody>
      </p:sp>
      <p:sp>
        <p:nvSpPr>
          <p:cNvPr id="16" name="Text Placeholder 15"/>
          <p:cNvSpPr>
            <a:spLocks noGrp="1"/>
          </p:cNvSpPr>
          <p:nvPr>
            <p:ph type="body" sz="quarter" idx="14" hasCustomPrompt="1"/>
          </p:nvPr>
        </p:nvSpPr>
        <p:spPr>
          <a:xfrm>
            <a:off x="709245" y="240328"/>
            <a:ext cx="9990179" cy="1195199"/>
          </a:xfrm>
          <a:prstGeom prst="rect">
            <a:avLst/>
          </a:prstGeom>
        </p:spPr>
        <p:txBody>
          <a:bodyPr wrap="square">
            <a:spAutoFit/>
          </a:bodyPr>
          <a:lstStyle>
            <a:lvl1pPr>
              <a:buNone/>
              <a:defRPr kumimoji="0" lang="en-IN" sz="4000" b="0" i="0" u="none" strike="noStrike" kern="1200" cap="none" spc="0" normalizeH="0" baseline="0" noProof="0" dirty="0" smtClean="0">
                <a:ln>
                  <a:noFill/>
                </a:ln>
                <a:solidFill>
                  <a:srgbClr val="00AF9B"/>
                </a:solidFill>
                <a:effectLst/>
                <a:uLnTx/>
                <a:uFillTx/>
                <a:latin typeface="+mj-lt"/>
                <a:ea typeface="+mj-ea"/>
                <a:cs typeface="+mj-cs"/>
              </a:defRPr>
            </a:lvl1pPr>
          </a:lstStyle>
          <a:p>
            <a:pPr marL="0" marR="0" lvl="0" indent="0" algn="l" defTabSz="1218570" rtl="0" eaLnBrk="1" fontAlgn="auto" latinLnBrk="0" hangingPunct="1">
              <a:lnSpc>
                <a:spcPts val="4267"/>
              </a:lnSpc>
              <a:spcBef>
                <a:spcPct val="0"/>
              </a:spcBef>
              <a:spcAft>
                <a:spcPts val="0"/>
              </a:spcAft>
              <a:buClrTx/>
              <a:buSzTx/>
              <a:buFontTx/>
              <a:buNone/>
              <a:tabLst/>
              <a:defRPr/>
            </a:pPr>
            <a:r>
              <a:rPr lang="en-US"/>
              <a:t>Main </a:t>
            </a:r>
          </a:p>
          <a:p>
            <a:pPr marL="0" marR="0" lvl="0" indent="0" algn="l" defTabSz="1218570" rtl="0" eaLnBrk="1" fontAlgn="auto" latinLnBrk="0" hangingPunct="1">
              <a:lnSpc>
                <a:spcPts val="4267"/>
              </a:lnSpc>
              <a:spcBef>
                <a:spcPct val="0"/>
              </a:spcBef>
              <a:spcAft>
                <a:spcPts val="0"/>
              </a:spcAft>
              <a:buClrTx/>
              <a:buSzTx/>
              <a:buFontTx/>
              <a:buNone/>
              <a:tabLst/>
              <a:defRPr/>
            </a:pPr>
            <a:r>
              <a:rPr lang="en-US"/>
              <a:t>Title</a:t>
            </a:r>
            <a:endParaRPr lang="en-IN"/>
          </a:p>
        </p:txBody>
      </p:sp>
    </p:spTree>
    <p:extLst>
      <p:ext uri="{BB962C8B-B14F-4D97-AF65-F5344CB8AC3E}">
        <p14:creationId xmlns:p14="http://schemas.microsoft.com/office/powerpoint/2010/main" val="12516322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5" name="Parallelogram 24">
            <a:extLst>
              <a:ext uri="{FF2B5EF4-FFF2-40B4-BE49-F238E27FC236}">
                <a16:creationId xmlns:a16="http://schemas.microsoft.com/office/drawing/2014/main" id="{46D8144E-784A-4038-9010-9A672F089B57}"/>
              </a:ext>
            </a:extLst>
          </p:cNvPr>
          <p:cNvSpPr/>
          <p:nvPr userDrawn="1"/>
        </p:nvSpPr>
        <p:spPr>
          <a:xfrm>
            <a:off x="124642" y="6700"/>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42975" y="48473"/>
            <a:ext cx="10118887" cy="698611"/>
          </a:xfrm>
          <a:prstGeom prst="rect">
            <a:avLst/>
          </a:prstGeom>
        </p:spPr>
        <p:txBody>
          <a:bodyPr anchor="ctr"/>
          <a:lstStyle>
            <a:lvl1pPr>
              <a:defRPr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41"/>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pic>
        <p:nvPicPr>
          <p:cNvPr id="2" name="Picture 2" descr="Brillio - Wikipedia">
            <a:extLst>
              <a:ext uri="{FF2B5EF4-FFF2-40B4-BE49-F238E27FC236}">
                <a16:creationId xmlns:a16="http://schemas.microsoft.com/office/drawing/2014/main" id="{DC36C261-335E-4D79-A521-2AB20CA9CC98}"/>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5"/>
            <a:ext cx="602939" cy="26870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505DD9A7-72A0-4515-95E6-0723AFDB04CF}"/>
              </a:ext>
            </a:extLst>
          </p:cNvPr>
          <p:cNvSpPr txBox="1">
            <a:spLocks/>
          </p:cNvSpPr>
          <p:nvPr userDrawn="1"/>
        </p:nvSpPr>
        <p:spPr>
          <a:xfrm>
            <a:off x="11526449" y="126798"/>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Oval 15">
            <a:extLst>
              <a:ext uri="{FF2B5EF4-FFF2-40B4-BE49-F238E27FC236}">
                <a16:creationId xmlns:a16="http://schemas.microsoft.com/office/drawing/2014/main" id="{0813F254-AE41-40DE-9B22-F4E42F924CEC}"/>
              </a:ext>
            </a:extLst>
          </p:cNvPr>
          <p:cNvSpPr/>
          <p:nvPr userDrawn="1"/>
        </p:nvSpPr>
        <p:spPr>
          <a:xfrm>
            <a:off x="11440457"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Oval 16">
            <a:extLst>
              <a:ext uri="{FF2B5EF4-FFF2-40B4-BE49-F238E27FC236}">
                <a16:creationId xmlns:a16="http://schemas.microsoft.com/office/drawing/2014/main" id="{DF5CEFB0-6BE9-40DB-A465-B1BAFBEE7F67}"/>
              </a:ext>
            </a:extLst>
          </p:cNvPr>
          <p:cNvSpPr/>
          <p:nvPr userDrawn="1"/>
        </p:nvSpPr>
        <p:spPr>
          <a:xfrm>
            <a:off x="11053291"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9">
            <a:extLst>
              <a:ext uri="{FF2B5EF4-FFF2-40B4-BE49-F238E27FC236}">
                <a16:creationId xmlns:a16="http://schemas.microsoft.com/office/drawing/2014/main" id="{1D32DB65-CB37-4E21-9459-16A1B2A00349}"/>
              </a:ext>
            </a:extLst>
          </p:cNvPr>
          <p:cNvSpPr/>
          <p:nvPr userDrawn="1"/>
        </p:nvSpPr>
        <p:spPr>
          <a:xfrm rot="2700000">
            <a:off x="11181863"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Oval 18">
            <a:extLst>
              <a:ext uri="{FF2B5EF4-FFF2-40B4-BE49-F238E27FC236}">
                <a16:creationId xmlns:a16="http://schemas.microsoft.com/office/drawing/2014/main" id="{6889CC8F-F1FD-4BA1-ACBA-47B0B02C9E8C}"/>
              </a:ext>
            </a:extLst>
          </p:cNvPr>
          <p:cNvSpPr/>
          <p:nvPr userDrawn="1"/>
        </p:nvSpPr>
        <p:spPr>
          <a:xfrm rot="10800000">
            <a:off x="11827621"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9">
            <a:extLst>
              <a:ext uri="{FF2B5EF4-FFF2-40B4-BE49-F238E27FC236}">
                <a16:creationId xmlns:a16="http://schemas.microsoft.com/office/drawing/2014/main" id="{2C2AF836-CC86-4BCB-A50C-FD178C12882D}"/>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Action Button: Forward or Next 26">
            <a:hlinkClick r:id="" action="ppaction://hlinkshowjump?jump=nextslide" highlightClick="1"/>
            <a:extLst>
              <a:ext uri="{FF2B5EF4-FFF2-40B4-BE49-F238E27FC236}">
                <a16:creationId xmlns:a16="http://schemas.microsoft.com/office/drawing/2014/main" id="{41162664-FCFC-4317-8FA5-F9AF61FFDE19}"/>
              </a:ext>
            </a:extLst>
          </p:cNvPr>
          <p:cNvSpPr/>
          <p:nvPr userDrawn="1"/>
        </p:nvSpPr>
        <p:spPr>
          <a:xfrm>
            <a:off x="11799047" y="61288"/>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Action Button: Back or Previous 27">
            <a:hlinkClick r:id="" action="ppaction://hlinkshowjump?jump=previousslide" highlightClick="1"/>
            <a:extLst>
              <a:ext uri="{FF2B5EF4-FFF2-40B4-BE49-F238E27FC236}">
                <a16:creationId xmlns:a16="http://schemas.microsoft.com/office/drawing/2014/main" id="{13E9F51C-2DF4-4AA6-80B4-1AECBC7780B6}"/>
              </a:ext>
            </a:extLst>
          </p:cNvPr>
          <p:cNvSpPr/>
          <p:nvPr userDrawn="1"/>
        </p:nvSpPr>
        <p:spPr>
          <a:xfrm>
            <a:off x="11020553" y="100108"/>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8457508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Header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9"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256268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descr="A room filled with people&#10;&#10;Description automatically generated">
            <a:extLst>
              <a:ext uri="{FF2B5EF4-FFF2-40B4-BE49-F238E27FC236}">
                <a16:creationId xmlns:a16="http://schemas.microsoft.com/office/drawing/2014/main" id="{873C51FE-BA44-4B9B-8A64-ADA0E5B3D5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849" y="0"/>
            <a:ext cx="12233849" cy="6868064"/>
          </a:xfrm>
          <a:prstGeom prst="rect">
            <a:avLst/>
          </a:prstGeom>
        </p:spPr>
      </p:pic>
      <p:sp>
        <p:nvSpPr>
          <p:cNvPr id="3" name="Date Placeholder 2">
            <a:extLst>
              <a:ext uri="{FF2B5EF4-FFF2-40B4-BE49-F238E27FC236}">
                <a16:creationId xmlns:a16="http://schemas.microsoft.com/office/drawing/2014/main" id="{BC1525C0-2461-4254-A1B4-DBF61F462B3E}"/>
              </a:ext>
            </a:extLst>
          </p:cNvPr>
          <p:cNvSpPr>
            <a:spLocks noGrp="1"/>
          </p:cNvSpPr>
          <p:nvPr>
            <p:ph type="dt" sz="half" idx="10"/>
          </p:nvPr>
        </p:nvSpPr>
        <p:spPr/>
        <p:txBody>
          <a:bodyPr/>
          <a:lstStyle/>
          <a:p>
            <a:fld id="{2D37AF7C-131F-4F3D-8640-674317C731D3}" type="datetimeFigureOut">
              <a:rPr lang="en-IN" smtClean="0"/>
              <a:t>28-05-2024</a:t>
            </a:fld>
            <a:endParaRPr lang="en-IN" dirty="0"/>
          </a:p>
        </p:txBody>
      </p:sp>
      <p:sp>
        <p:nvSpPr>
          <p:cNvPr id="4" name="Footer Placeholder 3">
            <a:extLst>
              <a:ext uri="{FF2B5EF4-FFF2-40B4-BE49-F238E27FC236}">
                <a16:creationId xmlns:a16="http://schemas.microsoft.com/office/drawing/2014/main" id="{8934F281-07B7-405A-9A57-7B8B8F1306E4}"/>
              </a:ext>
            </a:extLst>
          </p:cNvPr>
          <p:cNvSpPr>
            <a:spLocks noGrp="1"/>
          </p:cNvSpPr>
          <p:nvPr>
            <p:ph type="ftr" sz="quarter" idx="11"/>
          </p:nvPr>
        </p:nvSpPr>
        <p:spPr/>
        <p:txBody>
          <a:bodyPr/>
          <a:lstStyle/>
          <a:p>
            <a:r>
              <a:rPr lang="en-IN" dirty="0"/>
              <a:t>© 2020 BRILLIO TECHNOLOGIES</a:t>
            </a:r>
          </a:p>
        </p:txBody>
      </p:sp>
      <p:sp>
        <p:nvSpPr>
          <p:cNvPr id="22" name="Rectangle 21">
            <a:extLst>
              <a:ext uri="{FF2B5EF4-FFF2-40B4-BE49-F238E27FC236}">
                <a16:creationId xmlns:a16="http://schemas.microsoft.com/office/drawing/2014/main" id="{D261F4AF-1E20-4E43-8D7B-ED4E2B536F11}"/>
              </a:ext>
            </a:extLst>
          </p:cNvPr>
          <p:cNvSpPr>
            <a:spLocks noChangeArrowheads="1"/>
          </p:cNvSpPr>
          <p:nvPr userDrawn="1"/>
        </p:nvSpPr>
        <p:spPr bwMode="auto">
          <a:xfrm>
            <a:off x="-41849" y="0"/>
            <a:ext cx="12233849" cy="6868064"/>
          </a:xfrm>
          <a:prstGeom prst="rect">
            <a:avLst/>
          </a:prstGeom>
          <a:solidFill>
            <a:schemeClr val="bg1">
              <a:alpha val="92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2" name="Title 1">
            <a:extLst>
              <a:ext uri="{FF2B5EF4-FFF2-40B4-BE49-F238E27FC236}">
                <a16:creationId xmlns:a16="http://schemas.microsoft.com/office/drawing/2014/main" id="{79FFB942-71A8-49F1-9090-2A500223E2BC}"/>
              </a:ext>
            </a:extLst>
          </p:cNvPr>
          <p:cNvSpPr>
            <a:spLocks noGrp="1"/>
          </p:cNvSpPr>
          <p:nvPr>
            <p:ph type="title" hasCustomPrompt="1"/>
          </p:nvPr>
        </p:nvSpPr>
        <p:spPr>
          <a:xfrm>
            <a:off x="1241683" y="3721300"/>
            <a:ext cx="7333880" cy="898128"/>
          </a:xfrm>
        </p:spPr>
        <p:txBody>
          <a:bodyPr/>
          <a:lstStyle>
            <a:lvl1pPr>
              <a:defRPr/>
            </a:lvl1pPr>
          </a:lstStyle>
          <a:p>
            <a:r>
              <a:rPr lang="en-US"/>
              <a:t>Enter Section Header</a:t>
            </a:r>
            <a:endParaRPr lang="en-IN"/>
          </a:p>
        </p:txBody>
      </p:sp>
      <p:sp>
        <p:nvSpPr>
          <p:cNvPr id="23" name="Isosceles Triangle 22">
            <a:extLst>
              <a:ext uri="{FF2B5EF4-FFF2-40B4-BE49-F238E27FC236}">
                <a16:creationId xmlns:a16="http://schemas.microsoft.com/office/drawing/2014/main" id="{AF04030F-0023-446F-B446-4E0A424B00BD}"/>
              </a:ext>
            </a:extLst>
          </p:cNvPr>
          <p:cNvSpPr/>
          <p:nvPr userDrawn="1"/>
        </p:nvSpPr>
        <p:spPr>
          <a:xfrm>
            <a:off x="11107712" y="3282849"/>
            <a:ext cx="1084289" cy="3575153"/>
          </a:xfrm>
          <a:prstGeom prst="triangle">
            <a:avLst>
              <a:gd name="adj" fmla="val 100000"/>
            </a:avLst>
          </a:prstGeom>
          <a:solidFill>
            <a:srgbClr val="18B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pic>
        <p:nvPicPr>
          <p:cNvPr id="25" name="Picture 2" descr="Brillio">
            <a:extLst>
              <a:ext uri="{FF2B5EF4-FFF2-40B4-BE49-F238E27FC236}">
                <a16:creationId xmlns:a16="http://schemas.microsoft.com/office/drawing/2014/main" id="{D8532598-45E7-4A74-B677-E67FDCBE0077}"/>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01311" y="264611"/>
            <a:ext cx="940372" cy="394957"/>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25">
            <a:extLst>
              <a:ext uri="{FF2B5EF4-FFF2-40B4-BE49-F238E27FC236}">
                <a16:creationId xmlns:a16="http://schemas.microsoft.com/office/drawing/2014/main" id="{A07B68E0-1549-4311-A433-DC7FF64BAA00}"/>
              </a:ext>
            </a:extLst>
          </p:cNvPr>
          <p:cNvSpPr>
            <a:spLocks/>
          </p:cNvSpPr>
          <p:nvPr userDrawn="1"/>
        </p:nvSpPr>
        <p:spPr bwMode="auto">
          <a:xfrm>
            <a:off x="301311" y="4880520"/>
            <a:ext cx="7091821" cy="186787"/>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dirty="0">
                <a:solidFill>
                  <a:schemeClr val="lt1"/>
                </a:solidFill>
              </a:rPr>
              <a:t> </a:t>
            </a:r>
          </a:p>
        </p:txBody>
      </p:sp>
      <p:sp>
        <p:nvSpPr>
          <p:cNvPr id="24" name="Isosceles Triangle 23">
            <a:extLst>
              <a:ext uri="{FF2B5EF4-FFF2-40B4-BE49-F238E27FC236}">
                <a16:creationId xmlns:a16="http://schemas.microsoft.com/office/drawing/2014/main" id="{C49AA888-617B-4F43-AF14-644AF66307E8}"/>
              </a:ext>
            </a:extLst>
          </p:cNvPr>
          <p:cNvSpPr/>
          <p:nvPr userDrawn="1"/>
        </p:nvSpPr>
        <p:spPr>
          <a:xfrm rot="10800000">
            <a:off x="-32096" y="0"/>
            <a:ext cx="1937287" cy="6261320"/>
          </a:xfrm>
          <a:prstGeom prst="triangle">
            <a:avLst>
              <a:gd name="adj" fmla="val 100000"/>
            </a:avLst>
          </a:prstGeom>
          <a:gradFill flip="none" rotWithShape="1">
            <a:gsLst>
              <a:gs pos="51000">
                <a:srgbClr val="6ACD60"/>
              </a:gs>
              <a:gs pos="0">
                <a:srgbClr val="29B984"/>
              </a:gs>
              <a:gs pos="10000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11" name="Parallelogram 10">
            <a:extLst>
              <a:ext uri="{FF2B5EF4-FFF2-40B4-BE49-F238E27FC236}">
                <a16:creationId xmlns:a16="http://schemas.microsoft.com/office/drawing/2014/main" id="{7C8C70D5-C0B9-4AEA-B13D-58858838C615}"/>
              </a:ext>
            </a:extLst>
          </p:cNvPr>
          <p:cNvSpPr>
            <a:spLocks/>
          </p:cNvSpPr>
          <p:nvPr userDrawn="1"/>
        </p:nvSpPr>
        <p:spPr bwMode="auto">
          <a:xfrm>
            <a:off x="7451023" y="4880519"/>
            <a:ext cx="569659" cy="187200"/>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dirty="0">
                <a:solidFill>
                  <a:schemeClr val="lt1"/>
                </a:solidFill>
              </a:rPr>
              <a:t> </a:t>
            </a:r>
          </a:p>
        </p:txBody>
      </p:sp>
      <p:sp>
        <p:nvSpPr>
          <p:cNvPr id="12" name="Parallelogram 11">
            <a:extLst>
              <a:ext uri="{FF2B5EF4-FFF2-40B4-BE49-F238E27FC236}">
                <a16:creationId xmlns:a16="http://schemas.microsoft.com/office/drawing/2014/main" id="{35DC3CDE-0D95-4203-8791-1B8AEFF9E5B3}"/>
              </a:ext>
            </a:extLst>
          </p:cNvPr>
          <p:cNvSpPr>
            <a:spLocks/>
          </p:cNvSpPr>
          <p:nvPr userDrawn="1"/>
        </p:nvSpPr>
        <p:spPr bwMode="auto">
          <a:xfrm>
            <a:off x="8113871" y="4880519"/>
            <a:ext cx="569659" cy="187200"/>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dirty="0">
                <a:solidFill>
                  <a:schemeClr val="lt1"/>
                </a:solidFill>
              </a:rPr>
              <a:t> </a:t>
            </a:r>
          </a:p>
        </p:txBody>
      </p:sp>
      <p:sp>
        <p:nvSpPr>
          <p:cNvPr id="13" name="Parallelogram 12">
            <a:extLst>
              <a:ext uri="{FF2B5EF4-FFF2-40B4-BE49-F238E27FC236}">
                <a16:creationId xmlns:a16="http://schemas.microsoft.com/office/drawing/2014/main" id="{6986C48A-C926-47D3-B77E-BCF5B4CEB2F3}"/>
              </a:ext>
            </a:extLst>
          </p:cNvPr>
          <p:cNvSpPr>
            <a:spLocks/>
          </p:cNvSpPr>
          <p:nvPr userDrawn="1"/>
        </p:nvSpPr>
        <p:spPr bwMode="auto">
          <a:xfrm>
            <a:off x="8789503" y="4880519"/>
            <a:ext cx="569659" cy="187200"/>
          </a:xfrm>
          <a:prstGeom prst="parallelogram">
            <a:avLst>
              <a:gd name="adj" fmla="val 30354"/>
            </a:avLst>
          </a:prstGeom>
          <a:gradFill flip="none" rotWithShape="1">
            <a:gsLst>
              <a:gs pos="51000">
                <a:srgbClr val="6ACD60"/>
              </a:gs>
              <a:gs pos="98000">
                <a:srgbClr val="29B984"/>
              </a:gs>
              <a:gs pos="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dirty="0">
                <a:solidFill>
                  <a:schemeClr val="lt1"/>
                </a:solidFill>
              </a:rPr>
              <a:t> </a:t>
            </a:r>
          </a:p>
        </p:txBody>
      </p:sp>
      <p:pic>
        <p:nvPicPr>
          <p:cNvPr id="14" name="Picture 2" descr="Brillio">
            <a:extLst>
              <a:ext uri="{FF2B5EF4-FFF2-40B4-BE49-F238E27FC236}">
                <a16:creationId xmlns:a16="http://schemas.microsoft.com/office/drawing/2014/main" id="{E100B4E4-211A-49A4-9D34-60ACE5CD731E}"/>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01323" y="264611"/>
            <a:ext cx="940372" cy="394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1212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cSld name="Two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C487E-ED82-42C4-AB9D-F5419221B1EF}"/>
              </a:ext>
            </a:extLst>
          </p:cNvPr>
          <p:cNvSpPr>
            <a:spLocks noGrp="1"/>
          </p:cNvSpPr>
          <p:nvPr>
            <p:ph type="title" hasCustomPrompt="1"/>
          </p:nvPr>
        </p:nvSpPr>
        <p:spPr/>
        <p:txBody>
          <a:bodyPr/>
          <a:lstStyle>
            <a:lvl1pPr>
              <a:defRPr/>
            </a:lvl1pPr>
          </a:lstStyle>
          <a:p>
            <a:r>
              <a:rPr lang="en-US"/>
              <a:t>Two Column Text</a:t>
            </a:r>
            <a:endParaRPr lang="en-IN"/>
          </a:p>
        </p:txBody>
      </p:sp>
      <p:sp>
        <p:nvSpPr>
          <p:cNvPr id="3" name="Content Placeholder 2">
            <a:extLst>
              <a:ext uri="{FF2B5EF4-FFF2-40B4-BE49-F238E27FC236}">
                <a16:creationId xmlns:a16="http://schemas.microsoft.com/office/drawing/2014/main" id="{8A63E709-19D5-47C6-9F9A-D3750472FAB8}"/>
              </a:ext>
            </a:extLst>
          </p:cNvPr>
          <p:cNvSpPr>
            <a:spLocks noGrp="1"/>
          </p:cNvSpPr>
          <p:nvPr>
            <p:ph sz="half" idx="1"/>
          </p:nvPr>
        </p:nvSpPr>
        <p:spPr>
          <a:xfrm>
            <a:off x="1524000" y="1825625"/>
            <a:ext cx="44958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829292FD-BCDD-4775-96FB-195D306FAFD0}"/>
              </a:ext>
            </a:extLst>
          </p:cNvPr>
          <p:cNvSpPr>
            <a:spLocks noGrp="1"/>
          </p:cNvSpPr>
          <p:nvPr>
            <p:ph sz="half" idx="2"/>
          </p:nvPr>
        </p:nvSpPr>
        <p:spPr>
          <a:xfrm>
            <a:off x="6460959" y="1825625"/>
            <a:ext cx="44958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88A98CC9-81D5-4ADD-A0F1-290340C09FCE}"/>
              </a:ext>
            </a:extLst>
          </p:cNvPr>
          <p:cNvSpPr>
            <a:spLocks noGrp="1"/>
          </p:cNvSpPr>
          <p:nvPr>
            <p:ph type="dt" sz="half" idx="10"/>
          </p:nvPr>
        </p:nvSpPr>
        <p:spPr/>
        <p:txBody>
          <a:bodyPr/>
          <a:lstStyle/>
          <a:p>
            <a:fld id="{2D37AF7C-131F-4F3D-8640-674317C731D3}" type="datetimeFigureOut">
              <a:rPr lang="en-IN" smtClean="0"/>
              <a:t>28-05-2024</a:t>
            </a:fld>
            <a:endParaRPr lang="en-IN" dirty="0"/>
          </a:p>
        </p:txBody>
      </p:sp>
      <p:sp>
        <p:nvSpPr>
          <p:cNvPr id="6" name="Footer Placeholder 5">
            <a:extLst>
              <a:ext uri="{FF2B5EF4-FFF2-40B4-BE49-F238E27FC236}">
                <a16:creationId xmlns:a16="http://schemas.microsoft.com/office/drawing/2014/main" id="{483B70AA-D927-4B14-8D36-28EC24583848}"/>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1BD96530-0408-4C25-837E-5E36E35A59F4}"/>
              </a:ext>
            </a:extLst>
          </p:cNvPr>
          <p:cNvSpPr>
            <a:spLocks noGrp="1"/>
          </p:cNvSpPr>
          <p:nvPr>
            <p:ph type="sldNum" sz="quarter" idx="12"/>
          </p:nvPr>
        </p:nvSpPr>
        <p:spPr>
          <a:xfrm>
            <a:off x="11483164" y="6345718"/>
            <a:ext cx="414059" cy="386391"/>
          </a:xfrm>
          <a:custGeom>
            <a:avLst/>
            <a:gdLst>
              <a:gd name="connsiteX0" fmla="*/ 0 w 367145"/>
              <a:gd name="connsiteY0" fmla="*/ 0 h 365125"/>
              <a:gd name="connsiteX1" fmla="*/ 367145 w 367145"/>
              <a:gd name="connsiteY1" fmla="*/ 0 h 365125"/>
              <a:gd name="connsiteX2" fmla="*/ 367145 w 367145"/>
              <a:gd name="connsiteY2" fmla="*/ 365125 h 365125"/>
              <a:gd name="connsiteX3" fmla="*/ 0 w 367145"/>
              <a:gd name="connsiteY3" fmla="*/ 365125 h 365125"/>
              <a:gd name="connsiteX4" fmla="*/ 0 w 367145"/>
              <a:gd name="connsiteY4" fmla="*/ 0 h 365125"/>
              <a:gd name="connsiteX0" fmla="*/ 0 w 494735"/>
              <a:gd name="connsiteY0" fmla="*/ 21265 h 386390"/>
              <a:gd name="connsiteX1" fmla="*/ 494735 w 494735"/>
              <a:gd name="connsiteY1" fmla="*/ 0 h 386390"/>
              <a:gd name="connsiteX2" fmla="*/ 367145 w 494735"/>
              <a:gd name="connsiteY2" fmla="*/ 386390 h 386390"/>
              <a:gd name="connsiteX3" fmla="*/ 0 w 494735"/>
              <a:gd name="connsiteY3" fmla="*/ 386390 h 386390"/>
              <a:gd name="connsiteX4" fmla="*/ 0 w 494735"/>
              <a:gd name="connsiteY4" fmla="*/ 21265 h 386390"/>
              <a:gd name="connsiteX0" fmla="*/ 106326 w 494735"/>
              <a:gd name="connsiteY0" fmla="*/ 21265 h 386390"/>
              <a:gd name="connsiteX1" fmla="*/ 494735 w 494735"/>
              <a:gd name="connsiteY1" fmla="*/ 0 h 386390"/>
              <a:gd name="connsiteX2" fmla="*/ 367145 w 494735"/>
              <a:gd name="connsiteY2" fmla="*/ 386390 h 386390"/>
              <a:gd name="connsiteX3" fmla="*/ 0 w 494735"/>
              <a:gd name="connsiteY3" fmla="*/ 386390 h 386390"/>
              <a:gd name="connsiteX4" fmla="*/ 106326 w 494735"/>
              <a:gd name="connsiteY4" fmla="*/ 21265 h 386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735" h="386390">
                <a:moveTo>
                  <a:pt x="106326" y="21265"/>
                </a:moveTo>
                <a:lnTo>
                  <a:pt x="494735" y="0"/>
                </a:lnTo>
                <a:lnTo>
                  <a:pt x="367145" y="386390"/>
                </a:lnTo>
                <a:lnTo>
                  <a:pt x="0" y="386390"/>
                </a:lnTo>
                <a:lnTo>
                  <a:pt x="106326" y="21265"/>
                </a:lnTo>
                <a:close/>
              </a:path>
            </a:pathLst>
          </a:custGeom>
        </p:spPr>
        <p:txBody>
          <a:bodyPr/>
          <a:lstStyle/>
          <a:p>
            <a:fld id="{CB447D9E-8CAB-4C9B-8EF2-321D850CAC84}" type="slidenum">
              <a:rPr lang="en-IN" smtClean="0"/>
              <a:t>‹#›</a:t>
            </a:fld>
            <a:endParaRPr lang="en-IN" dirty="0"/>
          </a:p>
        </p:txBody>
      </p:sp>
      <p:sp>
        <p:nvSpPr>
          <p:cNvPr id="10" name="Isosceles Triangle 9">
            <a:extLst>
              <a:ext uri="{FF2B5EF4-FFF2-40B4-BE49-F238E27FC236}">
                <a16:creationId xmlns:a16="http://schemas.microsoft.com/office/drawing/2014/main" id="{C9478BA1-893E-4EB0-82A3-88E53366288C}"/>
              </a:ext>
            </a:extLst>
          </p:cNvPr>
          <p:cNvSpPr/>
          <p:nvPr userDrawn="1"/>
        </p:nvSpPr>
        <p:spPr>
          <a:xfrm>
            <a:off x="11107712" y="3282849"/>
            <a:ext cx="1084289" cy="3575153"/>
          </a:xfrm>
          <a:prstGeom prst="triangle">
            <a:avLst>
              <a:gd name="adj" fmla="val 100000"/>
            </a:avLst>
          </a:prstGeom>
          <a:solidFill>
            <a:srgbClr val="18B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pic>
        <p:nvPicPr>
          <p:cNvPr id="9" name="Picture 2" descr="Brillio">
            <a:extLst>
              <a:ext uri="{FF2B5EF4-FFF2-40B4-BE49-F238E27FC236}">
                <a16:creationId xmlns:a16="http://schemas.microsoft.com/office/drawing/2014/main" id="{457CEC2A-EAD3-4D29-99FE-AF32DB0ED40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483841" y="6520205"/>
            <a:ext cx="658091" cy="276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8277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F7081-78B1-89FB-6695-32653CC2D27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618AF71-FEFD-9383-4520-944F5F5D3FF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A9AE3631-5C4A-56D3-3ADF-60D26C12134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99C1684F-710B-2CEE-9654-D3D7D8F5D23C}"/>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6" name="Footer Placeholder 5">
            <a:extLst>
              <a:ext uri="{FF2B5EF4-FFF2-40B4-BE49-F238E27FC236}">
                <a16:creationId xmlns:a16="http://schemas.microsoft.com/office/drawing/2014/main" id="{7877BBF0-A3E2-5B44-6FA1-921A374064B1}"/>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01B3416D-5A7F-C4A2-D90A-780262768E70}"/>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38567763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tandard Text">
    <p:spTree>
      <p:nvGrpSpPr>
        <p:cNvPr id="1" name=""/>
        <p:cNvGrpSpPr/>
        <p:nvPr/>
      </p:nvGrpSpPr>
      <p:grpSpPr>
        <a:xfrm>
          <a:off x="0" y="0"/>
          <a:ext cx="0" cy="0"/>
          <a:chOff x="0" y="0"/>
          <a:chExt cx="0" cy="0"/>
        </a:xfrm>
      </p:grpSpPr>
      <p:pic>
        <p:nvPicPr>
          <p:cNvPr id="12" name="Picture 11" descr="A group of people in a room&#10;&#10;Description automatically generated">
            <a:extLst>
              <a:ext uri="{FF2B5EF4-FFF2-40B4-BE49-F238E27FC236}">
                <a16:creationId xmlns:a16="http://schemas.microsoft.com/office/drawing/2014/main" id="{E16A4F6A-1A8D-46E4-8DA7-D30F6E02DF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07" y="-1"/>
            <a:ext cx="12233849" cy="6858001"/>
          </a:xfrm>
          <a:prstGeom prst="rect">
            <a:avLst/>
          </a:prstGeom>
        </p:spPr>
      </p:pic>
      <p:sp>
        <p:nvSpPr>
          <p:cNvPr id="6" name="Rectangle 5">
            <a:extLst>
              <a:ext uri="{FF2B5EF4-FFF2-40B4-BE49-F238E27FC236}">
                <a16:creationId xmlns:a16="http://schemas.microsoft.com/office/drawing/2014/main" id="{D479E4D3-22F4-404C-AAAB-F658A4CD833E}"/>
              </a:ext>
            </a:extLst>
          </p:cNvPr>
          <p:cNvSpPr>
            <a:spLocks noChangeArrowheads="1"/>
          </p:cNvSpPr>
          <p:nvPr userDrawn="1"/>
        </p:nvSpPr>
        <p:spPr bwMode="auto">
          <a:xfrm>
            <a:off x="-11769" y="-1"/>
            <a:ext cx="12233849" cy="6858001"/>
          </a:xfrm>
          <a:prstGeom prst="rect">
            <a:avLst/>
          </a:prstGeom>
          <a:solidFill>
            <a:schemeClr val="bg1">
              <a:alpha val="92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2" name="Title 1">
            <a:extLst>
              <a:ext uri="{FF2B5EF4-FFF2-40B4-BE49-F238E27FC236}">
                <a16:creationId xmlns:a16="http://schemas.microsoft.com/office/drawing/2014/main" id="{0933456D-1321-4DBE-8C07-8273C4F3A43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52665572-B9BF-4BA9-8137-7E479376AB72}"/>
              </a:ext>
            </a:extLst>
          </p:cNvPr>
          <p:cNvSpPr>
            <a:spLocks noGrp="1"/>
          </p:cNvSpPr>
          <p:nvPr>
            <p:ph type="dt" sz="half" idx="10"/>
          </p:nvPr>
        </p:nvSpPr>
        <p:spPr/>
        <p:txBody>
          <a:bodyPr/>
          <a:lstStyle/>
          <a:p>
            <a:fld id="{2D37AF7C-131F-4F3D-8640-674317C731D3}" type="datetimeFigureOut">
              <a:rPr lang="en-IN" smtClean="0"/>
              <a:t>28-05-2024</a:t>
            </a:fld>
            <a:endParaRPr lang="en-IN" dirty="0"/>
          </a:p>
        </p:txBody>
      </p:sp>
      <p:sp>
        <p:nvSpPr>
          <p:cNvPr id="4" name="Footer Placeholder 3">
            <a:extLst>
              <a:ext uri="{FF2B5EF4-FFF2-40B4-BE49-F238E27FC236}">
                <a16:creationId xmlns:a16="http://schemas.microsoft.com/office/drawing/2014/main" id="{973ACD54-0BF4-4467-9F45-7337F4E7F456}"/>
              </a:ext>
            </a:extLst>
          </p:cNvPr>
          <p:cNvSpPr>
            <a:spLocks noGrp="1"/>
          </p:cNvSpPr>
          <p:nvPr>
            <p:ph type="ftr" sz="quarter" idx="11"/>
          </p:nvPr>
        </p:nvSpPr>
        <p:spPr/>
        <p:txBody>
          <a:bodyPr/>
          <a:lstStyle/>
          <a:p>
            <a:r>
              <a:rPr lang="en-IN" dirty="0"/>
              <a:t>© 2020 BRILLIO TECHNOLOGIES</a:t>
            </a:r>
          </a:p>
        </p:txBody>
      </p:sp>
      <p:sp>
        <p:nvSpPr>
          <p:cNvPr id="10" name="Isosceles Triangle 9">
            <a:extLst>
              <a:ext uri="{FF2B5EF4-FFF2-40B4-BE49-F238E27FC236}">
                <a16:creationId xmlns:a16="http://schemas.microsoft.com/office/drawing/2014/main" id="{C59E7956-3885-4003-AA09-90D9DE4670B5}"/>
              </a:ext>
            </a:extLst>
          </p:cNvPr>
          <p:cNvSpPr/>
          <p:nvPr userDrawn="1"/>
        </p:nvSpPr>
        <p:spPr>
          <a:xfrm>
            <a:off x="11107712" y="3282849"/>
            <a:ext cx="1084289" cy="3575153"/>
          </a:xfrm>
          <a:prstGeom prst="triangle">
            <a:avLst>
              <a:gd name="adj" fmla="val 100000"/>
            </a:avLst>
          </a:prstGeom>
          <a:solidFill>
            <a:srgbClr val="18B6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11" name="Isosceles Triangle 10">
            <a:extLst>
              <a:ext uri="{FF2B5EF4-FFF2-40B4-BE49-F238E27FC236}">
                <a16:creationId xmlns:a16="http://schemas.microsoft.com/office/drawing/2014/main" id="{CDF74756-7076-4C9D-873B-19416C3CF16E}"/>
              </a:ext>
            </a:extLst>
          </p:cNvPr>
          <p:cNvSpPr/>
          <p:nvPr userDrawn="1"/>
        </p:nvSpPr>
        <p:spPr>
          <a:xfrm rot="10800000">
            <a:off x="-32096" y="0"/>
            <a:ext cx="1937287" cy="6261320"/>
          </a:xfrm>
          <a:prstGeom prst="triangle">
            <a:avLst>
              <a:gd name="adj" fmla="val 100000"/>
            </a:avLst>
          </a:prstGeom>
          <a:gradFill flip="none" rotWithShape="1">
            <a:gsLst>
              <a:gs pos="51000">
                <a:srgbClr val="6ACD60"/>
              </a:gs>
              <a:gs pos="0">
                <a:srgbClr val="29B984"/>
              </a:gs>
              <a:gs pos="100000">
                <a:srgbClr val="AAE13C">
                  <a:alpha val="93333"/>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pic>
        <p:nvPicPr>
          <p:cNvPr id="9" name="Picture 2" descr="Brillio">
            <a:extLst>
              <a:ext uri="{FF2B5EF4-FFF2-40B4-BE49-F238E27FC236}">
                <a16:creationId xmlns:a16="http://schemas.microsoft.com/office/drawing/2014/main" id="{9B35DE09-2665-4C74-BC3C-B08A7D68BD3E}"/>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01323" y="264611"/>
            <a:ext cx="940372" cy="3949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A4F19B81-A20C-4F6C-9EBD-D528BACBB93F}"/>
              </a:ext>
            </a:extLst>
          </p:cNvPr>
          <p:cNvSpPr>
            <a:spLocks noGrp="1"/>
          </p:cNvSpPr>
          <p:nvPr>
            <p:ph type="body" sz="quarter" idx="12"/>
          </p:nvPr>
        </p:nvSpPr>
        <p:spPr>
          <a:xfrm>
            <a:off x="1936750" y="1668462"/>
            <a:ext cx="9416513" cy="43954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9267298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dirty="0"/>
              <a:t>©2022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509946"/>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40726160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5759" y="2276856"/>
            <a:ext cx="6630463" cy="2218944"/>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65760" y="4654296"/>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65759" y="5071605"/>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dirty="0"/>
          </a:p>
        </p:txBody>
      </p:sp>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bg1"/>
                </a:solidFill>
                <a:latin typeface="Arial" panose="020B0604020202020204" pitchFamily="34" charset="0"/>
                <a:cs typeface="Arial" panose="020B0604020202020204" pitchFamily="34" charset="0"/>
              </a:rPr>
              <a:t>©2024</a:t>
            </a:r>
            <a:r>
              <a:rPr lang="en-US" sz="1000" b="0" i="0" baseline="0" dirty="0">
                <a:solidFill>
                  <a:schemeClr val="bg1"/>
                </a:solidFill>
                <a:latin typeface="Arial" panose="020B0604020202020204" pitchFamily="34" charset="0"/>
                <a:cs typeface="Arial" panose="020B0604020202020204" pitchFamily="34" charset="0"/>
              </a:rPr>
              <a:t> Brillio  |  Proprietary &amp; Confidential</a:t>
            </a:r>
            <a:endParaRPr lang="en-US" sz="1000" b="0" i="0" dirty="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691640" cy="716956"/>
          </a:xfrm>
          <a:prstGeom prst="rect">
            <a:avLst/>
          </a:prstGeom>
        </p:spPr>
      </p:pic>
    </p:spTree>
    <p:extLst>
      <p:ext uri="{BB962C8B-B14F-4D97-AF65-F5344CB8AC3E}">
        <p14:creationId xmlns:p14="http://schemas.microsoft.com/office/powerpoint/2010/main" val="30598327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rillio_Agenda slide-Dark">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bg1"/>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bg1"/>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bg1"/>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1"/>
            <a:r>
              <a:rPr lang="en-US"/>
              <a:t>Second level</a:t>
            </a:r>
          </a:p>
          <a:p>
            <a:pPr lvl="1"/>
            <a:r>
              <a:rPr lang="en-US"/>
              <a:t>Second level</a:t>
            </a:r>
          </a:p>
          <a:p>
            <a:pPr lvl="1"/>
            <a:r>
              <a:rPr lang="en-US"/>
              <a:t>Second level</a:t>
            </a:r>
          </a:p>
        </p:txBody>
      </p:sp>
      <p:pic>
        <p:nvPicPr>
          <p:cNvPr id="8" name="Picture 7" descr="A picture containing icon&#10;&#10;Description automatically generated">
            <a:extLst>
              <a:ext uri="{FF2B5EF4-FFF2-40B4-BE49-F238E27FC236}">
                <a16:creationId xmlns:a16="http://schemas.microsoft.com/office/drawing/2014/main" id="{A09B600B-361E-8641-95A1-C0996630F85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8">
            <a:extLst>
              <a:ext uri="{FF2B5EF4-FFF2-40B4-BE49-F238E27FC236}">
                <a16:creationId xmlns:a16="http://schemas.microsoft.com/office/drawing/2014/main" id="{A685FACF-296F-BA4D-A344-50044DB6C33B}"/>
              </a:ext>
            </a:extLst>
          </p:cNvPr>
          <p:cNvSpPr>
            <a:spLocks noGrp="1"/>
          </p:cNvSpPr>
          <p:nvPr>
            <p:ph type="sldNum" sz="quarter" idx="11"/>
          </p:nvPr>
        </p:nvSpPr>
        <p:spPr/>
        <p:txBody>
          <a:bodyPr/>
          <a:lstStyle/>
          <a:p>
            <a:r>
              <a:rPr lang="en-US" dirty="0"/>
              <a:t>©2022 Brillio  |  </a:t>
            </a:r>
            <a:fld id="{F1FE5E21-FD07-B44E-90A3-0254BFCDB49A}" type="slidenum">
              <a:rPr smtClean="0"/>
              <a:pPr/>
              <a:t>‹#›</a:t>
            </a:fld>
            <a:endParaRPr dirty="0"/>
          </a:p>
        </p:txBody>
      </p:sp>
    </p:spTree>
    <p:extLst>
      <p:ext uri="{BB962C8B-B14F-4D97-AF65-F5344CB8AC3E}">
        <p14:creationId xmlns:p14="http://schemas.microsoft.com/office/powerpoint/2010/main" val="660823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1675749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dirty="0"/>
              <a:t>©2022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9422342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illio_Text slide_1-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lvl1pPr>
            <a:lvl2pPr>
              <a:spcAft>
                <a:spcPts val="600"/>
              </a:spcAft>
              <a:defRPr sz="1600" baseline="0"/>
            </a:lvl2pPr>
            <a:lvl3pPr>
              <a:spcAft>
                <a:spcPts val="600"/>
              </a:spcAft>
              <a:defRPr sz="1600" baseline="0"/>
            </a:lvl3pPr>
            <a:lvl4pPr>
              <a:spcAft>
                <a:spcPts val="600"/>
              </a:spcAft>
              <a:defRPr sz="1600" baseline="0"/>
            </a:lvl4pPr>
            <a:lvl5pPr>
              <a:spcAft>
                <a:spcPts val="600"/>
              </a:spcAft>
              <a:defRPr sz="16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38217C44-A752-5A44-99D8-5359A575DC2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8">
            <a:extLst>
              <a:ext uri="{FF2B5EF4-FFF2-40B4-BE49-F238E27FC236}">
                <a16:creationId xmlns:a16="http://schemas.microsoft.com/office/drawing/2014/main" id="{0C7C0C99-4337-4144-A5B8-0AD6B7ED47D6}"/>
              </a:ext>
            </a:extLst>
          </p:cNvPr>
          <p:cNvSpPr>
            <a:spLocks noGrp="1"/>
          </p:cNvSpPr>
          <p:nvPr>
            <p:ph type="sldNum" sz="quarter" idx="11"/>
          </p:nvPr>
        </p:nvSpPr>
        <p:spPr/>
        <p:txBody>
          <a:bodyPr/>
          <a:lstStyle/>
          <a:p>
            <a:r>
              <a:rPr lang="en-US" dirty="0"/>
              <a:t>©2022 Brillio  |  </a:t>
            </a:r>
            <a:fld id="{F1FE5E21-FD07-B44E-90A3-0254BFCDB49A}" type="slidenum">
              <a:rPr smtClean="0"/>
              <a:pPr/>
              <a:t>‹#›</a:t>
            </a:fld>
            <a:endParaRPr dirty="0"/>
          </a:p>
        </p:txBody>
      </p:sp>
    </p:spTree>
    <p:extLst>
      <p:ext uri="{BB962C8B-B14F-4D97-AF65-F5344CB8AC3E}">
        <p14:creationId xmlns:p14="http://schemas.microsoft.com/office/powerpoint/2010/main" val="35992597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Brillio_Text slide_2-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560832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524000"/>
            <a:ext cx="560832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52353CEA-8F9C-654F-82AE-A315372A19CE}"/>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D3754A73-EA1E-8B40-B53A-1A23BDC226D1}"/>
              </a:ext>
            </a:extLst>
          </p:cNvPr>
          <p:cNvSpPr>
            <a:spLocks noGrp="1"/>
          </p:cNvSpPr>
          <p:nvPr>
            <p:ph type="sldNum" sz="quarter" idx="11"/>
          </p:nvPr>
        </p:nvSpPr>
        <p:spPr/>
        <p:txBody>
          <a:bodyPr/>
          <a:lstStyle/>
          <a:p>
            <a:r>
              <a:rPr lang="en-US" dirty="0"/>
              <a:t>©2022 Brillio  |  </a:t>
            </a:r>
            <a:fld id="{F1FE5E21-FD07-B44E-90A3-0254BFCDB49A}" type="slidenum">
              <a:rPr smtClean="0"/>
              <a:pPr/>
              <a:t>‹#›</a:t>
            </a:fld>
            <a:endParaRPr dirty="0"/>
          </a:p>
        </p:txBody>
      </p:sp>
      <p:cxnSp>
        <p:nvCxnSpPr>
          <p:cNvPr id="11" name="Straight Connector 10">
            <a:extLst>
              <a:ext uri="{FF2B5EF4-FFF2-40B4-BE49-F238E27FC236}">
                <a16:creationId xmlns:a16="http://schemas.microsoft.com/office/drawing/2014/main" id="{8AA7E595-7689-F043-95F5-42747B017E10}"/>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0318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Brillio_Text slide_2-Column: 1/3, 2/3-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3663315"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755269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D9051CCF-1619-0041-AF3F-DF121710EFA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7FAB132D-7F0A-4149-8E65-81E2DF016AF4}"/>
              </a:ext>
            </a:extLst>
          </p:cNvPr>
          <p:cNvSpPr>
            <a:spLocks noGrp="1"/>
          </p:cNvSpPr>
          <p:nvPr>
            <p:ph type="sldNum" sz="quarter" idx="11"/>
          </p:nvPr>
        </p:nvSpPr>
        <p:spPr/>
        <p:txBody>
          <a:bodyPr/>
          <a:lstStyle/>
          <a:p>
            <a:r>
              <a:rPr lang="en-US" dirty="0"/>
              <a:t>©2022 Brillio  |  </a:t>
            </a:r>
            <a:fld id="{F1FE5E21-FD07-B44E-90A3-0254BFCDB49A}" type="slidenum">
              <a:rPr smtClean="0"/>
              <a:pPr/>
              <a:t>‹#›</a:t>
            </a:fld>
            <a:endParaRPr dirty="0"/>
          </a:p>
        </p:txBody>
      </p:sp>
      <p:cxnSp>
        <p:nvCxnSpPr>
          <p:cNvPr id="11" name="Straight Connector 10">
            <a:extLst>
              <a:ext uri="{FF2B5EF4-FFF2-40B4-BE49-F238E27FC236}">
                <a16:creationId xmlns:a16="http://schemas.microsoft.com/office/drawing/2014/main" id="{362D90C5-37FF-2B41-B0D7-EECCBE161734}"/>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85679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Brillio_Text slide_2-Column: 2/3, 1/3-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753364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143874" y="1524000"/>
            <a:ext cx="3682365"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4B6A37E6-588E-B447-9061-8808FA6E8C5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C67874D7-3AE4-914F-B27E-FA8C4A74CA36}"/>
              </a:ext>
            </a:extLst>
          </p:cNvPr>
          <p:cNvSpPr>
            <a:spLocks noGrp="1"/>
          </p:cNvSpPr>
          <p:nvPr>
            <p:ph type="sldNum" sz="quarter" idx="11"/>
          </p:nvPr>
        </p:nvSpPr>
        <p:spPr/>
        <p:txBody>
          <a:bodyPr/>
          <a:lstStyle/>
          <a:p>
            <a:r>
              <a:rPr lang="en-US" dirty="0"/>
              <a:t>©2022 Brillio  |  </a:t>
            </a:r>
            <a:fld id="{F1FE5E21-FD07-B44E-90A3-0254BFCDB49A}" type="slidenum">
              <a:rPr smtClean="0"/>
              <a:pPr/>
              <a:t>‹#›</a:t>
            </a:fld>
            <a:endParaRPr dirty="0"/>
          </a:p>
        </p:txBody>
      </p:sp>
      <p:cxnSp>
        <p:nvCxnSpPr>
          <p:cNvPr id="11" name="Straight Connector 10">
            <a:extLst>
              <a:ext uri="{FF2B5EF4-FFF2-40B4-BE49-F238E27FC236}">
                <a16:creationId xmlns:a16="http://schemas.microsoft.com/office/drawing/2014/main" id="{4BB4331A-BF38-A449-8B38-E23F9A30F2FE}"/>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96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21FFA-604F-5364-1750-E9C0AE7D8BEC}"/>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8F46180-917A-28B0-54A8-69308C0003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B901C2-B832-A315-68A6-0367396B225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BC8FC41A-9BE5-F97F-2E0F-DF2C8BC19E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A92CF-E75E-FAFA-6406-FC58D84AE3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A7CF3AC-2DB3-0A25-DD49-AC688381ADB6}"/>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8" name="Footer Placeholder 7">
            <a:extLst>
              <a:ext uri="{FF2B5EF4-FFF2-40B4-BE49-F238E27FC236}">
                <a16:creationId xmlns:a16="http://schemas.microsoft.com/office/drawing/2014/main" id="{867401D8-9552-FF31-7E54-2D63883154E9}"/>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6859D42A-DB27-B3FA-88B3-622961667493}"/>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40104995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Brillio_Text slide_3-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59" y="1524000"/>
            <a:ext cx="3663315"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362585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168640" y="1524000"/>
            <a:ext cx="362585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DCE488DB-A8BA-5843-AE4E-13464982DC5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1" name="Slide Number Placeholder 10">
            <a:extLst>
              <a:ext uri="{FF2B5EF4-FFF2-40B4-BE49-F238E27FC236}">
                <a16:creationId xmlns:a16="http://schemas.microsoft.com/office/drawing/2014/main" id="{06BF12A5-BE15-3546-9A5E-73924E040DE7}"/>
              </a:ext>
            </a:extLst>
          </p:cNvPr>
          <p:cNvSpPr>
            <a:spLocks noGrp="1"/>
          </p:cNvSpPr>
          <p:nvPr>
            <p:ph type="sldNum" sz="quarter" idx="15"/>
          </p:nvPr>
        </p:nvSpPr>
        <p:spPr/>
        <p:txBody>
          <a:bodyPr/>
          <a:lstStyle/>
          <a:p>
            <a:r>
              <a:rPr lang="en-US" dirty="0"/>
              <a:t>©2022 Brillio  |  </a:t>
            </a:r>
            <a:fld id="{F1FE5E21-FD07-B44E-90A3-0254BFCDB49A}" type="slidenum">
              <a:rPr smtClean="0"/>
              <a:pPr/>
              <a:t>‹#›</a:t>
            </a:fld>
            <a:endParaRPr dirty="0"/>
          </a:p>
        </p:txBody>
      </p:sp>
      <p:cxnSp>
        <p:nvCxnSpPr>
          <p:cNvPr id="12" name="Straight Connector 11">
            <a:extLst>
              <a:ext uri="{FF2B5EF4-FFF2-40B4-BE49-F238E27FC236}">
                <a16:creationId xmlns:a16="http://schemas.microsoft.com/office/drawing/2014/main" id="{4056736C-7BC3-1442-8D30-BB14B1EB9EFF}"/>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54AF2F6-D427-8743-8B4A-1409646F4AB6}"/>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4782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Brillio_Text slide_4-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29184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621792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914400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icon&#10;&#10;Description automatically generated">
            <a:extLst>
              <a:ext uri="{FF2B5EF4-FFF2-40B4-BE49-F238E27FC236}">
                <a16:creationId xmlns:a16="http://schemas.microsoft.com/office/drawing/2014/main" id="{EA9704D5-DC68-094C-AF2B-4D625D5E177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2" name="Slide Number Placeholder 11">
            <a:extLst>
              <a:ext uri="{FF2B5EF4-FFF2-40B4-BE49-F238E27FC236}">
                <a16:creationId xmlns:a16="http://schemas.microsoft.com/office/drawing/2014/main" id="{AEA31C9C-E5EE-9F42-9056-58F5BFCEC86A}"/>
              </a:ext>
            </a:extLst>
          </p:cNvPr>
          <p:cNvSpPr>
            <a:spLocks noGrp="1"/>
          </p:cNvSpPr>
          <p:nvPr>
            <p:ph type="sldNum" sz="quarter" idx="16"/>
          </p:nvPr>
        </p:nvSpPr>
        <p:spPr/>
        <p:txBody>
          <a:bodyPr/>
          <a:lstStyle/>
          <a:p>
            <a:r>
              <a:rPr lang="en-US" dirty="0"/>
              <a:t>©2022 Brillio  |  </a:t>
            </a:r>
            <a:fld id="{F1FE5E21-FD07-B44E-90A3-0254BFCDB49A}" type="slidenum">
              <a:rPr smtClean="0"/>
              <a:pPr/>
              <a:t>‹#›</a:t>
            </a:fld>
            <a:endParaRPr dirty="0"/>
          </a:p>
        </p:txBody>
      </p:sp>
      <p:cxnSp>
        <p:nvCxnSpPr>
          <p:cNvPr id="13" name="Straight Connector 12">
            <a:extLst>
              <a:ext uri="{FF2B5EF4-FFF2-40B4-BE49-F238E27FC236}">
                <a16:creationId xmlns:a16="http://schemas.microsoft.com/office/drawing/2014/main" id="{F4181B86-EBB4-7E47-911E-5A465EA86252}"/>
              </a:ext>
            </a:extLst>
          </p:cNvPr>
          <p:cNvCxnSpPr/>
          <p:nvPr userDrawn="1"/>
        </p:nvCxnSpPr>
        <p:spPr>
          <a:xfrm>
            <a:off x="317913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C6698B-58BD-634C-8B18-B68880B76510}"/>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F117546-A46A-454D-BFDF-DCBBB966CF7B}"/>
              </a:ext>
            </a:extLst>
          </p:cNvPr>
          <p:cNvCxnSpPr/>
          <p:nvPr userDrawn="1"/>
        </p:nvCxnSpPr>
        <p:spPr>
          <a:xfrm>
            <a:off x="903058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6703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Brillio_Title only slide-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6" name="Picture 5" descr="A picture containing icon&#10;&#10;Description automatically generated">
            <a:extLst>
              <a:ext uri="{FF2B5EF4-FFF2-40B4-BE49-F238E27FC236}">
                <a16:creationId xmlns:a16="http://schemas.microsoft.com/office/drawing/2014/main" id="{2C49ED69-80A3-074D-A2B6-7C36DB4C70C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8" name="Slide Number Placeholder 7">
            <a:extLst>
              <a:ext uri="{FF2B5EF4-FFF2-40B4-BE49-F238E27FC236}">
                <a16:creationId xmlns:a16="http://schemas.microsoft.com/office/drawing/2014/main" id="{BF32F4B4-0D7E-DE49-8E50-0E119455637B}"/>
              </a:ext>
            </a:extLst>
          </p:cNvPr>
          <p:cNvSpPr>
            <a:spLocks noGrp="1"/>
          </p:cNvSpPr>
          <p:nvPr>
            <p:ph type="sldNum" sz="quarter" idx="11"/>
          </p:nvPr>
        </p:nvSpPr>
        <p:spPr/>
        <p:txBody>
          <a:bodyPr/>
          <a:lstStyle/>
          <a:p>
            <a:r>
              <a:rPr lang="en-US" dirty="0"/>
              <a:t>©2022 Brillio  |  </a:t>
            </a:r>
            <a:fld id="{F1FE5E21-FD07-B44E-90A3-0254BFCDB49A}" type="slidenum">
              <a:rPr smtClean="0"/>
              <a:pPr/>
              <a:t>‹#›</a:t>
            </a:fld>
            <a:endParaRPr dirty="0"/>
          </a:p>
        </p:txBody>
      </p:sp>
    </p:spTree>
    <p:extLst>
      <p:ext uri="{BB962C8B-B14F-4D97-AF65-F5344CB8AC3E}">
        <p14:creationId xmlns:p14="http://schemas.microsoft.com/office/powerpoint/2010/main" val="11167951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rillio_Blank slide-Dark">
    <p:spTree>
      <p:nvGrpSpPr>
        <p:cNvPr id="1" name=""/>
        <p:cNvGrpSpPr/>
        <p:nvPr/>
      </p:nvGrpSpPr>
      <p:grpSpPr>
        <a:xfrm>
          <a:off x="0" y="0"/>
          <a:ext cx="0" cy="0"/>
          <a:chOff x="0" y="0"/>
          <a:chExt cx="0" cy="0"/>
        </a:xfrm>
      </p:grpSpPr>
      <p:pic>
        <p:nvPicPr>
          <p:cNvPr id="5" name="Picture 4" descr="A picture containing icon&#10;&#10;Description automatically generated">
            <a:extLst>
              <a:ext uri="{FF2B5EF4-FFF2-40B4-BE49-F238E27FC236}">
                <a16:creationId xmlns:a16="http://schemas.microsoft.com/office/drawing/2014/main" id="{28D6DB58-1443-E047-A356-ED276F2EA3E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7" name="Slide Number Placeholder 6">
            <a:extLst>
              <a:ext uri="{FF2B5EF4-FFF2-40B4-BE49-F238E27FC236}">
                <a16:creationId xmlns:a16="http://schemas.microsoft.com/office/drawing/2014/main" id="{17A0C4C1-B694-F043-89B7-FD92B764ED30}"/>
              </a:ext>
            </a:extLst>
          </p:cNvPr>
          <p:cNvSpPr>
            <a:spLocks noGrp="1"/>
          </p:cNvSpPr>
          <p:nvPr>
            <p:ph type="sldNum" sz="quarter" idx="11"/>
          </p:nvPr>
        </p:nvSpPr>
        <p:spPr/>
        <p:txBody>
          <a:bodyPr/>
          <a:lstStyle/>
          <a:p>
            <a:r>
              <a:rPr lang="en-US" dirty="0"/>
              <a:t>©2022 Brillio  |  </a:t>
            </a:r>
            <a:fld id="{F1FE5E21-FD07-B44E-90A3-0254BFCDB49A}" type="slidenum">
              <a:rPr smtClean="0"/>
              <a:pPr/>
              <a:t>‹#›</a:t>
            </a:fld>
            <a:endParaRPr dirty="0"/>
          </a:p>
        </p:txBody>
      </p:sp>
    </p:spTree>
    <p:extLst>
      <p:ext uri="{BB962C8B-B14F-4D97-AF65-F5344CB8AC3E}">
        <p14:creationId xmlns:p14="http://schemas.microsoft.com/office/powerpoint/2010/main" val="18570061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userDrawn="1"/>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5" y="381000"/>
            <a:ext cx="5072513" cy="5349875"/>
          </a:xfrm>
        </p:spPr>
        <p:txBody>
          <a:bodyPr lIns="0" tIns="0" rIns="457200" bIns="0"/>
          <a:lstStyle>
            <a:lvl1pPr marL="9525" indent="0">
              <a:buNone/>
              <a:tabLst/>
              <a:defRPr sz="2400" b="1" baseline="0">
                <a:solidFill>
                  <a:srgbClr val="2CC84D"/>
                </a:solidFill>
              </a:defRPr>
            </a:lvl1pPr>
            <a:lvl2pPr marL="9525" indent="0">
              <a:buNone/>
              <a:tabLst/>
              <a:defRPr sz="2400" baseline="0">
                <a:solidFill>
                  <a:schemeClr val="bg1"/>
                </a:solidFill>
              </a:defRPr>
            </a:lvl2pPr>
            <a:lvl3pPr marL="9525" indent="0">
              <a:buNone/>
              <a:tabLst/>
              <a:defRPr sz="2400" baseline="0">
                <a:solidFill>
                  <a:schemeClr val="bg1"/>
                </a:solidFill>
              </a:defRPr>
            </a:lvl3pPr>
            <a:lvl4pPr marL="9525" indent="0">
              <a:buNone/>
              <a:tabLst/>
              <a:defRPr sz="2400" baseline="0">
                <a:solidFill>
                  <a:schemeClr val="bg1"/>
                </a:solidFill>
              </a:defRPr>
            </a:lvl4pPr>
            <a:lvl5pPr marL="9525"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US" dirty="0"/>
              <a:t>©2022 Brillio  |  </a:t>
            </a:r>
            <a:fld id="{F1FE5E21-FD07-B44E-90A3-0254BFCDB49A}" type="slidenum">
              <a:rPr lang="en-US" smtClean="0"/>
              <a:pPr/>
              <a:t>‹#›</a:t>
            </a:fld>
            <a:endParaRPr lang="en-US" dirty="0"/>
          </a:p>
        </p:txBody>
      </p:sp>
    </p:spTree>
    <p:extLst>
      <p:ext uri="{BB962C8B-B14F-4D97-AF65-F5344CB8AC3E}">
        <p14:creationId xmlns:p14="http://schemas.microsoft.com/office/powerpoint/2010/main" val="6134126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5760" y="2276856"/>
            <a:ext cx="6630463" cy="2218944"/>
          </a:xfrm>
        </p:spPr>
        <p:txBody>
          <a:bodyPr anchor="t" anchorCtr="0"/>
          <a:lstStyle>
            <a:lvl1pPr marL="0" indent="0" algn="l">
              <a:lnSpc>
                <a:spcPts val="5200"/>
              </a:lnSpc>
              <a:buFont typeface="Arial" panose="020B0604020202020204" pitchFamily="34" charset="0"/>
              <a:buNone/>
              <a:defRPr sz="4400" b="0" i="0">
                <a:solidFill>
                  <a:schemeClr val="tx1"/>
                </a:solidFill>
                <a:latin typeface="Helvetica Neue" panose="02000503000000020004" pitchFamily="2" charset="0"/>
                <a:cs typeface="Helvetica Neue" panose="02000503000000020004" pitchFamily="2" charset="0"/>
              </a:defRPr>
            </a:lvl1pPr>
          </a:lstStyle>
          <a:p>
            <a:r>
              <a:rPr lang="en-US"/>
              <a:t>Click to edit Master title style</a:t>
            </a:r>
          </a:p>
        </p:txBody>
      </p:sp>
      <p:sp>
        <p:nvSpPr>
          <p:cNvPr id="3" name="Subtitle 2"/>
          <p:cNvSpPr>
            <a:spLocks noGrp="1"/>
          </p:cNvSpPr>
          <p:nvPr>
            <p:ph type="subTitle" idx="1"/>
          </p:nvPr>
        </p:nvSpPr>
        <p:spPr>
          <a:xfrm>
            <a:off x="365760" y="4654296"/>
            <a:ext cx="5598478" cy="451104"/>
          </a:xfrm>
        </p:spPr>
        <p:txBody>
          <a:bodyPr>
            <a:noAutofit/>
          </a:bodyPr>
          <a:lstStyle>
            <a:lvl1pPr marL="0" indent="0" algn="l">
              <a:buFont typeface="Arial" panose="020B0604020202020204" pitchFamily="34" charset="0"/>
              <a:buNone/>
              <a:defRPr sz="1600" b="0" i="0" baseline="0">
                <a:solidFill>
                  <a:schemeClr val="tx2"/>
                </a:solidFill>
                <a:latin typeface="Helvetica Neue" panose="02000503000000020004" pitchFamily="2" charset="0"/>
                <a:cs typeface="Helvetica Neue" panose="0200050300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65759" y="5071605"/>
            <a:ext cx="5598479" cy="325142"/>
          </a:xfrm>
          <a:prstGeom prst="rect">
            <a:avLst/>
          </a:prstGeom>
        </p:spPr>
        <p:txBody>
          <a:bodyPr lIns="0"/>
          <a:lstStyle>
            <a:lvl1pPr algn="l">
              <a:defRPr sz="1600" b="0" i="0" baseline="0">
                <a:solidFill>
                  <a:schemeClr val="tx2"/>
                </a:solidFill>
                <a:latin typeface="Helvetica Neue" panose="02000503000000020004" pitchFamily="2" charset="0"/>
                <a:cs typeface="Helvetica Neue" panose="02000503000000020004" pitchFamily="2" charset="0"/>
              </a:defRPr>
            </a:lvl1pPr>
          </a:lstStyle>
          <a:p>
            <a:fld id="{4B9F2FC2-E70D-46AB-87F0-5B8AFA6953CB}" type="datetimeFigureOut">
              <a:rPr lang="en-IN" smtClean="0"/>
              <a:pPr/>
              <a:t>28-05-2024</a:t>
            </a:fld>
            <a:endParaRPr lang="en-IN" dirty="0"/>
          </a:p>
        </p:txBody>
      </p:sp>
      <p:sp>
        <p:nvSpPr>
          <p:cNvPr id="8" name="TextBox 7"/>
          <p:cNvSpPr txBox="1"/>
          <p:nvPr/>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tx2"/>
                </a:solidFill>
                <a:latin typeface="Helvetica Neue" panose="02000503000000020004" pitchFamily="2" charset="0"/>
                <a:cs typeface="Helvetica Neue" panose="02000503000000020004" pitchFamily="2" charset="0"/>
              </a:rPr>
              <a:t>©2024</a:t>
            </a:r>
            <a:r>
              <a:rPr lang="en-US" sz="1000" b="0" i="0" baseline="0" dirty="0">
                <a:solidFill>
                  <a:schemeClr val="tx2"/>
                </a:solidFill>
                <a:latin typeface="Helvetica Neue" panose="02000503000000020004" pitchFamily="2" charset="0"/>
                <a:cs typeface="Helvetica Neue" panose="02000503000000020004" pitchFamily="2" charset="0"/>
              </a:rPr>
              <a:t> Brillio  |  Proprietary &amp; Confidential</a:t>
            </a:r>
            <a:endParaRPr lang="en-US" sz="1000" b="0" i="0" dirty="0">
              <a:solidFill>
                <a:schemeClr val="tx2"/>
              </a:solidFill>
              <a:latin typeface="Helvetica Neue" panose="02000503000000020004" pitchFamily="2" charset="0"/>
              <a:cs typeface="Helvetica Neue" panose="02000503000000020004" pitchFamily="2" charset="0"/>
            </a:endParaRP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93405" y="381000"/>
            <a:ext cx="1691640" cy="714613"/>
          </a:xfrm>
          <a:prstGeom prst="rect">
            <a:avLst/>
          </a:prstGeom>
        </p:spPr>
      </p:pic>
    </p:spTree>
    <p:extLst>
      <p:ext uri="{BB962C8B-B14F-4D97-AF65-F5344CB8AC3E}">
        <p14:creationId xmlns:p14="http://schemas.microsoft.com/office/powerpoint/2010/main" val="36577251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Helvetica Neue" panose="02000503000000020004" pitchFamily="2"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Helvetica Neue" panose="02000503000000020004" pitchFamily="2"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Helvetica Neue" panose="02000503000000020004" pitchFamily="2" charset="0"/>
              </a:defRPr>
            </a:lvl3pPr>
            <a:lvl4pPr marL="234690" indent="0">
              <a:lnSpc>
                <a:spcPts val="2100"/>
              </a:lnSpc>
              <a:spcBef>
                <a:spcPts val="400"/>
              </a:spcBef>
              <a:spcAft>
                <a:spcPts val="600"/>
              </a:spcAft>
              <a:buFont typeface="+mj-lt"/>
              <a:buNone/>
              <a:defRPr sz="1800" b="0" i="0" baseline="0">
                <a:solidFill>
                  <a:schemeClr val="tx2"/>
                </a:solidFill>
                <a:latin typeface="Helvetica Neue" panose="02000503000000020004" pitchFamily="2" charset="0"/>
              </a:defRPr>
            </a:lvl4pPr>
            <a:lvl5pPr marL="234690" indent="0" algn="l">
              <a:lnSpc>
                <a:spcPts val="2100"/>
              </a:lnSpc>
              <a:spcAft>
                <a:spcPts val="600"/>
              </a:spcAft>
              <a:buFont typeface="+mj-lt"/>
              <a:buNone/>
              <a:defRPr sz="1800" b="0" i="0" baseline="0">
                <a:solidFill>
                  <a:schemeClr val="tx2"/>
                </a:solidFill>
                <a:latin typeface="Helvetica Neue" panose="02000503000000020004" pitchFamily="2"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fld id="{AF537CAA-CF19-4AFD-B448-318709DBD37B}" type="slidenum">
              <a:rPr lang="en-IN" smtClean="0"/>
              <a:t>‹#›</a:t>
            </a:fld>
            <a:endParaRPr lang="en-IN" dirty="0"/>
          </a:p>
        </p:txBody>
      </p:sp>
    </p:spTree>
    <p:extLst>
      <p:ext uri="{BB962C8B-B14F-4D97-AF65-F5344CB8AC3E}">
        <p14:creationId xmlns:p14="http://schemas.microsoft.com/office/powerpoint/2010/main" val="22419660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9390329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9921"/>
            <a:ext cx="9887803" cy="3621577"/>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6192974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b="0" i="0" dirty="0">
              <a:latin typeface="Helvetica Neue" panose="02000503000000020004" pitchFamily="2" charset="0"/>
            </a:endParaRPr>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0"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spTree>
    <p:extLst>
      <p:ext uri="{BB962C8B-B14F-4D97-AF65-F5344CB8AC3E}">
        <p14:creationId xmlns:p14="http://schemas.microsoft.com/office/powerpoint/2010/main" val="932587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33B35-8479-2C4A-2174-5BDC3455872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99367244-9AAF-69A8-6DDD-D1BAFE696B9F}"/>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4" name="Footer Placeholder 3">
            <a:extLst>
              <a:ext uri="{FF2B5EF4-FFF2-40B4-BE49-F238E27FC236}">
                <a16:creationId xmlns:a16="http://schemas.microsoft.com/office/drawing/2014/main" id="{7CF78E3B-E3A8-B023-1983-C378C45692D3}"/>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BAB63786-AE8E-890E-EB6D-2CDB8ED60671}"/>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20473244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rillio_Text over image slide: Gradien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b="0" i="0" dirty="0">
              <a:latin typeface="Helvetica Neue" panose="02000503000000020004" pitchFamily="2" charset="0"/>
            </a:endParaRP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5" y="381000"/>
            <a:ext cx="5072513" cy="5349875"/>
          </a:xfrm>
        </p:spPr>
        <p:txBody>
          <a:bodyPr lIns="0" tIns="0" rIns="457200" bIns="0"/>
          <a:lstStyle>
            <a:lvl1pPr marL="9525" indent="0">
              <a:buNone/>
              <a:tabLst/>
              <a:defRPr sz="2400" b="1" baseline="0">
                <a:solidFill>
                  <a:srgbClr val="2CC84D"/>
                </a:solidFill>
              </a:defRPr>
            </a:lvl1pPr>
            <a:lvl2pPr marL="9525" indent="0">
              <a:buNone/>
              <a:tabLst/>
              <a:defRPr sz="2400" baseline="0">
                <a:solidFill>
                  <a:schemeClr val="bg1"/>
                </a:solidFill>
              </a:defRPr>
            </a:lvl2pPr>
            <a:lvl3pPr marL="9525" indent="0">
              <a:buNone/>
              <a:tabLst/>
              <a:defRPr sz="2400" baseline="0">
                <a:solidFill>
                  <a:schemeClr val="bg1"/>
                </a:solidFill>
              </a:defRPr>
            </a:lvl3pPr>
            <a:lvl4pPr marL="9525" indent="0">
              <a:buNone/>
              <a:tabLst/>
              <a:defRPr sz="2400" baseline="0">
                <a:solidFill>
                  <a:schemeClr val="bg1"/>
                </a:solidFill>
              </a:defRPr>
            </a:lvl4pPr>
            <a:lvl5pPr marL="9525"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5" name="Slide Number Placeholder 10">
            <a:extLst>
              <a:ext uri="{FF2B5EF4-FFF2-40B4-BE49-F238E27FC236}">
                <a16:creationId xmlns:a16="http://schemas.microsoft.com/office/drawing/2014/main" id="{F297B358-485A-E748-9AB7-B1C22AFA1D5A}"/>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spTree>
    <p:extLst>
      <p:ext uri="{BB962C8B-B14F-4D97-AF65-F5344CB8AC3E}">
        <p14:creationId xmlns:p14="http://schemas.microsoft.com/office/powerpoint/2010/main" val="2165848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spTree>
    <p:extLst>
      <p:ext uri="{BB962C8B-B14F-4D97-AF65-F5344CB8AC3E}">
        <p14:creationId xmlns:p14="http://schemas.microsoft.com/office/powerpoint/2010/main" val="23307669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Brillio_Text slide_2-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524000"/>
            <a:ext cx="560832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34CB5D87-9C63-F742-8789-467D066A468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0A7CBB16-E582-0C40-AE06-BA402F61B92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cxnSp>
        <p:nvCxnSpPr>
          <p:cNvPr id="12" name="Straight Connector 11">
            <a:extLst>
              <a:ext uri="{FF2B5EF4-FFF2-40B4-BE49-F238E27FC236}">
                <a16:creationId xmlns:a16="http://schemas.microsoft.com/office/drawing/2014/main" id="{ECA16358-F534-8F44-9052-ED8F6243B021}"/>
              </a:ext>
            </a:extLst>
          </p:cNvPr>
          <p:cNvCxnSpPr/>
          <p:nvPr/>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08863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Brillio_Text slide_2-Column: 1/3, 2/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755269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0CB1FD68-14F9-FE47-BF6A-F5E2D40B20D6}"/>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F00C1D94-4F81-1546-B652-53D50C45A20D}"/>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cxnSp>
        <p:nvCxnSpPr>
          <p:cNvPr id="12" name="Straight Connector 11">
            <a:extLst>
              <a:ext uri="{FF2B5EF4-FFF2-40B4-BE49-F238E27FC236}">
                <a16:creationId xmlns:a16="http://schemas.microsoft.com/office/drawing/2014/main" id="{E086B0DF-D1AA-9E44-A17A-5AC6AEECFE14}"/>
              </a:ext>
            </a:extLst>
          </p:cNvPr>
          <p:cNvCxnSpPr/>
          <p:nvPr/>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9807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Brillio_Text slide_2-Column: 2/3, 1/3-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753364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143874" y="1524000"/>
            <a:ext cx="368236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7248002A-364A-3C41-B621-7CFA698732E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D7B71F9E-FFDF-D64D-A048-B3B4C35F9B23}"/>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cxnSp>
        <p:nvCxnSpPr>
          <p:cNvPr id="12" name="Straight Connector 11">
            <a:extLst>
              <a:ext uri="{FF2B5EF4-FFF2-40B4-BE49-F238E27FC236}">
                <a16:creationId xmlns:a16="http://schemas.microsoft.com/office/drawing/2014/main" id="{99C4DDD6-1D90-E948-A659-5FF6322AFAB6}"/>
              </a:ext>
            </a:extLst>
          </p:cNvPr>
          <p:cNvCxnSpPr/>
          <p:nvPr/>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21371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Brillio_Text slide_3-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59" y="1524000"/>
            <a:ext cx="3663315"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168640" y="1524000"/>
            <a:ext cx="3625850" cy="420687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icon&#10;&#10;Description automatically generated">
            <a:extLst>
              <a:ext uri="{FF2B5EF4-FFF2-40B4-BE49-F238E27FC236}">
                <a16:creationId xmlns:a16="http://schemas.microsoft.com/office/drawing/2014/main" id="{888F6ED4-3138-304A-80F6-0C7849857F3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31DBF3D1-5D71-B84B-930F-EE2A488D3BA4}"/>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cxnSp>
        <p:nvCxnSpPr>
          <p:cNvPr id="13" name="Straight Connector 12">
            <a:extLst>
              <a:ext uri="{FF2B5EF4-FFF2-40B4-BE49-F238E27FC236}">
                <a16:creationId xmlns:a16="http://schemas.microsoft.com/office/drawing/2014/main" id="{91663619-FBBC-D442-AFAB-520DE097918D}"/>
              </a:ext>
            </a:extLst>
          </p:cNvPr>
          <p:cNvCxnSpPr/>
          <p:nvPr/>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9ADF1C-4CF6-2541-995D-FB35856D1159}"/>
              </a:ext>
            </a:extLst>
          </p:cNvPr>
          <p:cNvCxnSpPr/>
          <p:nvPr/>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27549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Brillio_Text slide_4-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29184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621792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9144000" y="1524000"/>
            <a:ext cx="2682240" cy="4206875"/>
          </a:xfrm>
        </p:spPr>
        <p:txBody>
          <a:bodyPr/>
          <a:lstStyle>
            <a:lvl1pPr marL="0" indent="0">
              <a:buNone/>
              <a:defRPr sz="1600" b="1" baseline="0">
                <a:solidFill>
                  <a:schemeClr val="tx2"/>
                </a:solidFill>
              </a:defRPr>
            </a:lvl1pPr>
            <a:lvl2pPr>
              <a:defRPr sz="1600" baseline="0">
                <a:solidFill>
                  <a:schemeClr val="tx2"/>
                </a:solidFill>
              </a:defRPr>
            </a:lvl2pPr>
            <a:lvl3pPr>
              <a:defRPr sz="1600" baseline="0">
                <a:solidFill>
                  <a:schemeClr val="tx2"/>
                </a:solidFill>
              </a:defRPr>
            </a:lvl3pPr>
            <a:lvl4pPr>
              <a:defRPr sz="1600" baseline="0">
                <a:solidFill>
                  <a:schemeClr val="tx2"/>
                </a:solidFill>
              </a:defRPr>
            </a:lvl4pPr>
            <a:lvl5pPr>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A picture containing icon&#10;&#10;Description automatically generated">
            <a:extLst>
              <a:ext uri="{FF2B5EF4-FFF2-40B4-BE49-F238E27FC236}">
                <a16:creationId xmlns:a16="http://schemas.microsoft.com/office/drawing/2014/main" id="{A740E73F-1776-4C42-ABED-B51FA3ADEF8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2" name="Slide Number Placeholder 10">
            <a:extLst>
              <a:ext uri="{FF2B5EF4-FFF2-40B4-BE49-F238E27FC236}">
                <a16:creationId xmlns:a16="http://schemas.microsoft.com/office/drawing/2014/main" id="{79DFD098-5171-5747-8B63-78DD1B299910}"/>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cxnSp>
        <p:nvCxnSpPr>
          <p:cNvPr id="13" name="Straight Connector 12">
            <a:extLst>
              <a:ext uri="{FF2B5EF4-FFF2-40B4-BE49-F238E27FC236}">
                <a16:creationId xmlns:a16="http://schemas.microsoft.com/office/drawing/2014/main" id="{8E7C3C1B-E5B5-2548-84A8-5032EB1432DE}"/>
              </a:ext>
            </a:extLst>
          </p:cNvPr>
          <p:cNvCxnSpPr/>
          <p:nvPr/>
        </p:nvCxnSpPr>
        <p:spPr>
          <a:xfrm>
            <a:off x="317913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7CE440-FE24-9147-8F23-C62C05699004}"/>
              </a:ext>
            </a:extLst>
          </p:cNvPr>
          <p:cNvCxnSpPr/>
          <p:nvPr/>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97C0AC-8F24-1D4A-8770-9249F659CD0F}"/>
              </a:ext>
            </a:extLst>
          </p:cNvPr>
          <p:cNvCxnSpPr/>
          <p:nvPr/>
        </p:nvCxnSpPr>
        <p:spPr>
          <a:xfrm>
            <a:off x="903058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42086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Brillio_Title only slide-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D65055FB-54FD-674A-AD0A-92E1D45B08F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8" name="Slide Number Placeholder 10">
            <a:extLst>
              <a:ext uri="{FF2B5EF4-FFF2-40B4-BE49-F238E27FC236}">
                <a16:creationId xmlns:a16="http://schemas.microsoft.com/office/drawing/2014/main" id="{1FB6BB63-B093-E847-B4B0-0ECF800ADF8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spTree>
    <p:extLst>
      <p:ext uri="{BB962C8B-B14F-4D97-AF65-F5344CB8AC3E}">
        <p14:creationId xmlns:p14="http://schemas.microsoft.com/office/powerpoint/2010/main" val="16134314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rillio_Blank slide-Light">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2851F077-B501-4F4A-9865-7723A0CE217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0" name="Slide Number Placeholder 10">
            <a:extLst>
              <a:ext uri="{FF2B5EF4-FFF2-40B4-BE49-F238E27FC236}">
                <a16:creationId xmlns:a16="http://schemas.microsoft.com/office/drawing/2014/main" id="{1E7815C5-F1A2-E14B-9035-9705ECE1E375}"/>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spTree>
    <p:extLst>
      <p:ext uri="{BB962C8B-B14F-4D97-AF65-F5344CB8AC3E}">
        <p14:creationId xmlns:p14="http://schemas.microsoft.com/office/powerpoint/2010/main" val="40214116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1950827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F59CD7-4C77-1F5D-D3EA-ADAB6B9C2388}"/>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3" name="Footer Placeholder 2">
            <a:extLst>
              <a:ext uri="{FF2B5EF4-FFF2-40B4-BE49-F238E27FC236}">
                <a16:creationId xmlns:a16="http://schemas.microsoft.com/office/drawing/2014/main" id="{59446538-2DC8-4092-EE7D-90DCF9D054F4}"/>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AF938CFA-0774-F3CB-2EE9-004698E71AC6}"/>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2579950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Helvetica Neue" panose="02000503000000020004" pitchFamily="2"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Helvetica Neue" panose="02000503000000020004" pitchFamily="2"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Helvetica Neue" panose="02000503000000020004" pitchFamily="2" charset="0"/>
              </a:defRPr>
            </a:lvl3pPr>
            <a:lvl4pPr marL="234690" indent="0">
              <a:lnSpc>
                <a:spcPts val="2100"/>
              </a:lnSpc>
              <a:spcBef>
                <a:spcPts val="400"/>
              </a:spcBef>
              <a:spcAft>
                <a:spcPts val="600"/>
              </a:spcAft>
              <a:buFont typeface="+mj-lt"/>
              <a:buNone/>
              <a:defRPr sz="1800" b="0" i="0" baseline="0">
                <a:solidFill>
                  <a:schemeClr val="tx2"/>
                </a:solidFill>
                <a:latin typeface="Helvetica Neue" panose="02000503000000020004" pitchFamily="2" charset="0"/>
              </a:defRPr>
            </a:lvl4pPr>
            <a:lvl5pPr marL="234690" indent="0" algn="l">
              <a:lnSpc>
                <a:spcPts val="2100"/>
              </a:lnSpc>
              <a:spcAft>
                <a:spcPts val="600"/>
              </a:spcAft>
              <a:buFont typeface="+mj-lt"/>
              <a:buNone/>
              <a:defRPr sz="1800" b="0" i="0" baseline="0">
                <a:solidFill>
                  <a:schemeClr val="tx2"/>
                </a:solidFill>
                <a:latin typeface="Helvetica Neue" panose="02000503000000020004" pitchFamily="2"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fld id="{AF537CAA-CF19-4AFD-B448-318709DBD37B}" type="slidenum">
              <a:rPr lang="en-IN" smtClean="0"/>
              <a:t>‹#›</a:t>
            </a:fld>
            <a:endParaRPr lang="en-IN" dirty="0"/>
          </a:p>
        </p:txBody>
      </p:sp>
    </p:spTree>
    <p:extLst>
      <p:ext uri="{BB962C8B-B14F-4D97-AF65-F5344CB8AC3E}">
        <p14:creationId xmlns:p14="http://schemas.microsoft.com/office/powerpoint/2010/main" val="1063860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Brillio_Divider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457200" anchor="ctr"/>
          <a:lstStyle>
            <a:lvl1pPr>
              <a:defRPr sz="5400" b="0">
                <a:solidFill>
                  <a:schemeClr val="tx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255172B5-C1E7-6544-9E72-85541B27FC0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11627866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27420148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spTree>
    <p:extLst>
      <p:ext uri="{BB962C8B-B14F-4D97-AF65-F5344CB8AC3E}">
        <p14:creationId xmlns:p14="http://schemas.microsoft.com/office/powerpoint/2010/main" val="20647025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Brillio_Agenda slide-Dark">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bg1"/>
                </a:solidFill>
                <a:latin typeface="Helvetica Neue" panose="02000503000000020004" pitchFamily="2"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bg1"/>
                </a:solidFill>
                <a:latin typeface="Helvetica Neue" panose="02000503000000020004" pitchFamily="2" charset="0"/>
                <a:ea typeface="+mn-ea"/>
                <a:cs typeface="+mn-cs"/>
              </a:defRPr>
            </a:lvl2pPr>
            <a:lvl3pPr marL="234690" indent="0">
              <a:lnSpc>
                <a:spcPts val="2100"/>
              </a:lnSpc>
              <a:spcBef>
                <a:spcPts val="400"/>
              </a:spcBef>
              <a:spcAft>
                <a:spcPts val="600"/>
              </a:spcAft>
              <a:buFont typeface="+mj-lt"/>
              <a:buNone/>
              <a:defRPr sz="1800" b="0" i="0" baseline="0">
                <a:solidFill>
                  <a:schemeClr val="bg1"/>
                </a:solidFill>
                <a:latin typeface="Helvetica Neue" panose="02000503000000020004" pitchFamily="2" charset="0"/>
              </a:defRPr>
            </a:lvl3pPr>
            <a:lvl4pPr marL="234690" indent="0">
              <a:lnSpc>
                <a:spcPts val="2100"/>
              </a:lnSpc>
              <a:spcBef>
                <a:spcPts val="400"/>
              </a:spcBef>
              <a:spcAft>
                <a:spcPts val="600"/>
              </a:spcAft>
              <a:buFont typeface="+mj-lt"/>
              <a:buNone/>
              <a:defRPr sz="1800" b="0" i="0" baseline="0">
                <a:solidFill>
                  <a:schemeClr val="bg1"/>
                </a:solidFill>
                <a:latin typeface="Helvetica Neue" panose="02000503000000020004" pitchFamily="2" charset="0"/>
              </a:defRPr>
            </a:lvl4pPr>
            <a:lvl5pPr marL="234690" indent="0" algn="l">
              <a:lnSpc>
                <a:spcPts val="2100"/>
              </a:lnSpc>
              <a:spcAft>
                <a:spcPts val="600"/>
              </a:spcAft>
              <a:buFont typeface="+mj-lt"/>
              <a:buNone/>
              <a:defRPr sz="1800" b="0" i="0" baseline="0">
                <a:solidFill>
                  <a:schemeClr val="bg1"/>
                </a:solidFill>
                <a:latin typeface="Helvetica Neue" panose="02000503000000020004" pitchFamily="2"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A09B600B-361E-8641-95A1-C0996630F85B}"/>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8">
            <a:extLst>
              <a:ext uri="{FF2B5EF4-FFF2-40B4-BE49-F238E27FC236}">
                <a16:creationId xmlns:a16="http://schemas.microsoft.com/office/drawing/2014/main" id="{A685FACF-296F-BA4D-A344-50044DB6C33B}"/>
              </a:ext>
            </a:extLst>
          </p:cNvPr>
          <p:cNvSpPr>
            <a:spLocks noGrp="1"/>
          </p:cNvSpPr>
          <p:nvPr>
            <p:ph type="sldNum" sz="quarter" idx="11"/>
          </p:nvPr>
        </p:nvSpPr>
        <p:spPr/>
        <p:txBody>
          <a:bodyPr/>
          <a:lstStyle/>
          <a:p>
            <a:fld id="{AF537CAA-CF19-4AFD-B448-318709DBD37B}" type="slidenum">
              <a:rPr lang="en-IN" smtClean="0"/>
              <a:t>‹#›</a:t>
            </a:fld>
            <a:endParaRPr lang="en-IN" dirty="0"/>
          </a:p>
        </p:txBody>
      </p:sp>
    </p:spTree>
    <p:extLst>
      <p:ext uri="{BB962C8B-B14F-4D97-AF65-F5344CB8AC3E}">
        <p14:creationId xmlns:p14="http://schemas.microsoft.com/office/powerpoint/2010/main" val="41911801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B254214E-5E27-4F31-BA33-B3560ADDEE2D}"/>
              </a:ext>
            </a:extLst>
          </p:cNvPr>
          <p:cNvSpPr>
            <a:spLocks noGrp="1"/>
          </p:cNvSpPr>
          <p:nvPr>
            <p:ph type="pic" sz="quarter" idx="15"/>
          </p:nvPr>
        </p:nvSpPr>
        <p:spPr>
          <a:xfrm>
            <a:off x="6096795" y="0"/>
            <a:ext cx="5314951" cy="6858000"/>
          </a:xfrm>
          <a:custGeom>
            <a:avLst/>
            <a:gdLst>
              <a:gd name="connsiteX0" fmla="*/ 0 w 10345056"/>
              <a:gd name="connsiteY0" fmla="*/ 0 h 10610851"/>
              <a:gd name="connsiteX1" fmla="*/ 10345056 w 10345056"/>
              <a:gd name="connsiteY1" fmla="*/ 0 h 10610851"/>
              <a:gd name="connsiteX2" fmla="*/ 10345056 w 10345056"/>
              <a:gd name="connsiteY2" fmla="*/ 10610851 h 10610851"/>
              <a:gd name="connsiteX3" fmla="*/ 0 w 10345056"/>
              <a:gd name="connsiteY3" fmla="*/ 10610851 h 10610851"/>
            </a:gdLst>
            <a:ahLst/>
            <a:cxnLst>
              <a:cxn ang="0">
                <a:pos x="connsiteX0" y="connsiteY0"/>
              </a:cxn>
              <a:cxn ang="0">
                <a:pos x="connsiteX1" y="connsiteY1"/>
              </a:cxn>
              <a:cxn ang="0">
                <a:pos x="connsiteX2" y="connsiteY2"/>
              </a:cxn>
              <a:cxn ang="0">
                <a:pos x="connsiteX3" y="connsiteY3"/>
              </a:cxn>
            </a:cxnLst>
            <a:rect l="l" t="t" r="r" b="b"/>
            <a:pathLst>
              <a:path w="10345056" h="10610851">
                <a:moveTo>
                  <a:pt x="0" y="0"/>
                </a:moveTo>
                <a:lnTo>
                  <a:pt x="10345056" y="0"/>
                </a:lnTo>
                <a:lnTo>
                  <a:pt x="10345056" y="10610851"/>
                </a:lnTo>
                <a:lnTo>
                  <a:pt x="0" y="10610851"/>
                </a:lnTo>
                <a:close/>
              </a:path>
            </a:pathLst>
          </a:custGeom>
          <a:pattFill prst="pct60">
            <a:fgClr>
              <a:schemeClr val="bg1"/>
            </a:fgClr>
            <a:bgClr>
              <a:schemeClr val="bg1">
                <a:lumMod val="85000"/>
              </a:schemeClr>
            </a:bgClr>
          </a:pattFill>
          <a:effectLst/>
        </p:spPr>
        <p:txBody>
          <a:bodyPr wrap="square" anchor="ctr">
            <a:noAutofit/>
          </a:bodyPr>
          <a:lstStyle>
            <a:lvl1pPr marL="0" indent="0" algn="ctr">
              <a:buFontTx/>
              <a:buNone/>
              <a:defRPr sz="1200"/>
            </a:lvl1pPr>
          </a:lstStyle>
          <a:p>
            <a:endParaRPr lang="en-US" dirty="0"/>
          </a:p>
        </p:txBody>
      </p:sp>
      <p:sp>
        <p:nvSpPr>
          <p:cNvPr id="3" name="TextBox 2">
            <a:extLst>
              <a:ext uri="{FF2B5EF4-FFF2-40B4-BE49-F238E27FC236}">
                <a16:creationId xmlns:a16="http://schemas.microsoft.com/office/drawing/2014/main" id="{1E509A79-1931-4CFF-BACE-651ECD60CFB0}"/>
              </a:ext>
            </a:extLst>
          </p:cNvPr>
          <p:cNvSpPr txBox="1"/>
          <p:nvPr userDrawn="1"/>
        </p:nvSpPr>
        <p:spPr>
          <a:xfrm>
            <a:off x="390525" y="6420188"/>
            <a:ext cx="4267200" cy="230832"/>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50" normalizeH="0" baseline="0" noProof="0" dirty="0">
                <a:ln>
                  <a:noFill/>
                </a:ln>
                <a:solidFill>
                  <a:prstClr val="black"/>
                </a:solidFill>
                <a:effectLst/>
                <a:uLnTx/>
                <a:uFillTx/>
                <a:latin typeface="Calibri Light" panose="020F0302020204030204"/>
                <a:ea typeface="+mn-ea"/>
                <a:cs typeface="+mn-cs"/>
              </a:rPr>
              <a:t>A BRILLIO PRESENTATION</a:t>
            </a:r>
            <a:endParaRPr kumimoji="0" lang="en-IN" sz="900" b="0" i="0" u="none" strike="noStrike" kern="1200" cap="none" spc="150" normalizeH="0" baseline="0" noProof="0" dirty="0">
              <a:ln>
                <a:noFill/>
              </a:ln>
              <a:solidFill>
                <a:prstClr val="black"/>
              </a:solidFill>
              <a:effectLst/>
              <a:uLnTx/>
              <a:uFillTx/>
              <a:latin typeface="Calibri Light" panose="020F0302020204030204"/>
              <a:ea typeface="+mn-ea"/>
              <a:cs typeface="+mn-cs"/>
            </a:endParaRPr>
          </a:p>
        </p:txBody>
      </p:sp>
      <p:sp>
        <p:nvSpPr>
          <p:cNvPr id="4" name="Rectangle 3">
            <a:extLst>
              <a:ext uri="{FF2B5EF4-FFF2-40B4-BE49-F238E27FC236}">
                <a16:creationId xmlns:a16="http://schemas.microsoft.com/office/drawing/2014/main" id="{313F1312-25A5-441A-B82F-CCEE114E0DC5}"/>
              </a:ext>
            </a:extLst>
          </p:cNvPr>
          <p:cNvSpPr/>
          <p:nvPr userDrawn="1"/>
        </p:nvSpPr>
        <p:spPr>
          <a:xfrm>
            <a:off x="781844" y="647700"/>
            <a:ext cx="5314950" cy="5524500"/>
          </a:xfrm>
          <a:prstGeom prst="rect">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2DA28E79-13D4-49B3-8559-3C0FCFE2E4E3}"/>
              </a:ext>
            </a:extLst>
          </p:cNvPr>
          <p:cNvSpPr>
            <a:spLocks noGrp="1"/>
          </p:cNvSpPr>
          <p:nvPr>
            <p:ph type="title" hasCustomPrompt="1"/>
          </p:nvPr>
        </p:nvSpPr>
        <p:spPr>
          <a:xfrm>
            <a:off x="894557" y="2612370"/>
            <a:ext cx="4920653" cy="646331"/>
          </a:xfrm>
          <a:noFill/>
        </p:spPr>
        <p:txBody>
          <a:bodyPr wrap="square" rtlCol="0" anchor="ctr">
            <a:spAutoFit/>
          </a:bodyPr>
          <a:lstStyle>
            <a:lvl1pPr>
              <a:defRPr lang="en-IN" sz="4000" cap="all" baseline="0" dirty="0">
                <a:solidFill>
                  <a:schemeClr val="bg1"/>
                </a:solidFill>
                <a:ea typeface="+mn-ea"/>
                <a:cs typeface="+mn-cs"/>
              </a:defRPr>
            </a:lvl1pPr>
          </a:lstStyle>
          <a:p>
            <a:pPr marL="0" lvl="0" defTabSz="304793"/>
            <a:r>
              <a:rPr lang="en-US"/>
              <a:t>DECK TITLE</a:t>
            </a:r>
            <a:endParaRPr lang="en-IN"/>
          </a:p>
        </p:txBody>
      </p:sp>
      <p:sp>
        <p:nvSpPr>
          <p:cNvPr id="7" name="Text Placeholder 6">
            <a:extLst>
              <a:ext uri="{FF2B5EF4-FFF2-40B4-BE49-F238E27FC236}">
                <a16:creationId xmlns:a16="http://schemas.microsoft.com/office/drawing/2014/main" id="{D27C2F6B-DDCB-4DFE-815B-9682CC5460DE}"/>
              </a:ext>
            </a:extLst>
          </p:cNvPr>
          <p:cNvSpPr>
            <a:spLocks noGrp="1"/>
          </p:cNvSpPr>
          <p:nvPr>
            <p:ph type="body" sz="quarter" idx="16" hasCustomPrompt="1"/>
          </p:nvPr>
        </p:nvSpPr>
        <p:spPr>
          <a:xfrm>
            <a:off x="894557" y="3520243"/>
            <a:ext cx="4695825" cy="424732"/>
          </a:xfrm>
          <a:noFill/>
        </p:spPr>
        <p:txBody>
          <a:bodyPr wrap="square" rtlCol="0" anchor="ctr">
            <a:spAutoFit/>
          </a:bodyPr>
          <a:lstStyle>
            <a:lvl1pPr marL="0" indent="0">
              <a:buNone/>
              <a:defRPr lang="en-US" sz="2400" cap="all" spc="150" baseline="0" smtClean="0">
                <a:solidFill>
                  <a:schemeClr val="bg1"/>
                </a:solidFill>
                <a:latin typeface="+mj-lt"/>
              </a:defRPr>
            </a:lvl1pPr>
            <a:lvl2pPr>
              <a:defRPr lang="en-US" smtClean="0"/>
            </a:lvl2pPr>
            <a:lvl3pPr>
              <a:defRPr lang="en-US" sz="1200" smtClean="0"/>
            </a:lvl3pPr>
            <a:lvl4pPr>
              <a:defRPr lang="en-US" sz="1200" smtClean="0"/>
            </a:lvl4pPr>
            <a:lvl5pPr>
              <a:defRPr lang="en-IN" sz="1200"/>
            </a:lvl5pPr>
          </a:lstStyle>
          <a:p>
            <a:pPr marL="0" lvl="0" defTabSz="304793"/>
            <a:r>
              <a:rPr lang="en-US"/>
              <a:t>SUBTITLE</a:t>
            </a:r>
            <a:endParaRPr lang="en-IN"/>
          </a:p>
        </p:txBody>
      </p:sp>
      <p:sp>
        <p:nvSpPr>
          <p:cNvPr id="8" name="Oval 7">
            <a:extLst>
              <a:ext uri="{FF2B5EF4-FFF2-40B4-BE49-F238E27FC236}">
                <a16:creationId xmlns:a16="http://schemas.microsoft.com/office/drawing/2014/main" id="{A19E6934-A1F7-4F7E-9AFD-6EE048711816}"/>
              </a:ext>
            </a:extLst>
          </p:cNvPr>
          <p:cNvSpPr/>
          <p:nvPr userDrawn="1"/>
        </p:nvSpPr>
        <p:spPr>
          <a:xfrm>
            <a:off x="364819" y="369582"/>
            <a:ext cx="51412" cy="51412"/>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AAE6ECFF-F612-4207-B966-1CA7BA8087A7}"/>
              </a:ext>
            </a:extLst>
          </p:cNvPr>
          <p:cNvSpPr/>
          <p:nvPr userDrawn="1"/>
        </p:nvSpPr>
        <p:spPr>
          <a:xfrm>
            <a:off x="364819" y="518410"/>
            <a:ext cx="51412" cy="51412"/>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36CBDBBA-CAA0-48B0-A5BC-021683ADBC10}"/>
              </a:ext>
            </a:extLst>
          </p:cNvPr>
          <p:cNvSpPr/>
          <p:nvPr userDrawn="1"/>
        </p:nvSpPr>
        <p:spPr>
          <a:xfrm>
            <a:off x="364819" y="667238"/>
            <a:ext cx="51412" cy="51412"/>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E59D9CBF-42F8-4CE3-ACDB-3A5FE32D7D26}"/>
              </a:ext>
            </a:extLst>
          </p:cNvPr>
          <p:cNvCxnSpPr>
            <a:cxnSpLocks/>
          </p:cNvCxnSpPr>
          <p:nvPr userDrawn="1"/>
        </p:nvCxnSpPr>
        <p:spPr>
          <a:xfrm>
            <a:off x="6082939" y="0"/>
            <a:ext cx="0" cy="6858000"/>
          </a:xfrm>
          <a:prstGeom prst="line">
            <a:avLst/>
          </a:prstGeom>
          <a:ln w="635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7E73D9FE-CC77-4869-9CBD-F6DCF2D8FAF1}"/>
              </a:ext>
            </a:extLst>
          </p:cNvPr>
          <p:cNvSpPr/>
          <p:nvPr userDrawn="1"/>
        </p:nvSpPr>
        <p:spPr>
          <a:xfrm>
            <a:off x="5953483" y="3299544"/>
            <a:ext cx="258914" cy="25891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2" descr="Brillio - Wikipedia">
            <a:extLst>
              <a:ext uri="{FF2B5EF4-FFF2-40B4-BE49-F238E27FC236}">
                <a16:creationId xmlns:a16="http://schemas.microsoft.com/office/drawing/2014/main" id="{032A0901-5349-47DB-A6B1-68CB7F4304BC}"/>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27715" y="6420189"/>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FF65A24D-BA68-4B3A-88F7-3FA13EAB9BE3}"/>
              </a:ext>
            </a:extLst>
          </p:cNvPr>
          <p:cNvSpPr txBox="1"/>
          <p:nvPr userDrawn="1"/>
        </p:nvSpPr>
        <p:spPr>
          <a:xfrm>
            <a:off x="894557" y="1073728"/>
            <a:ext cx="4564255" cy="424732"/>
          </a:xfrm>
          <a:prstGeom prst="rect">
            <a:avLst/>
          </a:prstGeom>
          <a:noFill/>
        </p:spPr>
        <p:txBody>
          <a:bodyPr wrap="square" rtlCol="0">
            <a:spAutoFit/>
          </a:bodyPr>
          <a:lstStyle/>
          <a:p>
            <a:pPr marL="0" marR="0" lvl="0" indent="0" algn="l" defTabSz="304793" rtl="0" eaLnBrk="1" fontAlgn="auto" latinLnBrk="0" hangingPunct="1">
              <a:lnSpc>
                <a:spcPct val="90000"/>
              </a:lnSpc>
              <a:spcBef>
                <a:spcPts val="500"/>
              </a:spcBef>
              <a:spcAft>
                <a:spcPts val="0"/>
              </a:spcAft>
              <a:buClrTx/>
              <a:buSzTx/>
              <a:buFont typeface="Arial" panose="020B0604020202020204" pitchFamily="34" charset="0"/>
              <a:buNone/>
              <a:tabLst/>
              <a:defRPr/>
            </a:pPr>
            <a:fld id="{986948C0-CB4B-438B-9B8C-B776B9882495}" type="datetime4">
              <a:rPr kumimoji="0" lang="en-US" sz="2400" b="0" i="0" u="none" strike="noStrike" kern="1200" cap="all" spc="150" normalizeH="0" baseline="0" noProof="0" smtClean="0">
                <a:ln>
                  <a:noFill/>
                </a:ln>
                <a:solidFill>
                  <a:prstClr val="white"/>
                </a:solidFill>
                <a:effectLst/>
                <a:uLnTx/>
                <a:uFillTx/>
                <a:latin typeface="Calibri Light" panose="020F0302020204030204"/>
                <a:ea typeface="+mn-ea"/>
                <a:cs typeface="+mn-cs"/>
              </a:rPr>
              <a:pPr marL="0" marR="0" lvl="0" indent="0" algn="l" defTabSz="304793" rtl="0" eaLnBrk="1" fontAlgn="auto" latinLnBrk="0" hangingPunct="1">
                <a:lnSpc>
                  <a:spcPct val="90000"/>
                </a:lnSpc>
                <a:spcBef>
                  <a:spcPts val="500"/>
                </a:spcBef>
                <a:spcAft>
                  <a:spcPts val="0"/>
                </a:spcAft>
                <a:buClrTx/>
                <a:buSzTx/>
                <a:buFont typeface="Arial" panose="020B0604020202020204" pitchFamily="34" charset="0"/>
                <a:buNone/>
                <a:tabLst/>
                <a:defRPr/>
              </a:pPr>
              <a:t>May 28, 2024</a:t>
            </a:fld>
            <a:endParaRPr kumimoji="0" lang="en-IN" sz="2400" b="0" i="0" u="none" strike="noStrike" kern="1200" cap="all" spc="150" normalizeH="0" baseline="0" noProof="0" dirty="0">
              <a:ln>
                <a:noFill/>
              </a:ln>
              <a:solidFill>
                <a:prstClr val="white"/>
              </a:solidFill>
              <a:effectLst/>
              <a:uLnTx/>
              <a:uFillTx/>
              <a:latin typeface="Calibri Light" panose="020F0302020204030204"/>
              <a:ea typeface="+mn-ea"/>
              <a:cs typeface="+mn-cs"/>
            </a:endParaRPr>
          </a:p>
        </p:txBody>
      </p:sp>
      <p:sp>
        <p:nvSpPr>
          <p:cNvPr id="14" name="Oval 13">
            <a:extLst>
              <a:ext uri="{FF2B5EF4-FFF2-40B4-BE49-F238E27FC236}">
                <a16:creationId xmlns:a16="http://schemas.microsoft.com/office/drawing/2014/main" id="{88DCCAF8-A821-4D5D-9E74-C6FE79821A42}"/>
              </a:ext>
            </a:extLst>
          </p:cNvPr>
          <p:cNvSpPr/>
          <p:nvPr userDrawn="1"/>
        </p:nvSpPr>
        <p:spPr>
          <a:xfrm>
            <a:off x="2124348" y="5257800"/>
            <a:ext cx="655320" cy="6553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93">
              <a:defRPr/>
            </a:pPr>
            <a:endParaRPr lang="en-IN" sz="1200" dirty="0">
              <a:solidFill>
                <a:prstClr val="white"/>
              </a:solidFill>
              <a:latin typeface="Calibri" panose="020F0502020204030204"/>
            </a:endParaRPr>
          </a:p>
        </p:txBody>
      </p:sp>
      <p:sp>
        <p:nvSpPr>
          <p:cNvPr id="17" name="Oval 16">
            <a:extLst>
              <a:ext uri="{FF2B5EF4-FFF2-40B4-BE49-F238E27FC236}">
                <a16:creationId xmlns:a16="http://schemas.microsoft.com/office/drawing/2014/main" id="{CB7D15E1-DF2F-4FD5-9EE0-5BD446C334C8}"/>
              </a:ext>
            </a:extLst>
          </p:cNvPr>
          <p:cNvSpPr/>
          <p:nvPr userDrawn="1"/>
        </p:nvSpPr>
        <p:spPr>
          <a:xfrm>
            <a:off x="3061252" y="5257800"/>
            <a:ext cx="655320" cy="6553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93">
              <a:defRPr/>
            </a:pPr>
            <a:endParaRPr lang="en-IN" sz="1200" dirty="0">
              <a:solidFill>
                <a:prstClr val="white"/>
              </a:solidFill>
              <a:latin typeface="Calibri" panose="020F0502020204030204"/>
            </a:endParaRPr>
          </a:p>
        </p:txBody>
      </p:sp>
      <p:sp>
        <p:nvSpPr>
          <p:cNvPr id="18" name="Oval 17">
            <a:extLst>
              <a:ext uri="{FF2B5EF4-FFF2-40B4-BE49-F238E27FC236}">
                <a16:creationId xmlns:a16="http://schemas.microsoft.com/office/drawing/2014/main" id="{44BC0D76-5FD5-4468-ABC7-E41F4B61C9DD}"/>
              </a:ext>
            </a:extLst>
          </p:cNvPr>
          <p:cNvSpPr/>
          <p:nvPr userDrawn="1"/>
        </p:nvSpPr>
        <p:spPr>
          <a:xfrm>
            <a:off x="3998157" y="5257800"/>
            <a:ext cx="655320" cy="6553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93">
              <a:defRPr/>
            </a:pPr>
            <a:endParaRPr lang="en-IN" sz="1200" dirty="0">
              <a:solidFill>
                <a:prstClr val="white"/>
              </a:solidFill>
              <a:latin typeface="Calibri" panose="020F0502020204030204"/>
            </a:endParaRPr>
          </a:p>
        </p:txBody>
      </p:sp>
      <p:sp>
        <p:nvSpPr>
          <p:cNvPr id="19" name="Oval 18">
            <a:extLst>
              <a:ext uri="{FF2B5EF4-FFF2-40B4-BE49-F238E27FC236}">
                <a16:creationId xmlns:a16="http://schemas.microsoft.com/office/drawing/2014/main" id="{92E45369-D9E2-478A-8E26-2E040315386F}"/>
              </a:ext>
            </a:extLst>
          </p:cNvPr>
          <p:cNvSpPr/>
          <p:nvPr userDrawn="1"/>
        </p:nvSpPr>
        <p:spPr>
          <a:xfrm>
            <a:off x="4935061" y="5257800"/>
            <a:ext cx="655320" cy="6553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93">
              <a:defRPr/>
            </a:pPr>
            <a:endParaRPr lang="en-IN" sz="1200" dirty="0">
              <a:solidFill>
                <a:prstClr val="white"/>
              </a:solidFill>
              <a:latin typeface="Calibri" panose="020F0502020204030204"/>
            </a:endParaRPr>
          </a:p>
        </p:txBody>
      </p:sp>
      <p:grpSp>
        <p:nvGrpSpPr>
          <p:cNvPr id="20" name="Group 19">
            <a:extLst>
              <a:ext uri="{FF2B5EF4-FFF2-40B4-BE49-F238E27FC236}">
                <a16:creationId xmlns:a16="http://schemas.microsoft.com/office/drawing/2014/main" id="{2D6254A1-AE41-4B16-8AD6-228E0D2CC1D2}"/>
              </a:ext>
            </a:extLst>
          </p:cNvPr>
          <p:cNvGrpSpPr/>
          <p:nvPr userDrawn="1"/>
        </p:nvGrpSpPr>
        <p:grpSpPr>
          <a:xfrm flipH="1">
            <a:off x="2307933" y="5380610"/>
            <a:ext cx="288149" cy="394360"/>
            <a:chOff x="1237597" y="5192708"/>
            <a:chExt cx="267237" cy="338186"/>
          </a:xfrm>
          <a:solidFill>
            <a:schemeClr val="bg1"/>
          </a:solidFill>
        </p:grpSpPr>
        <p:sp>
          <p:nvSpPr>
            <p:cNvPr id="21" name="Freeform 79">
              <a:extLst>
                <a:ext uri="{FF2B5EF4-FFF2-40B4-BE49-F238E27FC236}">
                  <a16:creationId xmlns:a16="http://schemas.microsoft.com/office/drawing/2014/main" id="{77393825-1902-4BD5-AC7C-49682E9C0875}"/>
                </a:ext>
              </a:extLst>
            </p:cNvPr>
            <p:cNvSpPr>
              <a:spLocks noEditPoints="1"/>
            </p:cNvSpPr>
            <p:nvPr/>
          </p:nvSpPr>
          <p:spPr bwMode="auto">
            <a:xfrm>
              <a:off x="1237597" y="5192708"/>
              <a:ext cx="191583" cy="338186"/>
            </a:xfrm>
            <a:custGeom>
              <a:avLst/>
              <a:gdLst>
                <a:gd name="T0" fmla="*/ 968 w 1084"/>
                <a:gd name="T1" fmla="*/ 0 h 1913"/>
                <a:gd name="T2" fmla="*/ 1046 w 1084"/>
                <a:gd name="T3" fmla="*/ 45 h 1913"/>
                <a:gd name="T4" fmla="*/ 1083 w 1084"/>
                <a:gd name="T5" fmla="*/ 149 h 1913"/>
                <a:gd name="T6" fmla="*/ 1083 w 1084"/>
                <a:gd name="T7" fmla="*/ 636 h 1913"/>
                <a:gd name="T8" fmla="*/ 1083 w 1084"/>
                <a:gd name="T9" fmla="*/ 1279 h 1913"/>
                <a:gd name="T10" fmla="*/ 1083 w 1084"/>
                <a:gd name="T11" fmla="*/ 1297 h 1913"/>
                <a:gd name="T12" fmla="*/ 1028 w 1084"/>
                <a:gd name="T13" fmla="*/ 1317 h 1913"/>
                <a:gd name="T14" fmla="*/ 977 w 1084"/>
                <a:gd name="T15" fmla="*/ 1172 h 1913"/>
                <a:gd name="T16" fmla="*/ 979 w 1084"/>
                <a:gd name="T17" fmla="*/ 260 h 1913"/>
                <a:gd name="T18" fmla="*/ 979 w 1084"/>
                <a:gd name="T19" fmla="*/ 237 h 1913"/>
                <a:gd name="T20" fmla="*/ 105 w 1084"/>
                <a:gd name="T21" fmla="*/ 237 h 1913"/>
                <a:gd name="T22" fmla="*/ 105 w 1084"/>
                <a:gd name="T23" fmla="*/ 1550 h 1913"/>
                <a:gd name="T24" fmla="*/ 725 w 1084"/>
                <a:gd name="T25" fmla="*/ 1550 h 1913"/>
                <a:gd name="T26" fmla="*/ 762 w 1084"/>
                <a:gd name="T27" fmla="*/ 1680 h 1913"/>
                <a:gd name="T28" fmla="*/ 813 w 1084"/>
                <a:gd name="T29" fmla="*/ 1749 h 1913"/>
                <a:gd name="T30" fmla="*/ 878 w 1084"/>
                <a:gd name="T31" fmla="*/ 1808 h 1913"/>
                <a:gd name="T32" fmla="*/ 1018 w 1084"/>
                <a:gd name="T33" fmla="*/ 1888 h 1913"/>
                <a:gd name="T34" fmla="*/ 951 w 1084"/>
                <a:gd name="T35" fmla="*/ 1913 h 1913"/>
                <a:gd name="T36" fmla="*/ 786 w 1084"/>
                <a:gd name="T37" fmla="*/ 1913 h 1913"/>
                <a:gd name="T38" fmla="*/ 143 w 1084"/>
                <a:gd name="T39" fmla="*/ 1913 h 1913"/>
                <a:gd name="T40" fmla="*/ 3 w 1084"/>
                <a:gd name="T41" fmla="*/ 1803 h 1913"/>
                <a:gd name="T42" fmla="*/ 0 w 1084"/>
                <a:gd name="T43" fmla="*/ 1762 h 1913"/>
                <a:gd name="T44" fmla="*/ 0 w 1084"/>
                <a:gd name="T45" fmla="*/ 494 h 1913"/>
                <a:gd name="T46" fmla="*/ 0 w 1084"/>
                <a:gd name="T47" fmla="*/ 157 h 1913"/>
                <a:gd name="T48" fmla="*/ 113 w 1084"/>
                <a:gd name="T49" fmla="*/ 2 h 1913"/>
                <a:gd name="T50" fmla="*/ 116 w 1084"/>
                <a:gd name="T51" fmla="*/ 0 h 1913"/>
                <a:gd name="T52" fmla="*/ 968 w 1084"/>
                <a:gd name="T53" fmla="*/ 0 h 1913"/>
                <a:gd name="T54" fmla="*/ 373 w 1084"/>
                <a:gd name="T55" fmla="*/ 1661 h 1913"/>
                <a:gd name="T56" fmla="*/ 373 w 1084"/>
                <a:gd name="T57" fmla="*/ 1762 h 1913"/>
                <a:gd name="T58" fmla="*/ 709 w 1084"/>
                <a:gd name="T59" fmla="*/ 1762 h 1913"/>
                <a:gd name="T60" fmla="*/ 709 w 1084"/>
                <a:gd name="T61" fmla="*/ 1661 h 1913"/>
                <a:gd name="T62" fmla="*/ 373 w 1084"/>
                <a:gd name="T63" fmla="*/ 1661 h 1913"/>
                <a:gd name="T64" fmla="*/ 355 w 1084"/>
                <a:gd name="T65" fmla="*/ 140 h 1913"/>
                <a:gd name="T66" fmla="*/ 727 w 1084"/>
                <a:gd name="T67" fmla="*/ 140 h 1913"/>
                <a:gd name="T68" fmla="*/ 727 w 1084"/>
                <a:gd name="T69" fmla="*/ 102 h 1913"/>
                <a:gd name="T70" fmla="*/ 355 w 1084"/>
                <a:gd name="T71" fmla="*/ 102 h 1913"/>
                <a:gd name="T72" fmla="*/ 355 w 1084"/>
                <a:gd name="T73" fmla="*/ 140 h 1913"/>
                <a:gd name="T74" fmla="*/ 886 w 1084"/>
                <a:gd name="T75" fmla="*/ 122 h 1913"/>
                <a:gd name="T76" fmla="*/ 852 w 1084"/>
                <a:gd name="T77" fmla="*/ 89 h 1913"/>
                <a:gd name="T78" fmla="*/ 817 w 1084"/>
                <a:gd name="T79" fmla="*/ 122 h 1913"/>
                <a:gd name="T80" fmla="*/ 851 w 1084"/>
                <a:gd name="T81" fmla="*/ 157 h 1913"/>
                <a:gd name="T82" fmla="*/ 886 w 1084"/>
                <a:gd name="T83" fmla="*/ 122 h 1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4" h="1913">
                  <a:moveTo>
                    <a:pt x="968" y="0"/>
                  </a:moveTo>
                  <a:cubicBezTo>
                    <a:pt x="996" y="10"/>
                    <a:pt x="1025" y="21"/>
                    <a:pt x="1046" y="45"/>
                  </a:cubicBezTo>
                  <a:cubicBezTo>
                    <a:pt x="1072" y="74"/>
                    <a:pt x="1083" y="109"/>
                    <a:pt x="1083" y="149"/>
                  </a:cubicBezTo>
                  <a:cubicBezTo>
                    <a:pt x="1083" y="311"/>
                    <a:pt x="1083" y="474"/>
                    <a:pt x="1083" y="636"/>
                  </a:cubicBezTo>
                  <a:cubicBezTo>
                    <a:pt x="1084" y="851"/>
                    <a:pt x="1083" y="1065"/>
                    <a:pt x="1083" y="1279"/>
                  </a:cubicBezTo>
                  <a:cubicBezTo>
                    <a:pt x="1083" y="1285"/>
                    <a:pt x="1083" y="1291"/>
                    <a:pt x="1083" y="1297"/>
                  </a:cubicBezTo>
                  <a:cubicBezTo>
                    <a:pt x="1065" y="1303"/>
                    <a:pt x="1048" y="1310"/>
                    <a:pt x="1028" y="1317"/>
                  </a:cubicBezTo>
                  <a:cubicBezTo>
                    <a:pt x="1009" y="1270"/>
                    <a:pt x="977" y="1230"/>
                    <a:pt x="977" y="1172"/>
                  </a:cubicBezTo>
                  <a:cubicBezTo>
                    <a:pt x="980" y="868"/>
                    <a:pt x="979" y="564"/>
                    <a:pt x="979" y="260"/>
                  </a:cubicBezTo>
                  <a:cubicBezTo>
                    <a:pt x="979" y="253"/>
                    <a:pt x="979" y="246"/>
                    <a:pt x="979" y="237"/>
                  </a:cubicBezTo>
                  <a:cubicBezTo>
                    <a:pt x="687" y="237"/>
                    <a:pt x="397" y="237"/>
                    <a:pt x="105" y="237"/>
                  </a:cubicBezTo>
                  <a:cubicBezTo>
                    <a:pt x="105" y="674"/>
                    <a:pt x="105" y="1111"/>
                    <a:pt x="105" y="1550"/>
                  </a:cubicBezTo>
                  <a:cubicBezTo>
                    <a:pt x="312" y="1550"/>
                    <a:pt x="518" y="1550"/>
                    <a:pt x="725" y="1550"/>
                  </a:cubicBezTo>
                  <a:cubicBezTo>
                    <a:pt x="713" y="1602"/>
                    <a:pt x="728" y="1643"/>
                    <a:pt x="762" y="1680"/>
                  </a:cubicBezTo>
                  <a:cubicBezTo>
                    <a:pt x="782" y="1701"/>
                    <a:pt x="798" y="1724"/>
                    <a:pt x="813" y="1749"/>
                  </a:cubicBezTo>
                  <a:cubicBezTo>
                    <a:pt x="829" y="1776"/>
                    <a:pt x="852" y="1793"/>
                    <a:pt x="878" y="1808"/>
                  </a:cubicBezTo>
                  <a:cubicBezTo>
                    <a:pt x="925" y="1835"/>
                    <a:pt x="972" y="1862"/>
                    <a:pt x="1018" y="1888"/>
                  </a:cubicBezTo>
                  <a:cubicBezTo>
                    <a:pt x="1004" y="1902"/>
                    <a:pt x="978" y="1912"/>
                    <a:pt x="951" y="1913"/>
                  </a:cubicBezTo>
                  <a:cubicBezTo>
                    <a:pt x="896" y="1913"/>
                    <a:pt x="841" y="1913"/>
                    <a:pt x="786" y="1913"/>
                  </a:cubicBezTo>
                  <a:cubicBezTo>
                    <a:pt x="572" y="1913"/>
                    <a:pt x="358" y="1913"/>
                    <a:pt x="143" y="1913"/>
                  </a:cubicBezTo>
                  <a:cubicBezTo>
                    <a:pt x="72" y="1913"/>
                    <a:pt x="18" y="1870"/>
                    <a:pt x="3" y="1803"/>
                  </a:cubicBezTo>
                  <a:cubicBezTo>
                    <a:pt x="0" y="1790"/>
                    <a:pt x="0" y="1776"/>
                    <a:pt x="0" y="1762"/>
                  </a:cubicBezTo>
                  <a:cubicBezTo>
                    <a:pt x="0" y="1339"/>
                    <a:pt x="0" y="916"/>
                    <a:pt x="0" y="494"/>
                  </a:cubicBezTo>
                  <a:cubicBezTo>
                    <a:pt x="0" y="382"/>
                    <a:pt x="0" y="270"/>
                    <a:pt x="0" y="157"/>
                  </a:cubicBezTo>
                  <a:cubicBezTo>
                    <a:pt x="0" y="71"/>
                    <a:pt x="30" y="29"/>
                    <a:pt x="113" y="2"/>
                  </a:cubicBezTo>
                  <a:cubicBezTo>
                    <a:pt x="114" y="2"/>
                    <a:pt x="115" y="1"/>
                    <a:pt x="116" y="0"/>
                  </a:cubicBezTo>
                  <a:cubicBezTo>
                    <a:pt x="400" y="0"/>
                    <a:pt x="684" y="0"/>
                    <a:pt x="968" y="0"/>
                  </a:cubicBezTo>
                  <a:close/>
                  <a:moveTo>
                    <a:pt x="373" y="1661"/>
                  </a:moveTo>
                  <a:cubicBezTo>
                    <a:pt x="373" y="1696"/>
                    <a:pt x="373" y="1729"/>
                    <a:pt x="373" y="1762"/>
                  </a:cubicBezTo>
                  <a:cubicBezTo>
                    <a:pt x="486" y="1762"/>
                    <a:pt x="598" y="1762"/>
                    <a:pt x="709" y="1762"/>
                  </a:cubicBezTo>
                  <a:cubicBezTo>
                    <a:pt x="709" y="1728"/>
                    <a:pt x="709" y="1695"/>
                    <a:pt x="709" y="1661"/>
                  </a:cubicBezTo>
                  <a:cubicBezTo>
                    <a:pt x="596" y="1661"/>
                    <a:pt x="485" y="1661"/>
                    <a:pt x="373" y="1661"/>
                  </a:cubicBezTo>
                  <a:close/>
                  <a:moveTo>
                    <a:pt x="355" y="140"/>
                  </a:moveTo>
                  <a:cubicBezTo>
                    <a:pt x="480" y="140"/>
                    <a:pt x="603" y="140"/>
                    <a:pt x="727" y="140"/>
                  </a:cubicBezTo>
                  <a:cubicBezTo>
                    <a:pt x="727" y="127"/>
                    <a:pt x="727" y="115"/>
                    <a:pt x="727" y="102"/>
                  </a:cubicBezTo>
                  <a:cubicBezTo>
                    <a:pt x="602" y="102"/>
                    <a:pt x="479" y="102"/>
                    <a:pt x="355" y="102"/>
                  </a:cubicBezTo>
                  <a:cubicBezTo>
                    <a:pt x="355" y="115"/>
                    <a:pt x="355" y="127"/>
                    <a:pt x="355" y="140"/>
                  </a:cubicBezTo>
                  <a:close/>
                  <a:moveTo>
                    <a:pt x="886" y="122"/>
                  </a:moveTo>
                  <a:cubicBezTo>
                    <a:pt x="886" y="103"/>
                    <a:pt x="871" y="88"/>
                    <a:pt x="852" y="89"/>
                  </a:cubicBezTo>
                  <a:cubicBezTo>
                    <a:pt x="832" y="89"/>
                    <a:pt x="818" y="103"/>
                    <a:pt x="817" y="122"/>
                  </a:cubicBezTo>
                  <a:cubicBezTo>
                    <a:pt x="817" y="142"/>
                    <a:pt x="832" y="157"/>
                    <a:pt x="851" y="157"/>
                  </a:cubicBezTo>
                  <a:cubicBezTo>
                    <a:pt x="871" y="157"/>
                    <a:pt x="886" y="143"/>
                    <a:pt x="886"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22" name="Freeform 80">
              <a:extLst>
                <a:ext uri="{FF2B5EF4-FFF2-40B4-BE49-F238E27FC236}">
                  <a16:creationId xmlns:a16="http://schemas.microsoft.com/office/drawing/2014/main" id="{BAF7E296-F607-4F51-9522-8953AF1CAB2B}"/>
                </a:ext>
              </a:extLst>
            </p:cNvPr>
            <p:cNvSpPr>
              <a:spLocks/>
            </p:cNvSpPr>
            <p:nvPr/>
          </p:nvSpPr>
          <p:spPr bwMode="auto">
            <a:xfrm>
              <a:off x="1369804" y="5384384"/>
              <a:ext cx="135030" cy="145286"/>
            </a:xfrm>
            <a:custGeom>
              <a:avLst/>
              <a:gdLst>
                <a:gd name="T0" fmla="*/ 383 w 764"/>
                <a:gd name="T1" fmla="*/ 271 h 822"/>
                <a:gd name="T2" fmla="*/ 398 w 764"/>
                <a:gd name="T3" fmla="*/ 255 h 822"/>
                <a:gd name="T4" fmla="*/ 492 w 764"/>
                <a:gd name="T5" fmla="*/ 250 h 822"/>
                <a:gd name="T6" fmla="*/ 519 w 764"/>
                <a:gd name="T7" fmla="*/ 256 h 822"/>
                <a:gd name="T8" fmla="*/ 647 w 764"/>
                <a:gd name="T9" fmla="*/ 311 h 822"/>
                <a:gd name="T10" fmla="*/ 729 w 764"/>
                <a:gd name="T11" fmla="*/ 492 h 822"/>
                <a:gd name="T12" fmla="*/ 754 w 764"/>
                <a:gd name="T13" fmla="*/ 632 h 822"/>
                <a:gd name="T14" fmla="*/ 754 w 764"/>
                <a:gd name="T15" fmla="*/ 634 h 822"/>
                <a:gd name="T16" fmla="*/ 758 w 764"/>
                <a:gd name="T17" fmla="*/ 679 h 822"/>
                <a:gd name="T18" fmla="*/ 719 w 764"/>
                <a:gd name="T19" fmla="*/ 701 h 822"/>
                <a:gd name="T20" fmla="*/ 497 w 764"/>
                <a:gd name="T21" fmla="*/ 812 h 822"/>
                <a:gd name="T22" fmla="*/ 477 w 764"/>
                <a:gd name="T23" fmla="*/ 822 h 822"/>
                <a:gd name="T24" fmla="*/ 429 w 764"/>
                <a:gd name="T25" fmla="*/ 780 h 822"/>
                <a:gd name="T26" fmla="*/ 217 w 764"/>
                <a:gd name="T27" fmla="*/ 715 h 822"/>
                <a:gd name="T28" fmla="*/ 189 w 764"/>
                <a:gd name="T29" fmla="*/ 704 h 822"/>
                <a:gd name="T30" fmla="*/ 114 w 764"/>
                <a:gd name="T31" fmla="*/ 649 h 822"/>
                <a:gd name="T32" fmla="*/ 50 w 764"/>
                <a:gd name="T33" fmla="*/ 580 h 822"/>
                <a:gd name="T34" fmla="*/ 22 w 764"/>
                <a:gd name="T35" fmla="*/ 520 h 822"/>
                <a:gd name="T36" fmla="*/ 63 w 764"/>
                <a:gd name="T37" fmla="*/ 487 h 822"/>
                <a:gd name="T38" fmla="*/ 109 w 764"/>
                <a:gd name="T39" fmla="*/ 509 h 822"/>
                <a:gd name="T40" fmla="*/ 216 w 764"/>
                <a:gd name="T41" fmla="*/ 585 h 822"/>
                <a:gd name="T42" fmla="*/ 251 w 764"/>
                <a:gd name="T43" fmla="*/ 595 h 822"/>
                <a:gd name="T44" fmla="*/ 250 w 764"/>
                <a:gd name="T45" fmla="*/ 556 h 822"/>
                <a:gd name="T46" fmla="*/ 221 w 764"/>
                <a:gd name="T47" fmla="*/ 487 h 822"/>
                <a:gd name="T48" fmla="*/ 24 w 764"/>
                <a:gd name="T49" fmla="*/ 109 h 822"/>
                <a:gd name="T50" fmla="*/ 4 w 764"/>
                <a:gd name="T51" fmla="*/ 36 h 822"/>
                <a:gd name="T52" fmla="*/ 42 w 764"/>
                <a:gd name="T53" fmla="*/ 8 h 822"/>
                <a:gd name="T54" fmla="*/ 99 w 764"/>
                <a:gd name="T55" fmla="*/ 56 h 822"/>
                <a:gd name="T56" fmla="*/ 223 w 764"/>
                <a:gd name="T57" fmla="*/ 251 h 822"/>
                <a:gd name="T58" fmla="*/ 258 w 764"/>
                <a:gd name="T59" fmla="*/ 302 h 822"/>
                <a:gd name="T60" fmla="*/ 383 w 764"/>
                <a:gd name="T61" fmla="*/ 27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4" h="822">
                  <a:moveTo>
                    <a:pt x="383" y="271"/>
                  </a:moveTo>
                  <a:cubicBezTo>
                    <a:pt x="388" y="266"/>
                    <a:pt x="393" y="260"/>
                    <a:pt x="398" y="255"/>
                  </a:cubicBezTo>
                  <a:cubicBezTo>
                    <a:pt x="428" y="228"/>
                    <a:pt x="460" y="225"/>
                    <a:pt x="492" y="250"/>
                  </a:cubicBezTo>
                  <a:cubicBezTo>
                    <a:pt x="501" y="256"/>
                    <a:pt x="508" y="259"/>
                    <a:pt x="519" y="256"/>
                  </a:cubicBezTo>
                  <a:cubicBezTo>
                    <a:pt x="575" y="241"/>
                    <a:pt x="620" y="260"/>
                    <a:pt x="647" y="311"/>
                  </a:cubicBezTo>
                  <a:cubicBezTo>
                    <a:pt x="677" y="370"/>
                    <a:pt x="712" y="427"/>
                    <a:pt x="729" y="492"/>
                  </a:cubicBezTo>
                  <a:cubicBezTo>
                    <a:pt x="741" y="538"/>
                    <a:pt x="746" y="585"/>
                    <a:pt x="754" y="632"/>
                  </a:cubicBezTo>
                  <a:cubicBezTo>
                    <a:pt x="754" y="633"/>
                    <a:pt x="754" y="634"/>
                    <a:pt x="754" y="634"/>
                  </a:cubicBezTo>
                  <a:cubicBezTo>
                    <a:pt x="756" y="650"/>
                    <a:pt x="764" y="668"/>
                    <a:pt x="758" y="679"/>
                  </a:cubicBezTo>
                  <a:cubicBezTo>
                    <a:pt x="752" y="690"/>
                    <a:pt x="733" y="694"/>
                    <a:pt x="719" y="701"/>
                  </a:cubicBezTo>
                  <a:cubicBezTo>
                    <a:pt x="645" y="738"/>
                    <a:pt x="571" y="775"/>
                    <a:pt x="497" y="812"/>
                  </a:cubicBezTo>
                  <a:cubicBezTo>
                    <a:pt x="490" y="816"/>
                    <a:pt x="484" y="818"/>
                    <a:pt x="477" y="822"/>
                  </a:cubicBezTo>
                  <a:cubicBezTo>
                    <a:pt x="470" y="795"/>
                    <a:pt x="457" y="782"/>
                    <a:pt x="429" y="780"/>
                  </a:cubicBezTo>
                  <a:cubicBezTo>
                    <a:pt x="353" y="774"/>
                    <a:pt x="282" y="753"/>
                    <a:pt x="217" y="715"/>
                  </a:cubicBezTo>
                  <a:cubicBezTo>
                    <a:pt x="208" y="710"/>
                    <a:pt x="198" y="708"/>
                    <a:pt x="189" y="704"/>
                  </a:cubicBezTo>
                  <a:cubicBezTo>
                    <a:pt x="159" y="693"/>
                    <a:pt x="134" y="676"/>
                    <a:pt x="114" y="649"/>
                  </a:cubicBezTo>
                  <a:cubicBezTo>
                    <a:pt x="96" y="623"/>
                    <a:pt x="72" y="602"/>
                    <a:pt x="50" y="580"/>
                  </a:cubicBezTo>
                  <a:cubicBezTo>
                    <a:pt x="33" y="563"/>
                    <a:pt x="23" y="544"/>
                    <a:pt x="22" y="520"/>
                  </a:cubicBezTo>
                  <a:cubicBezTo>
                    <a:pt x="22" y="496"/>
                    <a:pt x="39" y="481"/>
                    <a:pt x="63" y="487"/>
                  </a:cubicBezTo>
                  <a:cubicBezTo>
                    <a:pt x="79" y="492"/>
                    <a:pt x="95" y="500"/>
                    <a:pt x="109" y="509"/>
                  </a:cubicBezTo>
                  <a:cubicBezTo>
                    <a:pt x="145" y="534"/>
                    <a:pt x="180" y="560"/>
                    <a:pt x="216" y="585"/>
                  </a:cubicBezTo>
                  <a:cubicBezTo>
                    <a:pt x="226" y="591"/>
                    <a:pt x="239" y="592"/>
                    <a:pt x="251" y="595"/>
                  </a:cubicBezTo>
                  <a:cubicBezTo>
                    <a:pt x="251" y="582"/>
                    <a:pt x="254" y="568"/>
                    <a:pt x="250" y="556"/>
                  </a:cubicBezTo>
                  <a:cubicBezTo>
                    <a:pt x="243" y="532"/>
                    <a:pt x="232" y="509"/>
                    <a:pt x="221" y="487"/>
                  </a:cubicBezTo>
                  <a:cubicBezTo>
                    <a:pt x="156" y="361"/>
                    <a:pt x="89" y="236"/>
                    <a:pt x="24" y="109"/>
                  </a:cubicBezTo>
                  <a:cubicBezTo>
                    <a:pt x="13" y="87"/>
                    <a:pt x="7" y="61"/>
                    <a:pt x="4" y="36"/>
                  </a:cubicBezTo>
                  <a:cubicBezTo>
                    <a:pt x="0" y="11"/>
                    <a:pt x="17" y="0"/>
                    <a:pt x="42" y="8"/>
                  </a:cubicBezTo>
                  <a:cubicBezTo>
                    <a:pt x="67" y="16"/>
                    <a:pt x="85" y="34"/>
                    <a:pt x="99" y="56"/>
                  </a:cubicBezTo>
                  <a:cubicBezTo>
                    <a:pt x="141" y="121"/>
                    <a:pt x="182" y="186"/>
                    <a:pt x="223" y="251"/>
                  </a:cubicBezTo>
                  <a:cubicBezTo>
                    <a:pt x="234" y="269"/>
                    <a:pt x="246" y="285"/>
                    <a:pt x="258" y="302"/>
                  </a:cubicBezTo>
                  <a:cubicBezTo>
                    <a:pt x="307" y="242"/>
                    <a:pt x="327" y="237"/>
                    <a:pt x="383"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23" name="Freeform 81">
              <a:extLst>
                <a:ext uri="{FF2B5EF4-FFF2-40B4-BE49-F238E27FC236}">
                  <a16:creationId xmlns:a16="http://schemas.microsoft.com/office/drawing/2014/main" id="{0BF53860-C765-45C3-8F17-327FAF06FBC2}"/>
                </a:ext>
              </a:extLst>
            </p:cNvPr>
            <p:cNvSpPr>
              <a:spLocks/>
            </p:cNvSpPr>
            <p:nvPr/>
          </p:nvSpPr>
          <p:spPr bwMode="auto">
            <a:xfrm>
              <a:off x="1267802" y="5330090"/>
              <a:ext cx="130984" cy="15338"/>
            </a:xfrm>
            <a:custGeom>
              <a:avLst/>
              <a:gdLst>
                <a:gd name="T0" fmla="*/ 373 w 741"/>
                <a:gd name="T1" fmla="*/ 86 h 87"/>
                <a:gd name="T2" fmla="*/ 56 w 741"/>
                <a:gd name="T3" fmla="*/ 86 h 87"/>
                <a:gd name="T4" fmla="*/ 13 w 741"/>
                <a:gd name="T5" fmla="*/ 30 h 87"/>
                <a:gd name="T6" fmla="*/ 42 w 741"/>
                <a:gd name="T7" fmla="*/ 5 h 87"/>
                <a:gd name="T8" fmla="*/ 71 w 741"/>
                <a:gd name="T9" fmla="*/ 1 h 87"/>
                <a:gd name="T10" fmla="*/ 682 w 741"/>
                <a:gd name="T11" fmla="*/ 2 h 87"/>
                <a:gd name="T12" fmla="*/ 708 w 741"/>
                <a:gd name="T13" fmla="*/ 4 h 87"/>
                <a:gd name="T14" fmla="*/ 740 w 741"/>
                <a:gd name="T15" fmla="*/ 46 h 87"/>
                <a:gd name="T16" fmla="*/ 704 w 741"/>
                <a:gd name="T17" fmla="*/ 86 h 87"/>
                <a:gd name="T18" fmla="*/ 681 w 741"/>
                <a:gd name="T19" fmla="*/ 86 h 87"/>
                <a:gd name="T20" fmla="*/ 373 w 741"/>
                <a:gd name="T21" fmla="*/ 86 h 87"/>
                <a:gd name="T22" fmla="*/ 373 w 741"/>
                <a:gd name="T23"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1" h="87">
                  <a:moveTo>
                    <a:pt x="373" y="86"/>
                  </a:moveTo>
                  <a:cubicBezTo>
                    <a:pt x="268" y="86"/>
                    <a:pt x="162" y="87"/>
                    <a:pt x="56" y="86"/>
                  </a:cubicBezTo>
                  <a:cubicBezTo>
                    <a:pt x="21" y="86"/>
                    <a:pt x="0" y="59"/>
                    <a:pt x="13" y="30"/>
                  </a:cubicBezTo>
                  <a:cubicBezTo>
                    <a:pt x="18" y="19"/>
                    <a:pt x="31" y="11"/>
                    <a:pt x="42" y="5"/>
                  </a:cubicBezTo>
                  <a:cubicBezTo>
                    <a:pt x="50" y="0"/>
                    <a:pt x="61" y="1"/>
                    <a:pt x="71" y="1"/>
                  </a:cubicBezTo>
                  <a:cubicBezTo>
                    <a:pt x="275" y="1"/>
                    <a:pt x="478" y="1"/>
                    <a:pt x="682" y="2"/>
                  </a:cubicBezTo>
                  <a:cubicBezTo>
                    <a:pt x="690" y="2"/>
                    <a:pt x="699" y="2"/>
                    <a:pt x="708" y="4"/>
                  </a:cubicBezTo>
                  <a:cubicBezTo>
                    <a:pt x="727" y="8"/>
                    <a:pt x="741" y="27"/>
                    <a:pt x="740" y="46"/>
                  </a:cubicBezTo>
                  <a:cubicBezTo>
                    <a:pt x="739" y="66"/>
                    <a:pt x="723" y="83"/>
                    <a:pt x="704" y="86"/>
                  </a:cubicBezTo>
                  <a:cubicBezTo>
                    <a:pt x="696" y="87"/>
                    <a:pt x="689" y="86"/>
                    <a:pt x="681" y="86"/>
                  </a:cubicBezTo>
                  <a:cubicBezTo>
                    <a:pt x="579" y="87"/>
                    <a:pt x="476" y="86"/>
                    <a:pt x="373" y="86"/>
                  </a:cubicBezTo>
                  <a:cubicBezTo>
                    <a:pt x="373" y="86"/>
                    <a:pt x="373" y="86"/>
                    <a:pt x="37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24" name="Freeform 82">
              <a:extLst>
                <a:ext uri="{FF2B5EF4-FFF2-40B4-BE49-F238E27FC236}">
                  <a16:creationId xmlns:a16="http://schemas.microsoft.com/office/drawing/2014/main" id="{E8CB4F8D-364D-41DC-9FEB-9B5A237E299E}"/>
                </a:ext>
              </a:extLst>
            </p:cNvPr>
            <p:cNvSpPr>
              <a:spLocks/>
            </p:cNvSpPr>
            <p:nvPr/>
          </p:nvSpPr>
          <p:spPr bwMode="auto">
            <a:xfrm>
              <a:off x="1268367" y="5361707"/>
              <a:ext cx="130043" cy="15526"/>
            </a:xfrm>
            <a:custGeom>
              <a:avLst/>
              <a:gdLst>
                <a:gd name="T0" fmla="*/ 369 w 736"/>
                <a:gd name="T1" fmla="*/ 0 h 88"/>
                <a:gd name="T2" fmla="*/ 682 w 736"/>
                <a:gd name="T3" fmla="*/ 0 h 88"/>
                <a:gd name="T4" fmla="*/ 729 w 736"/>
                <a:gd name="T5" fmla="*/ 27 h 88"/>
                <a:gd name="T6" fmla="*/ 722 w 736"/>
                <a:gd name="T7" fmla="*/ 70 h 88"/>
                <a:gd name="T8" fmla="*/ 680 w 736"/>
                <a:gd name="T9" fmla="*/ 84 h 88"/>
                <a:gd name="T10" fmla="*/ 616 w 736"/>
                <a:gd name="T11" fmla="*/ 84 h 88"/>
                <a:gd name="T12" fmla="*/ 597 w 736"/>
                <a:gd name="T13" fmla="*/ 86 h 88"/>
                <a:gd name="T14" fmla="*/ 60 w 736"/>
                <a:gd name="T15" fmla="*/ 86 h 88"/>
                <a:gd name="T16" fmla="*/ 41 w 736"/>
                <a:gd name="T17" fmla="*/ 84 h 88"/>
                <a:gd name="T18" fmla="*/ 2 w 736"/>
                <a:gd name="T19" fmla="*/ 40 h 88"/>
                <a:gd name="T20" fmla="*/ 48 w 736"/>
                <a:gd name="T21" fmla="*/ 1 h 88"/>
                <a:gd name="T22" fmla="*/ 283 w 736"/>
                <a:gd name="T23" fmla="*/ 0 h 88"/>
                <a:gd name="T24" fmla="*/ 369 w 736"/>
                <a:gd name="T25" fmla="*/ 0 h 88"/>
                <a:gd name="T26" fmla="*/ 369 w 736"/>
                <a:gd name="T2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6" h="88">
                  <a:moveTo>
                    <a:pt x="369" y="0"/>
                  </a:moveTo>
                  <a:cubicBezTo>
                    <a:pt x="473" y="0"/>
                    <a:pt x="578" y="1"/>
                    <a:pt x="682" y="0"/>
                  </a:cubicBezTo>
                  <a:cubicBezTo>
                    <a:pt x="703" y="0"/>
                    <a:pt x="721" y="7"/>
                    <a:pt x="729" y="27"/>
                  </a:cubicBezTo>
                  <a:cubicBezTo>
                    <a:pt x="736" y="42"/>
                    <a:pt x="733" y="58"/>
                    <a:pt x="722" y="70"/>
                  </a:cubicBezTo>
                  <a:cubicBezTo>
                    <a:pt x="711" y="83"/>
                    <a:pt x="695" y="88"/>
                    <a:pt x="680" y="84"/>
                  </a:cubicBezTo>
                  <a:cubicBezTo>
                    <a:pt x="658" y="78"/>
                    <a:pt x="637" y="76"/>
                    <a:pt x="616" y="84"/>
                  </a:cubicBezTo>
                  <a:cubicBezTo>
                    <a:pt x="610" y="86"/>
                    <a:pt x="603" y="86"/>
                    <a:pt x="597" y="86"/>
                  </a:cubicBezTo>
                  <a:cubicBezTo>
                    <a:pt x="418" y="86"/>
                    <a:pt x="239" y="86"/>
                    <a:pt x="60" y="86"/>
                  </a:cubicBezTo>
                  <a:cubicBezTo>
                    <a:pt x="53" y="86"/>
                    <a:pt x="47" y="86"/>
                    <a:pt x="41" y="84"/>
                  </a:cubicBezTo>
                  <a:cubicBezTo>
                    <a:pt x="16" y="80"/>
                    <a:pt x="0" y="62"/>
                    <a:pt x="2" y="40"/>
                  </a:cubicBezTo>
                  <a:cubicBezTo>
                    <a:pt x="3" y="17"/>
                    <a:pt x="21" y="1"/>
                    <a:pt x="48" y="1"/>
                  </a:cubicBezTo>
                  <a:cubicBezTo>
                    <a:pt x="126" y="0"/>
                    <a:pt x="204" y="0"/>
                    <a:pt x="283" y="0"/>
                  </a:cubicBezTo>
                  <a:cubicBezTo>
                    <a:pt x="311" y="0"/>
                    <a:pt x="340" y="0"/>
                    <a:pt x="369" y="0"/>
                  </a:cubicBezTo>
                  <a:cubicBezTo>
                    <a:pt x="369" y="0"/>
                    <a:pt x="369" y="0"/>
                    <a:pt x="3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25" name="Freeform 83">
              <a:extLst>
                <a:ext uri="{FF2B5EF4-FFF2-40B4-BE49-F238E27FC236}">
                  <a16:creationId xmlns:a16="http://schemas.microsoft.com/office/drawing/2014/main" id="{92E4E3A5-2FFD-4417-A073-DE7039DBF433}"/>
                </a:ext>
              </a:extLst>
            </p:cNvPr>
            <p:cNvSpPr>
              <a:spLocks/>
            </p:cNvSpPr>
            <p:nvPr/>
          </p:nvSpPr>
          <p:spPr bwMode="auto">
            <a:xfrm>
              <a:off x="1266579" y="5393512"/>
              <a:ext cx="93627" cy="15244"/>
            </a:xfrm>
            <a:custGeom>
              <a:avLst/>
              <a:gdLst>
                <a:gd name="T0" fmla="*/ 530 w 530"/>
                <a:gd name="T1" fmla="*/ 86 h 86"/>
                <a:gd name="T2" fmla="*/ 300 w 530"/>
                <a:gd name="T3" fmla="*/ 86 h 86"/>
                <a:gd name="T4" fmla="*/ 59 w 530"/>
                <a:gd name="T5" fmla="*/ 86 h 86"/>
                <a:gd name="T6" fmla="*/ 18 w 530"/>
                <a:gd name="T7" fmla="*/ 22 h 86"/>
                <a:gd name="T8" fmla="*/ 64 w 530"/>
                <a:gd name="T9" fmla="*/ 0 h 86"/>
                <a:gd name="T10" fmla="*/ 230 w 530"/>
                <a:gd name="T11" fmla="*/ 1 h 86"/>
                <a:gd name="T12" fmla="*/ 488 w 530"/>
                <a:gd name="T13" fmla="*/ 0 h 86"/>
                <a:gd name="T14" fmla="*/ 509 w 530"/>
                <a:gd name="T15" fmla="*/ 17 h 86"/>
                <a:gd name="T16" fmla="*/ 530 w 530"/>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0" h="86">
                  <a:moveTo>
                    <a:pt x="530" y="86"/>
                  </a:moveTo>
                  <a:cubicBezTo>
                    <a:pt x="452" y="86"/>
                    <a:pt x="376" y="86"/>
                    <a:pt x="300" y="86"/>
                  </a:cubicBezTo>
                  <a:cubicBezTo>
                    <a:pt x="219" y="86"/>
                    <a:pt x="139" y="86"/>
                    <a:pt x="59" y="86"/>
                  </a:cubicBezTo>
                  <a:cubicBezTo>
                    <a:pt x="22" y="85"/>
                    <a:pt x="0" y="52"/>
                    <a:pt x="18" y="22"/>
                  </a:cubicBezTo>
                  <a:cubicBezTo>
                    <a:pt x="28" y="5"/>
                    <a:pt x="45" y="1"/>
                    <a:pt x="64" y="0"/>
                  </a:cubicBezTo>
                  <a:cubicBezTo>
                    <a:pt x="120" y="0"/>
                    <a:pt x="175" y="1"/>
                    <a:pt x="230" y="1"/>
                  </a:cubicBezTo>
                  <a:cubicBezTo>
                    <a:pt x="316" y="1"/>
                    <a:pt x="402" y="1"/>
                    <a:pt x="488" y="0"/>
                  </a:cubicBezTo>
                  <a:cubicBezTo>
                    <a:pt x="501" y="0"/>
                    <a:pt x="506" y="4"/>
                    <a:pt x="509" y="17"/>
                  </a:cubicBezTo>
                  <a:cubicBezTo>
                    <a:pt x="514" y="40"/>
                    <a:pt x="522" y="62"/>
                    <a:pt x="53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26" name="Freeform 84">
              <a:extLst>
                <a:ext uri="{FF2B5EF4-FFF2-40B4-BE49-F238E27FC236}">
                  <a16:creationId xmlns:a16="http://schemas.microsoft.com/office/drawing/2014/main" id="{F3B132A0-C965-4EA6-9ABB-2C87F5EF6A7E}"/>
                </a:ext>
              </a:extLst>
            </p:cNvPr>
            <p:cNvSpPr>
              <a:spLocks noEditPoints="1"/>
            </p:cNvSpPr>
            <p:nvPr/>
          </p:nvSpPr>
          <p:spPr bwMode="auto">
            <a:xfrm>
              <a:off x="1273260" y="5255471"/>
              <a:ext cx="54106" cy="57964"/>
            </a:xfrm>
            <a:custGeom>
              <a:avLst/>
              <a:gdLst>
                <a:gd name="T0" fmla="*/ 306 w 306"/>
                <a:gd name="T1" fmla="*/ 165 h 328"/>
                <a:gd name="T2" fmla="*/ 306 w 306"/>
                <a:gd name="T3" fmla="*/ 303 h 328"/>
                <a:gd name="T4" fmla="*/ 282 w 306"/>
                <a:gd name="T5" fmla="*/ 328 h 328"/>
                <a:gd name="T6" fmla="*/ 24 w 306"/>
                <a:gd name="T7" fmla="*/ 328 h 328"/>
                <a:gd name="T8" fmla="*/ 0 w 306"/>
                <a:gd name="T9" fmla="*/ 304 h 328"/>
                <a:gd name="T10" fmla="*/ 0 w 306"/>
                <a:gd name="T11" fmla="*/ 25 h 328"/>
                <a:gd name="T12" fmla="*/ 24 w 306"/>
                <a:gd name="T13" fmla="*/ 0 h 328"/>
                <a:gd name="T14" fmla="*/ 282 w 306"/>
                <a:gd name="T15" fmla="*/ 0 h 328"/>
                <a:gd name="T16" fmla="*/ 306 w 306"/>
                <a:gd name="T17" fmla="*/ 25 h 328"/>
                <a:gd name="T18" fmla="*/ 306 w 306"/>
                <a:gd name="T19" fmla="*/ 165 h 328"/>
                <a:gd name="T20" fmla="*/ 288 w 306"/>
                <a:gd name="T21" fmla="*/ 310 h 328"/>
                <a:gd name="T22" fmla="*/ 288 w 306"/>
                <a:gd name="T23" fmla="*/ 19 h 328"/>
                <a:gd name="T24" fmla="*/ 18 w 306"/>
                <a:gd name="T25" fmla="*/ 19 h 328"/>
                <a:gd name="T26" fmla="*/ 18 w 306"/>
                <a:gd name="T27" fmla="*/ 310 h 328"/>
                <a:gd name="T28" fmla="*/ 288 w 306"/>
                <a:gd name="T2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6" h="328">
                  <a:moveTo>
                    <a:pt x="306" y="165"/>
                  </a:moveTo>
                  <a:cubicBezTo>
                    <a:pt x="306" y="211"/>
                    <a:pt x="305" y="257"/>
                    <a:pt x="306" y="303"/>
                  </a:cubicBezTo>
                  <a:cubicBezTo>
                    <a:pt x="306" y="321"/>
                    <a:pt x="299" y="328"/>
                    <a:pt x="282" y="328"/>
                  </a:cubicBezTo>
                  <a:cubicBezTo>
                    <a:pt x="196" y="328"/>
                    <a:pt x="110" y="328"/>
                    <a:pt x="24" y="328"/>
                  </a:cubicBezTo>
                  <a:cubicBezTo>
                    <a:pt x="7" y="328"/>
                    <a:pt x="0" y="321"/>
                    <a:pt x="0" y="304"/>
                  </a:cubicBezTo>
                  <a:cubicBezTo>
                    <a:pt x="0" y="211"/>
                    <a:pt x="0" y="118"/>
                    <a:pt x="0" y="25"/>
                  </a:cubicBezTo>
                  <a:cubicBezTo>
                    <a:pt x="0" y="8"/>
                    <a:pt x="7" y="0"/>
                    <a:pt x="24" y="0"/>
                  </a:cubicBezTo>
                  <a:cubicBezTo>
                    <a:pt x="110" y="1"/>
                    <a:pt x="196" y="1"/>
                    <a:pt x="282" y="0"/>
                  </a:cubicBezTo>
                  <a:cubicBezTo>
                    <a:pt x="299" y="0"/>
                    <a:pt x="306" y="8"/>
                    <a:pt x="306" y="25"/>
                  </a:cubicBezTo>
                  <a:cubicBezTo>
                    <a:pt x="305" y="72"/>
                    <a:pt x="306" y="119"/>
                    <a:pt x="306" y="165"/>
                  </a:cubicBezTo>
                  <a:close/>
                  <a:moveTo>
                    <a:pt x="288" y="310"/>
                  </a:moveTo>
                  <a:cubicBezTo>
                    <a:pt x="288" y="212"/>
                    <a:pt x="288" y="116"/>
                    <a:pt x="288" y="19"/>
                  </a:cubicBezTo>
                  <a:cubicBezTo>
                    <a:pt x="197" y="19"/>
                    <a:pt x="107" y="19"/>
                    <a:pt x="18" y="19"/>
                  </a:cubicBezTo>
                  <a:cubicBezTo>
                    <a:pt x="18" y="117"/>
                    <a:pt x="18" y="213"/>
                    <a:pt x="18" y="310"/>
                  </a:cubicBezTo>
                  <a:cubicBezTo>
                    <a:pt x="108" y="310"/>
                    <a:pt x="198" y="310"/>
                    <a:pt x="288" y="3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27" name="Freeform 85">
              <a:extLst>
                <a:ext uri="{FF2B5EF4-FFF2-40B4-BE49-F238E27FC236}">
                  <a16:creationId xmlns:a16="http://schemas.microsoft.com/office/drawing/2014/main" id="{02882CD1-8CA0-4250-B23C-C6DC8FA2DAAA}"/>
                </a:ext>
              </a:extLst>
            </p:cNvPr>
            <p:cNvSpPr>
              <a:spLocks/>
            </p:cNvSpPr>
            <p:nvPr/>
          </p:nvSpPr>
          <p:spPr bwMode="auto">
            <a:xfrm>
              <a:off x="1278906" y="5261305"/>
              <a:ext cx="42814" cy="46296"/>
            </a:xfrm>
            <a:custGeom>
              <a:avLst/>
              <a:gdLst>
                <a:gd name="T0" fmla="*/ 0 w 242"/>
                <a:gd name="T1" fmla="*/ 0 h 262"/>
                <a:gd name="T2" fmla="*/ 242 w 242"/>
                <a:gd name="T3" fmla="*/ 0 h 262"/>
                <a:gd name="T4" fmla="*/ 242 w 242"/>
                <a:gd name="T5" fmla="*/ 262 h 262"/>
                <a:gd name="T6" fmla="*/ 0 w 242"/>
                <a:gd name="T7" fmla="*/ 262 h 262"/>
                <a:gd name="T8" fmla="*/ 0 w 242"/>
                <a:gd name="T9" fmla="*/ 0 h 262"/>
              </a:gdLst>
              <a:ahLst/>
              <a:cxnLst>
                <a:cxn ang="0">
                  <a:pos x="T0" y="T1"/>
                </a:cxn>
                <a:cxn ang="0">
                  <a:pos x="T2" y="T3"/>
                </a:cxn>
                <a:cxn ang="0">
                  <a:pos x="T4" y="T5"/>
                </a:cxn>
                <a:cxn ang="0">
                  <a:pos x="T6" y="T7"/>
                </a:cxn>
                <a:cxn ang="0">
                  <a:pos x="T8" y="T9"/>
                </a:cxn>
              </a:cxnLst>
              <a:rect l="0" t="0" r="r" b="b"/>
              <a:pathLst>
                <a:path w="242" h="262">
                  <a:moveTo>
                    <a:pt x="0" y="0"/>
                  </a:moveTo>
                  <a:cubicBezTo>
                    <a:pt x="81" y="0"/>
                    <a:pt x="161" y="0"/>
                    <a:pt x="242" y="0"/>
                  </a:cubicBezTo>
                  <a:cubicBezTo>
                    <a:pt x="242" y="88"/>
                    <a:pt x="242" y="174"/>
                    <a:pt x="242" y="262"/>
                  </a:cubicBezTo>
                  <a:cubicBezTo>
                    <a:pt x="161" y="262"/>
                    <a:pt x="82" y="262"/>
                    <a:pt x="0" y="262"/>
                  </a:cubicBezTo>
                  <a:cubicBezTo>
                    <a:pt x="0" y="175"/>
                    <a:pt x="0" y="8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grpSp>
      <p:pic>
        <p:nvPicPr>
          <p:cNvPr id="28" name="Graphic 27" descr="Artificial Intelligence">
            <a:extLst>
              <a:ext uri="{FF2B5EF4-FFF2-40B4-BE49-F238E27FC236}">
                <a16:creationId xmlns:a16="http://schemas.microsoft.com/office/drawing/2014/main" id="{6F95FD45-FADA-4616-A7DD-5F691D0BD24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976" y="5374846"/>
            <a:ext cx="441682" cy="441682"/>
          </a:xfrm>
          <a:prstGeom prst="rect">
            <a:avLst/>
          </a:prstGeom>
        </p:spPr>
      </p:pic>
      <p:pic>
        <p:nvPicPr>
          <p:cNvPr id="29" name="Graphic 28">
            <a:extLst>
              <a:ext uri="{FF2B5EF4-FFF2-40B4-BE49-F238E27FC236}">
                <a16:creationId xmlns:a16="http://schemas.microsoft.com/office/drawing/2014/main" id="{5C946EE3-C7B1-49FF-9659-72790209044B}"/>
              </a:ext>
            </a:extLst>
          </p:cNvPr>
          <p:cNvPicPr>
            <a:picLocks noChangeAspect="1"/>
          </p:cNvPicPr>
          <p:nvPr userDrawn="1"/>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5071473" y="5426880"/>
            <a:ext cx="382497" cy="354487"/>
          </a:xfrm>
          <a:prstGeom prst="rect">
            <a:avLst/>
          </a:prstGeom>
        </p:spPr>
      </p:pic>
      <p:pic>
        <p:nvPicPr>
          <p:cNvPr id="30" name="Graphic 29" descr="Blueprint">
            <a:extLst>
              <a:ext uri="{FF2B5EF4-FFF2-40B4-BE49-F238E27FC236}">
                <a16:creationId xmlns:a16="http://schemas.microsoft.com/office/drawing/2014/main" id="{6F5F45C4-DD05-4BD9-8469-3DDB1CAE68F0}"/>
              </a:ext>
            </a:extLst>
          </p:cNvPr>
          <p:cNvPicPr>
            <a:picLocks noChangeAspect="1"/>
          </p:cNvPicPr>
          <p:nvPr userDrawn="1"/>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61825" y="5358373"/>
            <a:ext cx="454176" cy="454176"/>
          </a:xfrm>
          <a:prstGeom prst="rect">
            <a:avLst/>
          </a:prstGeom>
        </p:spPr>
      </p:pic>
      <p:sp>
        <p:nvSpPr>
          <p:cNvPr id="31" name="Oval 30">
            <a:extLst>
              <a:ext uri="{FF2B5EF4-FFF2-40B4-BE49-F238E27FC236}">
                <a16:creationId xmlns:a16="http://schemas.microsoft.com/office/drawing/2014/main" id="{D60EC080-044B-4097-9F26-BF8A5429BC95}"/>
              </a:ext>
            </a:extLst>
          </p:cNvPr>
          <p:cNvSpPr/>
          <p:nvPr userDrawn="1"/>
        </p:nvSpPr>
        <p:spPr>
          <a:xfrm>
            <a:off x="1188454" y="5257800"/>
            <a:ext cx="655320" cy="6553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93">
              <a:defRPr/>
            </a:pPr>
            <a:endParaRPr lang="en-IN" sz="1200" dirty="0">
              <a:solidFill>
                <a:prstClr val="white"/>
              </a:solidFill>
              <a:latin typeface="Calibri" panose="020F0502020204030204"/>
            </a:endParaRPr>
          </a:p>
        </p:txBody>
      </p:sp>
      <p:grpSp>
        <p:nvGrpSpPr>
          <p:cNvPr id="32" name="Group 31">
            <a:extLst>
              <a:ext uri="{FF2B5EF4-FFF2-40B4-BE49-F238E27FC236}">
                <a16:creationId xmlns:a16="http://schemas.microsoft.com/office/drawing/2014/main" id="{3C37D80C-3415-4B3C-809B-40117ED9AF8F}"/>
              </a:ext>
            </a:extLst>
          </p:cNvPr>
          <p:cNvGrpSpPr/>
          <p:nvPr userDrawn="1"/>
        </p:nvGrpSpPr>
        <p:grpSpPr>
          <a:xfrm flipH="1">
            <a:off x="1345547" y="5395462"/>
            <a:ext cx="341135" cy="379996"/>
            <a:chOff x="-9432925" y="1611313"/>
            <a:chExt cx="5819775" cy="6164263"/>
          </a:xfrm>
          <a:solidFill>
            <a:schemeClr val="bg1"/>
          </a:solidFill>
        </p:grpSpPr>
        <p:sp>
          <p:nvSpPr>
            <p:cNvPr id="33" name="Freeform 27">
              <a:extLst>
                <a:ext uri="{FF2B5EF4-FFF2-40B4-BE49-F238E27FC236}">
                  <a16:creationId xmlns:a16="http://schemas.microsoft.com/office/drawing/2014/main" id="{16068413-4894-4CF6-8EEB-4DF98CD64BB7}"/>
                </a:ext>
              </a:extLst>
            </p:cNvPr>
            <p:cNvSpPr>
              <a:spLocks noEditPoints="1"/>
            </p:cNvSpPr>
            <p:nvPr/>
          </p:nvSpPr>
          <p:spPr bwMode="auto">
            <a:xfrm>
              <a:off x="-9432925" y="1611313"/>
              <a:ext cx="5819775" cy="3116263"/>
            </a:xfrm>
            <a:custGeom>
              <a:avLst/>
              <a:gdLst>
                <a:gd name="T0" fmla="*/ 731 w 1953"/>
                <a:gd name="T1" fmla="*/ 261 h 1045"/>
                <a:gd name="T2" fmla="*/ 793 w 1953"/>
                <a:gd name="T3" fmla="*/ 172 h 1045"/>
                <a:gd name="T4" fmla="*/ 1337 w 1953"/>
                <a:gd name="T5" fmla="*/ 217 h 1045"/>
                <a:gd name="T6" fmla="*/ 1358 w 1953"/>
                <a:gd name="T7" fmla="*/ 233 h 1045"/>
                <a:gd name="T8" fmla="*/ 1622 w 1953"/>
                <a:gd name="T9" fmla="*/ 441 h 1045"/>
                <a:gd name="T10" fmla="*/ 1649 w 1953"/>
                <a:gd name="T11" fmla="*/ 465 h 1045"/>
                <a:gd name="T12" fmla="*/ 1887 w 1953"/>
                <a:gd name="T13" fmla="*/ 660 h 1045"/>
                <a:gd name="T14" fmla="*/ 1615 w 1953"/>
                <a:gd name="T15" fmla="*/ 1044 h 1045"/>
                <a:gd name="T16" fmla="*/ 936 w 1953"/>
                <a:gd name="T17" fmla="*/ 1042 h 1045"/>
                <a:gd name="T18" fmla="*/ 327 w 1953"/>
                <a:gd name="T19" fmla="*/ 1041 h 1045"/>
                <a:gd name="T20" fmla="*/ 60 w 1953"/>
                <a:gd name="T21" fmla="*/ 849 h 1045"/>
                <a:gd name="T22" fmla="*/ 298 w 1953"/>
                <a:gd name="T23" fmla="*/ 465 h 1045"/>
                <a:gd name="T24" fmla="*/ 326 w 1953"/>
                <a:gd name="T25" fmla="*/ 441 h 1045"/>
                <a:gd name="T26" fmla="*/ 635 w 1953"/>
                <a:gd name="T27" fmla="*/ 234 h 1045"/>
                <a:gd name="T28" fmla="*/ 714 w 1953"/>
                <a:gd name="T29" fmla="*/ 255 h 1045"/>
                <a:gd name="T30" fmla="*/ 731 w 1953"/>
                <a:gd name="T31" fmla="*/ 261 h 1045"/>
                <a:gd name="T32" fmla="*/ 1071 w 1953"/>
                <a:gd name="T33" fmla="*/ 209 h 1045"/>
                <a:gd name="T34" fmla="*/ 872 w 1953"/>
                <a:gd name="T35" fmla="*/ 328 h 1045"/>
                <a:gd name="T36" fmla="*/ 882 w 1953"/>
                <a:gd name="T37" fmla="*/ 368 h 1045"/>
                <a:gd name="T38" fmla="*/ 914 w 1953"/>
                <a:gd name="T39" fmla="*/ 346 h 1045"/>
                <a:gd name="T40" fmla="*/ 982 w 1953"/>
                <a:gd name="T41" fmla="*/ 270 h 1045"/>
                <a:gd name="T42" fmla="*/ 1176 w 1953"/>
                <a:gd name="T43" fmla="*/ 330 h 1045"/>
                <a:gd name="T44" fmla="*/ 1209 w 1953"/>
                <a:gd name="T45" fmla="*/ 344 h 1045"/>
                <a:gd name="T46" fmla="*/ 1214 w 1953"/>
                <a:gd name="T47" fmla="*/ 308 h 1045"/>
                <a:gd name="T48" fmla="*/ 1071 w 1953"/>
                <a:gd name="T49" fmla="*/ 209 h 1045"/>
                <a:gd name="T50" fmla="*/ 1751 w 1953"/>
                <a:gd name="T51" fmla="*/ 756 h 1045"/>
                <a:gd name="T52" fmla="*/ 1612 w 1953"/>
                <a:gd name="T53" fmla="*/ 615 h 1045"/>
                <a:gd name="T54" fmla="*/ 1582 w 1953"/>
                <a:gd name="T55" fmla="*/ 638 h 1045"/>
                <a:gd name="T56" fmla="*/ 1611 w 1953"/>
                <a:gd name="T57" fmla="*/ 661 h 1045"/>
                <a:gd name="T58" fmla="*/ 1615 w 1953"/>
                <a:gd name="T59" fmla="*/ 661 h 1045"/>
                <a:gd name="T60" fmla="*/ 1693 w 1953"/>
                <a:gd name="T61" fmla="*/ 715 h 1045"/>
                <a:gd name="T62" fmla="*/ 1617 w 1953"/>
                <a:gd name="T63" fmla="*/ 846 h 1045"/>
                <a:gd name="T64" fmla="*/ 1592 w 1953"/>
                <a:gd name="T65" fmla="*/ 872 h 1045"/>
                <a:gd name="T66" fmla="*/ 1626 w 1953"/>
                <a:gd name="T67" fmla="*/ 892 h 1045"/>
                <a:gd name="T68" fmla="*/ 1751 w 1953"/>
                <a:gd name="T69" fmla="*/ 756 h 1045"/>
                <a:gd name="T70" fmla="*/ 196 w 1953"/>
                <a:gd name="T71" fmla="*/ 758 h 1045"/>
                <a:gd name="T72" fmla="*/ 287 w 1953"/>
                <a:gd name="T73" fmla="*/ 886 h 1045"/>
                <a:gd name="T74" fmla="*/ 321 w 1953"/>
                <a:gd name="T75" fmla="*/ 875 h 1045"/>
                <a:gd name="T76" fmla="*/ 304 w 1953"/>
                <a:gd name="T77" fmla="*/ 845 h 1045"/>
                <a:gd name="T78" fmla="*/ 243 w 1953"/>
                <a:gd name="T79" fmla="*/ 742 h 1045"/>
                <a:gd name="T80" fmla="*/ 331 w 1953"/>
                <a:gd name="T81" fmla="*/ 663 h 1045"/>
                <a:gd name="T82" fmla="*/ 359 w 1953"/>
                <a:gd name="T83" fmla="*/ 635 h 1045"/>
                <a:gd name="T84" fmla="*/ 326 w 1953"/>
                <a:gd name="T85" fmla="*/ 615 h 1045"/>
                <a:gd name="T86" fmla="*/ 196 w 1953"/>
                <a:gd name="T87" fmla="*/ 758 h 1045"/>
                <a:gd name="T88" fmla="*/ 607 w 1953"/>
                <a:gd name="T89" fmla="*/ 380 h 1045"/>
                <a:gd name="T90" fmla="*/ 605 w 1953"/>
                <a:gd name="T91" fmla="*/ 385 h 1045"/>
                <a:gd name="T92" fmla="*/ 470 w 1953"/>
                <a:gd name="T93" fmla="*/ 496 h 1045"/>
                <a:gd name="T94" fmla="*/ 486 w 1953"/>
                <a:gd name="T95" fmla="*/ 525 h 1045"/>
                <a:gd name="T96" fmla="*/ 512 w 1953"/>
                <a:gd name="T97" fmla="*/ 505 h 1045"/>
                <a:gd name="T98" fmla="*/ 534 w 1953"/>
                <a:gd name="T99" fmla="*/ 461 h 1045"/>
                <a:gd name="T100" fmla="*/ 652 w 1953"/>
                <a:gd name="T101" fmla="*/ 442 h 1045"/>
                <a:gd name="T102" fmla="*/ 686 w 1953"/>
                <a:gd name="T103" fmla="*/ 435 h 1045"/>
                <a:gd name="T104" fmla="*/ 675 w 1953"/>
                <a:gd name="T105" fmla="*/ 404 h 1045"/>
                <a:gd name="T106" fmla="*/ 607 w 1953"/>
                <a:gd name="T107" fmla="*/ 380 h 1045"/>
                <a:gd name="T108" fmla="*/ 1341 w 1953"/>
                <a:gd name="T109" fmla="*/ 385 h 1045"/>
                <a:gd name="T110" fmla="*/ 1325 w 1953"/>
                <a:gd name="T111" fmla="*/ 402 h 1045"/>
                <a:gd name="T112" fmla="*/ 1345 w 1953"/>
                <a:gd name="T113" fmla="*/ 430 h 1045"/>
                <a:gd name="T114" fmla="*/ 1440 w 1953"/>
                <a:gd name="T115" fmla="*/ 514 h 1045"/>
                <a:gd name="T116" fmla="*/ 1466 w 1953"/>
                <a:gd name="T117" fmla="*/ 528 h 1045"/>
                <a:gd name="T118" fmla="*/ 1480 w 1953"/>
                <a:gd name="T119" fmla="*/ 493 h 1045"/>
                <a:gd name="T120" fmla="*/ 1341 w 1953"/>
                <a:gd name="T121" fmla="*/ 385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3" h="1045">
                  <a:moveTo>
                    <a:pt x="731" y="261"/>
                  </a:moveTo>
                  <a:cubicBezTo>
                    <a:pt x="752" y="230"/>
                    <a:pt x="770" y="199"/>
                    <a:pt x="793" y="172"/>
                  </a:cubicBezTo>
                  <a:cubicBezTo>
                    <a:pt x="943" y="0"/>
                    <a:pt x="1217" y="23"/>
                    <a:pt x="1337" y="217"/>
                  </a:cubicBezTo>
                  <a:cubicBezTo>
                    <a:pt x="1341" y="224"/>
                    <a:pt x="1351" y="232"/>
                    <a:pt x="1358" y="233"/>
                  </a:cubicBezTo>
                  <a:cubicBezTo>
                    <a:pt x="1482" y="242"/>
                    <a:pt x="1585" y="323"/>
                    <a:pt x="1622" y="441"/>
                  </a:cubicBezTo>
                  <a:cubicBezTo>
                    <a:pt x="1627" y="457"/>
                    <a:pt x="1634" y="463"/>
                    <a:pt x="1649" y="465"/>
                  </a:cubicBezTo>
                  <a:cubicBezTo>
                    <a:pt x="1767" y="483"/>
                    <a:pt x="1848" y="548"/>
                    <a:pt x="1887" y="660"/>
                  </a:cubicBezTo>
                  <a:cubicBezTo>
                    <a:pt x="1953" y="847"/>
                    <a:pt x="1814" y="1043"/>
                    <a:pt x="1615" y="1044"/>
                  </a:cubicBezTo>
                  <a:cubicBezTo>
                    <a:pt x="1388" y="1045"/>
                    <a:pt x="1162" y="1043"/>
                    <a:pt x="936" y="1042"/>
                  </a:cubicBezTo>
                  <a:cubicBezTo>
                    <a:pt x="733" y="1041"/>
                    <a:pt x="530" y="1037"/>
                    <a:pt x="327" y="1041"/>
                  </a:cubicBezTo>
                  <a:cubicBezTo>
                    <a:pt x="221" y="1043"/>
                    <a:pt x="99" y="963"/>
                    <a:pt x="60" y="849"/>
                  </a:cubicBezTo>
                  <a:cubicBezTo>
                    <a:pt x="0" y="674"/>
                    <a:pt x="114" y="488"/>
                    <a:pt x="298" y="465"/>
                  </a:cubicBezTo>
                  <a:cubicBezTo>
                    <a:pt x="314" y="463"/>
                    <a:pt x="321" y="457"/>
                    <a:pt x="326" y="441"/>
                  </a:cubicBezTo>
                  <a:cubicBezTo>
                    <a:pt x="368" y="306"/>
                    <a:pt x="496" y="220"/>
                    <a:pt x="635" y="234"/>
                  </a:cubicBezTo>
                  <a:cubicBezTo>
                    <a:pt x="661" y="237"/>
                    <a:pt x="687" y="247"/>
                    <a:pt x="714" y="255"/>
                  </a:cubicBezTo>
                  <a:cubicBezTo>
                    <a:pt x="720" y="257"/>
                    <a:pt x="727" y="260"/>
                    <a:pt x="731" y="261"/>
                  </a:cubicBezTo>
                  <a:close/>
                  <a:moveTo>
                    <a:pt x="1071" y="209"/>
                  </a:moveTo>
                  <a:cubicBezTo>
                    <a:pt x="971" y="209"/>
                    <a:pt x="899" y="257"/>
                    <a:pt x="872" y="328"/>
                  </a:cubicBezTo>
                  <a:cubicBezTo>
                    <a:pt x="865" y="347"/>
                    <a:pt x="869" y="363"/>
                    <a:pt x="882" y="368"/>
                  </a:cubicBezTo>
                  <a:cubicBezTo>
                    <a:pt x="901" y="373"/>
                    <a:pt x="908" y="361"/>
                    <a:pt x="914" y="346"/>
                  </a:cubicBezTo>
                  <a:cubicBezTo>
                    <a:pt x="927" y="312"/>
                    <a:pt x="950" y="287"/>
                    <a:pt x="982" y="270"/>
                  </a:cubicBezTo>
                  <a:cubicBezTo>
                    <a:pt x="1052" y="234"/>
                    <a:pt x="1131" y="258"/>
                    <a:pt x="1176" y="330"/>
                  </a:cubicBezTo>
                  <a:cubicBezTo>
                    <a:pt x="1184" y="344"/>
                    <a:pt x="1194" y="350"/>
                    <a:pt x="1209" y="344"/>
                  </a:cubicBezTo>
                  <a:cubicBezTo>
                    <a:pt x="1221" y="338"/>
                    <a:pt x="1223" y="323"/>
                    <a:pt x="1214" y="308"/>
                  </a:cubicBezTo>
                  <a:cubicBezTo>
                    <a:pt x="1177" y="244"/>
                    <a:pt x="1121" y="211"/>
                    <a:pt x="1071" y="209"/>
                  </a:cubicBezTo>
                  <a:close/>
                  <a:moveTo>
                    <a:pt x="1751" y="756"/>
                  </a:moveTo>
                  <a:cubicBezTo>
                    <a:pt x="1753" y="681"/>
                    <a:pt x="1687" y="614"/>
                    <a:pt x="1612" y="615"/>
                  </a:cubicBezTo>
                  <a:cubicBezTo>
                    <a:pt x="1596" y="615"/>
                    <a:pt x="1583" y="622"/>
                    <a:pt x="1582" y="638"/>
                  </a:cubicBezTo>
                  <a:cubicBezTo>
                    <a:pt x="1581" y="654"/>
                    <a:pt x="1595" y="660"/>
                    <a:pt x="1611" y="661"/>
                  </a:cubicBezTo>
                  <a:cubicBezTo>
                    <a:pt x="1612" y="661"/>
                    <a:pt x="1614" y="661"/>
                    <a:pt x="1615" y="661"/>
                  </a:cubicBezTo>
                  <a:cubicBezTo>
                    <a:pt x="1651" y="664"/>
                    <a:pt x="1678" y="682"/>
                    <a:pt x="1693" y="715"/>
                  </a:cubicBezTo>
                  <a:cubicBezTo>
                    <a:pt x="1720" y="772"/>
                    <a:pt x="1685" y="834"/>
                    <a:pt x="1617" y="846"/>
                  </a:cubicBezTo>
                  <a:cubicBezTo>
                    <a:pt x="1601" y="849"/>
                    <a:pt x="1590" y="854"/>
                    <a:pt x="1592" y="872"/>
                  </a:cubicBezTo>
                  <a:cubicBezTo>
                    <a:pt x="1593" y="887"/>
                    <a:pt x="1607" y="894"/>
                    <a:pt x="1626" y="892"/>
                  </a:cubicBezTo>
                  <a:cubicBezTo>
                    <a:pt x="1695" y="883"/>
                    <a:pt x="1749" y="825"/>
                    <a:pt x="1751" y="756"/>
                  </a:cubicBezTo>
                  <a:close/>
                  <a:moveTo>
                    <a:pt x="196" y="758"/>
                  </a:moveTo>
                  <a:cubicBezTo>
                    <a:pt x="197" y="815"/>
                    <a:pt x="236" y="870"/>
                    <a:pt x="287" y="886"/>
                  </a:cubicBezTo>
                  <a:cubicBezTo>
                    <a:pt x="301" y="891"/>
                    <a:pt x="315" y="891"/>
                    <a:pt x="321" y="875"/>
                  </a:cubicBezTo>
                  <a:cubicBezTo>
                    <a:pt x="327" y="860"/>
                    <a:pt x="318" y="851"/>
                    <a:pt x="304" y="845"/>
                  </a:cubicBezTo>
                  <a:cubicBezTo>
                    <a:pt x="260" y="826"/>
                    <a:pt x="237" y="787"/>
                    <a:pt x="243" y="742"/>
                  </a:cubicBezTo>
                  <a:cubicBezTo>
                    <a:pt x="249" y="700"/>
                    <a:pt x="283" y="670"/>
                    <a:pt x="331" y="663"/>
                  </a:cubicBezTo>
                  <a:cubicBezTo>
                    <a:pt x="352" y="661"/>
                    <a:pt x="361" y="652"/>
                    <a:pt x="359" y="635"/>
                  </a:cubicBezTo>
                  <a:cubicBezTo>
                    <a:pt x="356" y="616"/>
                    <a:pt x="342" y="614"/>
                    <a:pt x="326" y="615"/>
                  </a:cubicBezTo>
                  <a:cubicBezTo>
                    <a:pt x="251" y="620"/>
                    <a:pt x="196" y="681"/>
                    <a:pt x="196" y="758"/>
                  </a:cubicBezTo>
                  <a:close/>
                  <a:moveTo>
                    <a:pt x="607" y="380"/>
                  </a:moveTo>
                  <a:cubicBezTo>
                    <a:pt x="606" y="382"/>
                    <a:pt x="606" y="383"/>
                    <a:pt x="605" y="385"/>
                  </a:cubicBezTo>
                  <a:cubicBezTo>
                    <a:pt x="537" y="385"/>
                    <a:pt x="475" y="436"/>
                    <a:pt x="470" y="496"/>
                  </a:cubicBezTo>
                  <a:cubicBezTo>
                    <a:pt x="468" y="510"/>
                    <a:pt x="470" y="522"/>
                    <a:pt x="486" y="525"/>
                  </a:cubicBezTo>
                  <a:cubicBezTo>
                    <a:pt x="501" y="528"/>
                    <a:pt x="508" y="519"/>
                    <a:pt x="512" y="505"/>
                  </a:cubicBezTo>
                  <a:cubicBezTo>
                    <a:pt x="518" y="490"/>
                    <a:pt x="524" y="473"/>
                    <a:pt x="534" y="461"/>
                  </a:cubicBezTo>
                  <a:cubicBezTo>
                    <a:pt x="563" y="425"/>
                    <a:pt x="608" y="418"/>
                    <a:pt x="652" y="442"/>
                  </a:cubicBezTo>
                  <a:cubicBezTo>
                    <a:pt x="667" y="450"/>
                    <a:pt x="678" y="448"/>
                    <a:pt x="686" y="435"/>
                  </a:cubicBezTo>
                  <a:cubicBezTo>
                    <a:pt x="696" y="420"/>
                    <a:pt x="688" y="410"/>
                    <a:pt x="675" y="404"/>
                  </a:cubicBezTo>
                  <a:cubicBezTo>
                    <a:pt x="653" y="395"/>
                    <a:pt x="630" y="388"/>
                    <a:pt x="607" y="380"/>
                  </a:cubicBezTo>
                  <a:close/>
                  <a:moveTo>
                    <a:pt x="1341" y="385"/>
                  </a:moveTo>
                  <a:cubicBezTo>
                    <a:pt x="1338" y="388"/>
                    <a:pt x="1327" y="394"/>
                    <a:pt x="1325" y="402"/>
                  </a:cubicBezTo>
                  <a:cubicBezTo>
                    <a:pt x="1322" y="415"/>
                    <a:pt x="1327" y="428"/>
                    <a:pt x="1345" y="430"/>
                  </a:cubicBezTo>
                  <a:cubicBezTo>
                    <a:pt x="1395" y="437"/>
                    <a:pt x="1430" y="461"/>
                    <a:pt x="1440" y="514"/>
                  </a:cubicBezTo>
                  <a:cubicBezTo>
                    <a:pt x="1442" y="528"/>
                    <a:pt x="1454" y="532"/>
                    <a:pt x="1466" y="528"/>
                  </a:cubicBezTo>
                  <a:cubicBezTo>
                    <a:pt x="1483" y="522"/>
                    <a:pt x="1483" y="508"/>
                    <a:pt x="1480" y="493"/>
                  </a:cubicBezTo>
                  <a:cubicBezTo>
                    <a:pt x="1468" y="433"/>
                    <a:pt x="1411" y="386"/>
                    <a:pt x="1341"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34" name="Freeform 28">
              <a:extLst>
                <a:ext uri="{FF2B5EF4-FFF2-40B4-BE49-F238E27FC236}">
                  <a16:creationId xmlns:a16="http://schemas.microsoft.com/office/drawing/2014/main" id="{31AC96D7-F361-4F55-8006-D38C64D781F8}"/>
                </a:ext>
              </a:extLst>
            </p:cNvPr>
            <p:cNvSpPr>
              <a:spLocks noEditPoints="1"/>
            </p:cNvSpPr>
            <p:nvPr/>
          </p:nvSpPr>
          <p:spPr bwMode="auto">
            <a:xfrm>
              <a:off x="-9340850" y="5935663"/>
              <a:ext cx="1677988" cy="1839913"/>
            </a:xfrm>
            <a:custGeom>
              <a:avLst/>
              <a:gdLst>
                <a:gd name="T0" fmla="*/ 480 w 563"/>
                <a:gd name="T1" fmla="*/ 267 h 617"/>
                <a:gd name="T2" fmla="*/ 480 w 563"/>
                <a:gd name="T3" fmla="*/ 349 h 617"/>
                <a:gd name="T4" fmla="*/ 532 w 563"/>
                <a:gd name="T5" fmla="*/ 350 h 617"/>
                <a:gd name="T6" fmla="*/ 562 w 563"/>
                <a:gd name="T7" fmla="*/ 379 h 617"/>
                <a:gd name="T8" fmla="*/ 562 w 563"/>
                <a:gd name="T9" fmla="*/ 586 h 617"/>
                <a:gd name="T10" fmla="*/ 528 w 563"/>
                <a:gd name="T11" fmla="*/ 617 h 617"/>
                <a:gd name="T12" fmla="*/ 82 w 563"/>
                <a:gd name="T13" fmla="*/ 617 h 617"/>
                <a:gd name="T14" fmla="*/ 27 w 563"/>
                <a:gd name="T15" fmla="*/ 616 h 617"/>
                <a:gd name="T16" fmla="*/ 0 w 563"/>
                <a:gd name="T17" fmla="*/ 590 h 617"/>
                <a:gd name="T18" fmla="*/ 0 w 563"/>
                <a:gd name="T19" fmla="*/ 377 h 617"/>
                <a:gd name="T20" fmla="*/ 30 w 563"/>
                <a:gd name="T21" fmla="*/ 350 h 617"/>
                <a:gd name="T22" fmla="*/ 83 w 563"/>
                <a:gd name="T23" fmla="*/ 349 h 617"/>
                <a:gd name="T24" fmla="*/ 83 w 563"/>
                <a:gd name="T25" fmla="*/ 267 h 617"/>
                <a:gd name="T26" fmla="*/ 34 w 563"/>
                <a:gd name="T27" fmla="*/ 267 h 617"/>
                <a:gd name="T28" fmla="*/ 0 w 563"/>
                <a:gd name="T29" fmla="*/ 234 h 617"/>
                <a:gd name="T30" fmla="*/ 0 w 563"/>
                <a:gd name="T31" fmla="*/ 32 h 617"/>
                <a:gd name="T32" fmla="*/ 31 w 563"/>
                <a:gd name="T33" fmla="*/ 0 h 617"/>
                <a:gd name="T34" fmla="*/ 530 w 563"/>
                <a:gd name="T35" fmla="*/ 0 h 617"/>
                <a:gd name="T36" fmla="*/ 562 w 563"/>
                <a:gd name="T37" fmla="*/ 33 h 617"/>
                <a:gd name="T38" fmla="*/ 562 w 563"/>
                <a:gd name="T39" fmla="*/ 232 h 617"/>
                <a:gd name="T40" fmla="*/ 528 w 563"/>
                <a:gd name="T41" fmla="*/ 267 h 617"/>
                <a:gd name="T42" fmla="*/ 480 w 563"/>
                <a:gd name="T43" fmla="*/ 267 h 617"/>
                <a:gd name="T44" fmla="*/ 133 w 563"/>
                <a:gd name="T45" fmla="*/ 265 h 617"/>
                <a:gd name="T46" fmla="*/ 133 w 563"/>
                <a:gd name="T47" fmla="*/ 345 h 617"/>
                <a:gd name="T48" fmla="*/ 430 w 563"/>
                <a:gd name="T49" fmla="*/ 345 h 617"/>
                <a:gd name="T50" fmla="*/ 430 w 563"/>
                <a:gd name="T51" fmla="*/ 265 h 617"/>
                <a:gd name="T52" fmla="*/ 133 w 563"/>
                <a:gd name="T53" fmla="*/ 265 h 617"/>
                <a:gd name="T54" fmla="*/ 101 w 563"/>
                <a:gd name="T55" fmla="*/ 89 h 617"/>
                <a:gd name="T56" fmla="*/ 101 w 563"/>
                <a:gd name="T57" fmla="*/ 175 h 617"/>
                <a:gd name="T58" fmla="*/ 187 w 563"/>
                <a:gd name="T59" fmla="*/ 175 h 617"/>
                <a:gd name="T60" fmla="*/ 187 w 563"/>
                <a:gd name="T61" fmla="*/ 89 h 617"/>
                <a:gd name="T62" fmla="*/ 101 w 563"/>
                <a:gd name="T63" fmla="*/ 89 h 617"/>
                <a:gd name="T64" fmla="*/ 101 w 563"/>
                <a:gd name="T65" fmla="*/ 438 h 617"/>
                <a:gd name="T66" fmla="*/ 101 w 563"/>
                <a:gd name="T67" fmla="*/ 525 h 617"/>
                <a:gd name="T68" fmla="*/ 187 w 563"/>
                <a:gd name="T69" fmla="*/ 525 h 617"/>
                <a:gd name="T70" fmla="*/ 187 w 563"/>
                <a:gd name="T71" fmla="*/ 438 h 617"/>
                <a:gd name="T72" fmla="*/ 101 w 563"/>
                <a:gd name="T73" fmla="*/ 438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3" h="617">
                  <a:moveTo>
                    <a:pt x="480" y="267"/>
                  </a:moveTo>
                  <a:cubicBezTo>
                    <a:pt x="480" y="296"/>
                    <a:pt x="480" y="321"/>
                    <a:pt x="480" y="349"/>
                  </a:cubicBezTo>
                  <a:cubicBezTo>
                    <a:pt x="498" y="349"/>
                    <a:pt x="515" y="349"/>
                    <a:pt x="532" y="350"/>
                  </a:cubicBezTo>
                  <a:cubicBezTo>
                    <a:pt x="552" y="350"/>
                    <a:pt x="562" y="359"/>
                    <a:pt x="562" y="379"/>
                  </a:cubicBezTo>
                  <a:cubicBezTo>
                    <a:pt x="563" y="448"/>
                    <a:pt x="563" y="517"/>
                    <a:pt x="562" y="586"/>
                  </a:cubicBezTo>
                  <a:cubicBezTo>
                    <a:pt x="562" y="609"/>
                    <a:pt x="553" y="617"/>
                    <a:pt x="528" y="617"/>
                  </a:cubicBezTo>
                  <a:cubicBezTo>
                    <a:pt x="379" y="617"/>
                    <a:pt x="231" y="617"/>
                    <a:pt x="82" y="617"/>
                  </a:cubicBezTo>
                  <a:cubicBezTo>
                    <a:pt x="64" y="617"/>
                    <a:pt x="45" y="617"/>
                    <a:pt x="27" y="616"/>
                  </a:cubicBezTo>
                  <a:cubicBezTo>
                    <a:pt x="9" y="616"/>
                    <a:pt x="0" y="607"/>
                    <a:pt x="0" y="590"/>
                  </a:cubicBezTo>
                  <a:cubicBezTo>
                    <a:pt x="0" y="519"/>
                    <a:pt x="0" y="448"/>
                    <a:pt x="0" y="377"/>
                  </a:cubicBezTo>
                  <a:cubicBezTo>
                    <a:pt x="1" y="359"/>
                    <a:pt x="11" y="350"/>
                    <a:pt x="30" y="350"/>
                  </a:cubicBezTo>
                  <a:cubicBezTo>
                    <a:pt x="47" y="349"/>
                    <a:pt x="65" y="349"/>
                    <a:pt x="83" y="349"/>
                  </a:cubicBezTo>
                  <a:cubicBezTo>
                    <a:pt x="83" y="322"/>
                    <a:pt x="83" y="296"/>
                    <a:pt x="83" y="267"/>
                  </a:cubicBezTo>
                  <a:cubicBezTo>
                    <a:pt x="66" y="267"/>
                    <a:pt x="50" y="268"/>
                    <a:pt x="34" y="267"/>
                  </a:cubicBezTo>
                  <a:cubicBezTo>
                    <a:pt x="8" y="267"/>
                    <a:pt x="0" y="259"/>
                    <a:pt x="0" y="234"/>
                  </a:cubicBezTo>
                  <a:cubicBezTo>
                    <a:pt x="0" y="166"/>
                    <a:pt x="0" y="99"/>
                    <a:pt x="0" y="32"/>
                  </a:cubicBezTo>
                  <a:cubicBezTo>
                    <a:pt x="0" y="9"/>
                    <a:pt x="8" y="0"/>
                    <a:pt x="31" y="0"/>
                  </a:cubicBezTo>
                  <a:cubicBezTo>
                    <a:pt x="197" y="0"/>
                    <a:pt x="364" y="0"/>
                    <a:pt x="530" y="0"/>
                  </a:cubicBezTo>
                  <a:cubicBezTo>
                    <a:pt x="554" y="0"/>
                    <a:pt x="562" y="9"/>
                    <a:pt x="562" y="33"/>
                  </a:cubicBezTo>
                  <a:cubicBezTo>
                    <a:pt x="562" y="99"/>
                    <a:pt x="562" y="166"/>
                    <a:pt x="562" y="232"/>
                  </a:cubicBezTo>
                  <a:cubicBezTo>
                    <a:pt x="562" y="259"/>
                    <a:pt x="554" y="267"/>
                    <a:pt x="528" y="267"/>
                  </a:cubicBezTo>
                  <a:cubicBezTo>
                    <a:pt x="512" y="268"/>
                    <a:pt x="497" y="267"/>
                    <a:pt x="480" y="267"/>
                  </a:cubicBezTo>
                  <a:close/>
                  <a:moveTo>
                    <a:pt x="133" y="265"/>
                  </a:moveTo>
                  <a:cubicBezTo>
                    <a:pt x="133" y="293"/>
                    <a:pt x="133" y="319"/>
                    <a:pt x="133" y="345"/>
                  </a:cubicBezTo>
                  <a:cubicBezTo>
                    <a:pt x="233" y="345"/>
                    <a:pt x="331" y="345"/>
                    <a:pt x="430" y="345"/>
                  </a:cubicBezTo>
                  <a:cubicBezTo>
                    <a:pt x="430" y="317"/>
                    <a:pt x="430" y="291"/>
                    <a:pt x="430" y="265"/>
                  </a:cubicBezTo>
                  <a:cubicBezTo>
                    <a:pt x="330" y="265"/>
                    <a:pt x="232" y="265"/>
                    <a:pt x="133" y="265"/>
                  </a:cubicBezTo>
                  <a:close/>
                  <a:moveTo>
                    <a:pt x="101" y="89"/>
                  </a:moveTo>
                  <a:cubicBezTo>
                    <a:pt x="101" y="120"/>
                    <a:pt x="101" y="148"/>
                    <a:pt x="101" y="175"/>
                  </a:cubicBezTo>
                  <a:cubicBezTo>
                    <a:pt x="131" y="175"/>
                    <a:pt x="160" y="175"/>
                    <a:pt x="187" y="175"/>
                  </a:cubicBezTo>
                  <a:cubicBezTo>
                    <a:pt x="187" y="146"/>
                    <a:pt x="187" y="117"/>
                    <a:pt x="187" y="89"/>
                  </a:cubicBezTo>
                  <a:cubicBezTo>
                    <a:pt x="158" y="89"/>
                    <a:pt x="130" y="89"/>
                    <a:pt x="101" y="89"/>
                  </a:cubicBezTo>
                  <a:close/>
                  <a:moveTo>
                    <a:pt x="101" y="438"/>
                  </a:moveTo>
                  <a:cubicBezTo>
                    <a:pt x="101" y="468"/>
                    <a:pt x="101" y="496"/>
                    <a:pt x="101" y="525"/>
                  </a:cubicBezTo>
                  <a:cubicBezTo>
                    <a:pt x="131" y="525"/>
                    <a:pt x="159" y="525"/>
                    <a:pt x="187" y="525"/>
                  </a:cubicBezTo>
                  <a:cubicBezTo>
                    <a:pt x="187" y="495"/>
                    <a:pt x="187" y="467"/>
                    <a:pt x="187" y="438"/>
                  </a:cubicBezTo>
                  <a:cubicBezTo>
                    <a:pt x="158" y="438"/>
                    <a:pt x="131" y="438"/>
                    <a:pt x="101"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35" name="Freeform 29">
              <a:extLst>
                <a:ext uri="{FF2B5EF4-FFF2-40B4-BE49-F238E27FC236}">
                  <a16:creationId xmlns:a16="http://schemas.microsoft.com/office/drawing/2014/main" id="{048D6BB4-58A4-45DE-9586-B3717816A37C}"/>
                </a:ext>
              </a:extLst>
            </p:cNvPr>
            <p:cNvSpPr>
              <a:spLocks noEditPoints="1"/>
            </p:cNvSpPr>
            <p:nvPr/>
          </p:nvSpPr>
          <p:spPr bwMode="auto">
            <a:xfrm>
              <a:off x="-5402263" y="5926138"/>
              <a:ext cx="1677988" cy="1841500"/>
            </a:xfrm>
            <a:custGeom>
              <a:avLst/>
              <a:gdLst>
                <a:gd name="T0" fmla="*/ 480 w 563"/>
                <a:gd name="T1" fmla="*/ 267 h 617"/>
                <a:gd name="T2" fmla="*/ 480 w 563"/>
                <a:gd name="T3" fmla="*/ 350 h 617"/>
                <a:gd name="T4" fmla="*/ 531 w 563"/>
                <a:gd name="T5" fmla="*/ 350 h 617"/>
                <a:gd name="T6" fmla="*/ 563 w 563"/>
                <a:gd name="T7" fmla="*/ 383 h 617"/>
                <a:gd name="T8" fmla="*/ 563 w 563"/>
                <a:gd name="T9" fmla="*/ 576 h 617"/>
                <a:gd name="T10" fmla="*/ 523 w 563"/>
                <a:gd name="T11" fmla="*/ 617 h 617"/>
                <a:gd name="T12" fmla="*/ 72 w 563"/>
                <a:gd name="T13" fmla="*/ 617 h 617"/>
                <a:gd name="T14" fmla="*/ 30 w 563"/>
                <a:gd name="T15" fmla="*/ 617 h 617"/>
                <a:gd name="T16" fmla="*/ 1 w 563"/>
                <a:gd name="T17" fmla="*/ 589 h 617"/>
                <a:gd name="T18" fmla="*/ 1 w 563"/>
                <a:gd name="T19" fmla="*/ 379 h 617"/>
                <a:gd name="T20" fmla="*/ 31 w 563"/>
                <a:gd name="T21" fmla="*/ 350 h 617"/>
                <a:gd name="T22" fmla="*/ 83 w 563"/>
                <a:gd name="T23" fmla="*/ 349 h 617"/>
                <a:gd name="T24" fmla="*/ 83 w 563"/>
                <a:gd name="T25" fmla="*/ 267 h 617"/>
                <a:gd name="T26" fmla="*/ 34 w 563"/>
                <a:gd name="T27" fmla="*/ 267 h 617"/>
                <a:gd name="T28" fmla="*/ 1 w 563"/>
                <a:gd name="T29" fmla="*/ 235 h 617"/>
                <a:gd name="T30" fmla="*/ 1 w 563"/>
                <a:gd name="T31" fmla="*/ 30 h 617"/>
                <a:gd name="T32" fmla="*/ 32 w 563"/>
                <a:gd name="T33" fmla="*/ 0 h 617"/>
                <a:gd name="T34" fmla="*/ 533 w 563"/>
                <a:gd name="T35" fmla="*/ 0 h 617"/>
                <a:gd name="T36" fmla="*/ 563 w 563"/>
                <a:gd name="T37" fmla="*/ 31 h 617"/>
                <a:gd name="T38" fmla="*/ 563 w 563"/>
                <a:gd name="T39" fmla="*/ 236 h 617"/>
                <a:gd name="T40" fmla="*/ 531 w 563"/>
                <a:gd name="T41" fmla="*/ 267 h 617"/>
                <a:gd name="T42" fmla="*/ 480 w 563"/>
                <a:gd name="T43" fmla="*/ 267 h 617"/>
                <a:gd name="T44" fmla="*/ 133 w 563"/>
                <a:gd name="T45" fmla="*/ 268 h 617"/>
                <a:gd name="T46" fmla="*/ 133 w 563"/>
                <a:gd name="T47" fmla="*/ 348 h 617"/>
                <a:gd name="T48" fmla="*/ 430 w 563"/>
                <a:gd name="T49" fmla="*/ 348 h 617"/>
                <a:gd name="T50" fmla="*/ 430 w 563"/>
                <a:gd name="T51" fmla="*/ 268 h 617"/>
                <a:gd name="T52" fmla="*/ 133 w 563"/>
                <a:gd name="T53" fmla="*/ 268 h 617"/>
                <a:gd name="T54" fmla="*/ 102 w 563"/>
                <a:gd name="T55" fmla="*/ 92 h 617"/>
                <a:gd name="T56" fmla="*/ 102 w 563"/>
                <a:gd name="T57" fmla="*/ 179 h 617"/>
                <a:gd name="T58" fmla="*/ 189 w 563"/>
                <a:gd name="T59" fmla="*/ 179 h 617"/>
                <a:gd name="T60" fmla="*/ 189 w 563"/>
                <a:gd name="T61" fmla="*/ 92 h 617"/>
                <a:gd name="T62" fmla="*/ 102 w 563"/>
                <a:gd name="T63" fmla="*/ 92 h 617"/>
                <a:gd name="T64" fmla="*/ 102 w 563"/>
                <a:gd name="T65" fmla="*/ 441 h 617"/>
                <a:gd name="T66" fmla="*/ 102 w 563"/>
                <a:gd name="T67" fmla="*/ 528 h 617"/>
                <a:gd name="T68" fmla="*/ 189 w 563"/>
                <a:gd name="T69" fmla="*/ 528 h 617"/>
                <a:gd name="T70" fmla="*/ 189 w 563"/>
                <a:gd name="T71" fmla="*/ 441 h 617"/>
                <a:gd name="T72" fmla="*/ 102 w 563"/>
                <a:gd name="T73" fmla="*/ 441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3" h="617">
                  <a:moveTo>
                    <a:pt x="480" y="267"/>
                  </a:moveTo>
                  <a:cubicBezTo>
                    <a:pt x="480" y="296"/>
                    <a:pt x="480" y="322"/>
                    <a:pt x="480" y="350"/>
                  </a:cubicBezTo>
                  <a:cubicBezTo>
                    <a:pt x="498" y="350"/>
                    <a:pt x="514" y="349"/>
                    <a:pt x="531" y="350"/>
                  </a:cubicBezTo>
                  <a:cubicBezTo>
                    <a:pt x="555" y="350"/>
                    <a:pt x="563" y="359"/>
                    <a:pt x="563" y="383"/>
                  </a:cubicBezTo>
                  <a:cubicBezTo>
                    <a:pt x="563" y="447"/>
                    <a:pt x="563" y="512"/>
                    <a:pt x="563" y="576"/>
                  </a:cubicBezTo>
                  <a:cubicBezTo>
                    <a:pt x="563" y="611"/>
                    <a:pt x="557" y="617"/>
                    <a:pt x="523" y="617"/>
                  </a:cubicBezTo>
                  <a:cubicBezTo>
                    <a:pt x="372" y="617"/>
                    <a:pt x="222" y="617"/>
                    <a:pt x="72" y="617"/>
                  </a:cubicBezTo>
                  <a:cubicBezTo>
                    <a:pt x="58" y="617"/>
                    <a:pt x="44" y="617"/>
                    <a:pt x="30" y="617"/>
                  </a:cubicBezTo>
                  <a:cubicBezTo>
                    <a:pt x="11" y="617"/>
                    <a:pt x="1" y="607"/>
                    <a:pt x="1" y="589"/>
                  </a:cubicBezTo>
                  <a:cubicBezTo>
                    <a:pt x="1" y="519"/>
                    <a:pt x="0" y="449"/>
                    <a:pt x="1" y="379"/>
                  </a:cubicBezTo>
                  <a:cubicBezTo>
                    <a:pt x="1" y="359"/>
                    <a:pt x="10" y="350"/>
                    <a:pt x="31" y="350"/>
                  </a:cubicBezTo>
                  <a:cubicBezTo>
                    <a:pt x="48" y="349"/>
                    <a:pt x="65" y="349"/>
                    <a:pt x="83" y="349"/>
                  </a:cubicBezTo>
                  <a:cubicBezTo>
                    <a:pt x="83" y="322"/>
                    <a:pt x="83" y="296"/>
                    <a:pt x="83" y="267"/>
                  </a:cubicBezTo>
                  <a:cubicBezTo>
                    <a:pt x="67" y="267"/>
                    <a:pt x="51" y="268"/>
                    <a:pt x="34" y="267"/>
                  </a:cubicBezTo>
                  <a:cubicBezTo>
                    <a:pt x="11" y="267"/>
                    <a:pt x="1" y="258"/>
                    <a:pt x="1" y="235"/>
                  </a:cubicBezTo>
                  <a:cubicBezTo>
                    <a:pt x="0" y="167"/>
                    <a:pt x="1" y="98"/>
                    <a:pt x="1" y="30"/>
                  </a:cubicBezTo>
                  <a:cubicBezTo>
                    <a:pt x="1" y="9"/>
                    <a:pt x="10" y="0"/>
                    <a:pt x="32" y="0"/>
                  </a:cubicBezTo>
                  <a:cubicBezTo>
                    <a:pt x="199" y="0"/>
                    <a:pt x="366" y="0"/>
                    <a:pt x="533" y="0"/>
                  </a:cubicBezTo>
                  <a:cubicBezTo>
                    <a:pt x="554" y="0"/>
                    <a:pt x="563" y="9"/>
                    <a:pt x="563" y="31"/>
                  </a:cubicBezTo>
                  <a:cubicBezTo>
                    <a:pt x="563" y="99"/>
                    <a:pt x="563" y="168"/>
                    <a:pt x="563" y="236"/>
                  </a:cubicBezTo>
                  <a:cubicBezTo>
                    <a:pt x="563" y="258"/>
                    <a:pt x="553" y="267"/>
                    <a:pt x="531" y="267"/>
                  </a:cubicBezTo>
                  <a:cubicBezTo>
                    <a:pt x="514" y="268"/>
                    <a:pt x="498" y="267"/>
                    <a:pt x="480" y="267"/>
                  </a:cubicBezTo>
                  <a:close/>
                  <a:moveTo>
                    <a:pt x="133" y="268"/>
                  </a:moveTo>
                  <a:cubicBezTo>
                    <a:pt x="133" y="296"/>
                    <a:pt x="133" y="322"/>
                    <a:pt x="133" y="348"/>
                  </a:cubicBezTo>
                  <a:cubicBezTo>
                    <a:pt x="232" y="348"/>
                    <a:pt x="331" y="348"/>
                    <a:pt x="430" y="348"/>
                  </a:cubicBezTo>
                  <a:cubicBezTo>
                    <a:pt x="430" y="321"/>
                    <a:pt x="430" y="295"/>
                    <a:pt x="430" y="268"/>
                  </a:cubicBezTo>
                  <a:cubicBezTo>
                    <a:pt x="330" y="268"/>
                    <a:pt x="232" y="268"/>
                    <a:pt x="133" y="268"/>
                  </a:cubicBezTo>
                  <a:close/>
                  <a:moveTo>
                    <a:pt x="102" y="92"/>
                  </a:moveTo>
                  <a:cubicBezTo>
                    <a:pt x="102" y="122"/>
                    <a:pt x="102" y="150"/>
                    <a:pt x="102" y="179"/>
                  </a:cubicBezTo>
                  <a:cubicBezTo>
                    <a:pt x="132" y="179"/>
                    <a:pt x="160" y="179"/>
                    <a:pt x="189" y="179"/>
                  </a:cubicBezTo>
                  <a:cubicBezTo>
                    <a:pt x="189" y="149"/>
                    <a:pt x="189" y="121"/>
                    <a:pt x="189" y="92"/>
                  </a:cubicBezTo>
                  <a:cubicBezTo>
                    <a:pt x="160" y="92"/>
                    <a:pt x="132" y="92"/>
                    <a:pt x="102" y="92"/>
                  </a:cubicBezTo>
                  <a:close/>
                  <a:moveTo>
                    <a:pt x="102" y="441"/>
                  </a:moveTo>
                  <a:cubicBezTo>
                    <a:pt x="102" y="470"/>
                    <a:pt x="102" y="498"/>
                    <a:pt x="102" y="528"/>
                  </a:cubicBezTo>
                  <a:cubicBezTo>
                    <a:pt x="131" y="528"/>
                    <a:pt x="160" y="528"/>
                    <a:pt x="189" y="528"/>
                  </a:cubicBezTo>
                  <a:cubicBezTo>
                    <a:pt x="189" y="498"/>
                    <a:pt x="189" y="470"/>
                    <a:pt x="189" y="441"/>
                  </a:cubicBezTo>
                  <a:cubicBezTo>
                    <a:pt x="159" y="441"/>
                    <a:pt x="131" y="441"/>
                    <a:pt x="102" y="4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36" name="Freeform 30">
              <a:extLst>
                <a:ext uri="{FF2B5EF4-FFF2-40B4-BE49-F238E27FC236}">
                  <a16:creationId xmlns:a16="http://schemas.microsoft.com/office/drawing/2014/main" id="{D5141305-68A7-4344-B706-1167A50A24F0}"/>
                </a:ext>
              </a:extLst>
            </p:cNvPr>
            <p:cNvSpPr>
              <a:spLocks noEditPoints="1"/>
            </p:cNvSpPr>
            <p:nvPr/>
          </p:nvSpPr>
          <p:spPr bwMode="auto">
            <a:xfrm>
              <a:off x="-7339013" y="5935663"/>
              <a:ext cx="1674813" cy="1839913"/>
            </a:xfrm>
            <a:custGeom>
              <a:avLst/>
              <a:gdLst>
                <a:gd name="T0" fmla="*/ 479 w 562"/>
                <a:gd name="T1" fmla="*/ 269 h 617"/>
                <a:gd name="T2" fmla="*/ 479 w 562"/>
                <a:gd name="T3" fmla="*/ 349 h 617"/>
                <a:gd name="T4" fmla="*/ 531 w 562"/>
                <a:gd name="T5" fmla="*/ 349 h 617"/>
                <a:gd name="T6" fmla="*/ 562 w 562"/>
                <a:gd name="T7" fmla="*/ 380 h 617"/>
                <a:gd name="T8" fmla="*/ 562 w 562"/>
                <a:gd name="T9" fmla="*/ 588 h 617"/>
                <a:gd name="T10" fmla="*/ 533 w 562"/>
                <a:gd name="T11" fmla="*/ 616 h 617"/>
                <a:gd name="T12" fmla="*/ 30 w 562"/>
                <a:gd name="T13" fmla="*/ 616 h 617"/>
                <a:gd name="T14" fmla="*/ 0 w 562"/>
                <a:gd name="T15" fmla="*/ 587 h 617"/>
                <a:gd name="T16" fmla="*/ 0 w 562"/>
                <a:gd name="T17" fmla="*/ 381 h 617"/>
                <a:gd name="T18" fmla="*/ 34 w 562"/>
                <a:gd name="T19" fmla="*/ 349 h 617"/>
                <a:gd name="T20" fmla="*/ 82 w 562"/>
                <a:gd name="T21" fmla="*/ 349 h 617"/>
                <a:gd name="T22" fmla="*/ 82 w 562"/>
                <a:gd name="T23" fmla="*/ 267 h 617"/>
                <a:gd name="T24" fmla="*/ 34 w 562"/>
                <a:gd name="T25" fmla="*/ 267 h 617"/>
                <a:gd name="T26" fmla="*/ 0 w 562"/>
                <a:gd name="T27" fmla="*/ 233 h 617"/>
                <a:gd name="T28" fmla="*/ 0 w 562"/>
                <a:gd name="T29" fmla="*/ 34 h 617"/>
                <a:gd name="T30" fmla="*/ 34 w 562"/>
                <a:gd name="T31" fmla="*/ 0 h 617"/>
                <a:gd name="T32" fmla="*/ 529 w 562"/>
                <a:gd name="T33" fmla="*/ 0 h 617"/>
                <a:gd name="T34" fmla="*/ 562 w 562"/>
                <a:gd name="T35" fmla="*/ 34 h 617"/>
                <a:gd name="T36" fmla="*/ 562 w 562"/>
                <a:gd name="T37" fmla="*/ 234 h 617"/>
                <a:gd name="T38" fmla="*/ 528 w 562"/>
                <a:gd name="T39" fmla="*/ 267 h 617"/>
                <a:gd name="T40" fmla="*/ 485 w 562"/>
                <a:gd name="T41" fmla="*/ 268 h 617"/>
                <a:gd name="T42" fmla="*/ 479 w 562"/>
                <a:gd name="T43" fmla="*/ 269 h 617"/>
                <a:gd name="T44" fmla="*/ 132 w 562"/>
                <a:gd name="T45" fmla="*/ 345 h 617"/>
                <a:gd name="T46" fmla="*/ 429 w 562"/>
                <a:gd name="T47" fmla="*/ 345 h 617"/>
                <a:gd name="T48" fmla="*/ 429 w 562"/>
                <a:gd name="T49" fmla="*/ 266 h 617"/>
                <a:gd name="T50" fmla="*/ 132 w 562"/>
                <a:gd name="T51" fmla="*/ 266 h 617"/>
                <a:gd name="T52" fmla="*/ 132 w 562"/>
                <a:gd name="T53" fmla="*/ 345 h 617"/>
                <a:gd name="T54" fmla="*/ 102 w 562"/>
                <a:gd name="T55" fmla="*/ 175 h 617"/>
                <a:gd name="T56" fmla="*/ 188 w 562"/>
                <a:gd name="T57" fmla="*/ 175 h 617"/>
                <a:gd name="T58" fmla="*/ 188 w 562"/>
                <a:gd name="T59" fmla="*/ 89 h 617"/>
                <a:gd name="T60" fmla="*/ 102 w 562"/>
                <a:gd name="T61" fmla="*/ 89 h 617"/>
                <a:gd name="T62" fmla="*/ 102 w 562"/>
                <a:gd name="T63" fmla="*/ 175 h 617"/>
                <a:gd name="T64" fmla="*/ 189 w 562"/>
                <a:gd name="T65" fmla="*/ 438 h 617"/>
                <a:gd name="T66" fmla="*/ 102 w 562"/>
                <a:gd name="T67" fmla="*/ 438 h 617"/>
                <a:gd name="T68" fmla="*/ 102 w 562"/>
                <a:gd name="T69" fmla="*/ 525 h 617"/>
                <a:gd name="T70" fmla="*/ 189 w 562"/>
                <a:gd name="T71" fmla="*/ 525 h 617"/>
                <a:gd name="T72" fmla="*/ 189 w 562"/>
                <a:gd name="T73" fmla="*/ 438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2" h="617">
                  <a:moveTo>
                    <a:pt x="479" y="269"/>
                  </a:moveTo>
                  <a:cubicBezTo>
                    <a:pt x="479" y="296"/>
                    <a:pt x="479" y="322"/>
                    <a:pt x="479" y="349"/>
                  </a:cubicBezTo>
                  <a:cubicBezTo>
                    <a:pt x="497" y="349"/>
                    <a:pt x="514" y="349"/>
                    <a:pt x="531" y="349"/>
                  </a:cubicBezTo>
                  <a:cubicBezTo>
                    <a:pt x="553" y="350"/>
                    <a:pt x="562" y="359"/>
                    <a:pt x="562" y="380"/>
                  </a:cubicBezTo>
                  <a:cubicBezTo>
                    <a:pt x="562" y="449"/>
                    <a:pt x="562" y="518"/>
                    <a:pt x="562" y="588"/>
                  </a:cubicBezTo>
                  <a:cubicBezTo>
                    <a:pt x="562" y="608"/>
                    <a:pt x="554" y="616"/>
                    <a:pt x="533" y="616"/>
                  </a:cubicBezTo>
                  <a:cubicBezTo>
                    <a:pt x="365" y="617"/>
                    <a:pt x="197" y="617"/>
                    <a:pt x="30" y="616"/>
                  </a:cubicBezTo>
                  <a:cubicBezTo>
                    <a:pt x="9" y="616"/>
                    <a:pt x="1" y="608"/>
                    <a:pt x="0" y="587"/>
                  </a:cubicBezTo>
                  <a:cubicBezTo>
                    <a:pt x="0" y="519"/>
                    <a:pt x="0" y="450"/>
                    <a:pt x="0" y="381"/>
                  </a:cubicBezTo>
                  <a:cubicBezTo>
                    <a:pt x="0" y="358"/>
                    <a:pt x="10" y="350"/>
                    <a:pt x="34" y="349"/>
                  </a:cubicBezTo>
                  <a:cubicBezTo>
                    <a:pt x="50" y="349"/>
                    <a:pt x="65" y="349"/>
                    <a:pt x="82" y="349"/>
                  </a:cubicBezTo>
                  <a:cubicBezTo>
                    <a:pt x="82" y="322"/>
                    <a:pt x="82" y="296"/>
                    <a:pt x="82" y="267"/>
                  </a:cubicBezTo>
                  <a:cubicBezTo>
                    <a:pt x="66" y="267"/>
                    <a:pt x="50" y="268"/>
                    <a:pt x="34" y="267"/>
                  </a:cubicBezTo>
                  <a:cubicBezTo>
                    <a:pt x="9" y="267"/>
                    <a:pt x="0" y="258"/>
                    <a:pt x="0" y="233"/>
                  </a:cubicBezTo>
                  <a:cubicBezTo>
                    <a:pt x="0" y="167"/>
                    <a:pt x="0" y="100"/>
                    <a:pt x="0" y="34"/>
                  </a:cubicBezTo>
                  <a:cubicBezTo>
                    <a:pt x="0" y="8"/>
                    <a:pt x="8" y="0"/>
                    <a:pt x="34" y="0"/>
                  </a:cubicBezTo>
                  <a:cubicBezTo>
                    <a:pt x="199" y="0"/>
                    <a:pt x="364" y="0"/>
                    <a:pt x="529" y="0"/>
                  </a:cubicBezTo>
                  <a:cubicBezTo>
                    <a:pt x="553" y="0"/>
                    <a:pt x="562" y="9"/>
                    <a:pt x="562" y="34"/>
                  </a:cubicBezTo>
                  <a:cubicBezTo>
                    <a:pt x="562" y="101"/>
                    <a:pt x="562" y="167"/>
                    <a:pt x="562" y="234"/>
                  </a:cubicBezTo>
                  <a:cubicBezTo>
                    <a:pt x="562" y="259"/>
                    <a:pt x="554" y="267"/>
                    <a:pt x="528" y="267"/>
                  </a:cubicBezTo>
                  <a:cubicBezTo>
                    <a:pt x="514" y="268"/>
                    <a:pt x="499" y="268"/>
                    <a:pt x="485" y="268"/>
                  </a:cubicBezTo>
                  <a:cubicBezTo>
                    <a:pt x="483" y="268"/>
                    <a:pt x="482" y="268"/>
                    <a:pt x="479" y="269"/>
                  </a:cubicBezTo>
                  <a:close/>
                  <a:moveTo>
                    <a:pt x="132" y="345"/>
                  </a:moveTo>
                  <a:cubicBezTo>
                    <a:pt x="232" y="345"/>
                    <a:pt x="331" y="345"/>
                    <a:pt x="429" y="345"/>
                  </a:cubicBezTo>
                  <a:cubicBezTo>
                    <a:pt x="429" y="317"/>
                    <a:pt x="429" y="291"/>
                    <a:pt x="429" y="266"/>
                  </a:cubicBezTo>
                  <a:cubicBezTo>
                    <a:pt x="329" y="266"/>
                    <a:pt x="231" y="266"/>
                    <a:pt x="132" y="266"/>
                  </a:cubicBezTo>
                  <a:cubicBezTo>
                    <a:pt x="132" y="293"/>
                    <a:pt x="132" y="318"/>
                    <a:pt x="132" y="345"/>
                  </a:cubicBezTo>
                  <a:close/>
                  <a:moveTo>
                    <a:pt x="102" y="175"/>
                  </a:moveTo>
                  <a:cubicBezTo>
                    <a:pt x="132" y="175"/>
                    <a:pt x="160" y="175"/>
                    <a:pt x="188" y="175"/>
                  </a:cubicBezTo>
                  <a:cubicBezTo>
                    <a:pt x="188" y="145"/>
                    <a:pt x="188" y="117"/>
                    <a:pt x="188" y="89"/>
                  </a:cubicBezTo>
                  <a:cubicBezTo>
                    <a:pt x="159" y="89"/>
                    <a:pt x="130" y="89"/>
                    <a:pt x="102" y="89"/>
                  </a:cubicBezTo>
                  <a:cubicBezTo>
                    <a:pt x="102" y="119"/>
                    <a:pt x="102" y="147"/>
                    <a:pt x="102" y="175"/>
                  </a:cubicBezTo>
                  <a:close/>
                  <a:moveTo>
                    <a:pt x="189" y="438"/>
                  </a:moveTo>
                  <a:cubicBezTo>
                    <a:pt x="159" y="438"/>
                    <a:pt x="131" y="438"/>
                    <a:pt x="102" y="438"/>
                  </a:cubicBezTo>
                  <a:cubicBezTo>
                    <a:pt x="102" y="468"/>
                    <a:pt x="102" y="496"/>
                    <a:pt x="102" y="525"/>
                  </a:cubicBezTo>
                  <a:cubicBezTo>
                    <a:pt x="131" y="525"/>
                    <a:pt x="160" y="525"/>
                    <a:pt x="189" y="525"/>
                  </a:cubicBezTo>
                  <a:cubicBezTo>
                    <a:pt x="189" y="496"/>
                    <a:pt x="189" y="468"/>
                    <a:pt x="189"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sp>
          <p:nvSpPr>
            <p:cNvPr id="37" name="Freeform 31">
              <a:extLst>
                <a:ext uri="{FF2B5EF4-FFF2-40B4-BE49-F238E27FC236}">
                  <a16:creationId xmlns:a16="http://schemas.microsoft.com/office/drawing/2014/main" id="{B471B50C-ED38-42A0-870B-7E9862980B49}"/>
                </a:ext>
              </a:extLst>
            </p:cNvPr>
            <p:cNvSpPr>
              <a:spLocks/>
            </p:cNvSpPr>
            <p:nvPr/>
          </p:nvSpPr>
          <p:spPr bwMode="auto">
            <a:xfrm>
              <a:off x="-8566150" y="4859338"/>
              <a:ext cx="4121150" cy="936625"/>
            </a:xfrm>
            <a:custGeom>
              <a:avLst/>
              <a:gdLst>
                <a:gd name="T0" fmla="*/ 1383 w 1383"/>
                <a:gd name="T1" fmla="*/ 314 h 314"/>
                <a:gd name="T2" fmla="*/ 1334 w 1383"/>
                <a:gd name="T3" fmla="*/ 314 h 314"/>
                <a:gd name="T4" fmla="*/ 1334 w 1383"/>
                <a:gd name="T5" fmla="*/ 159 h 314"/>
                <a:gd name="T6" fmla="*/ 715 w 1383"/>
                <a:gd name="T7" fmla="*/ 159 h 314"/>
                <a:gd name="T8" fmla="*/ 715 w 1383"/>
                <a:gd name="T9" fmla="*/ 313 h 314"/>
                <a:gd name="T10" fmla="*/ 668 w 1383"/>
                <a:gd name="T11" fmla="*/ 313 h 314"/>
                <a:gd name="T12" fmla="*/ 668 w 1383"/>
                <a:gd name="T13" fmla="*/ 159 h 314"/>
                <a:gd name="T14" fmla="*/ 48 w 1383"/>
                <a:gd name="T15" fmla="*/ 159 h 314"/>
                <a:gd name="T16" fmla="*/ 48 w 1383"/>
                <a:gd name="T17" fmla="*/ 313 h 314"/>
                <a:gd name="T18" fmla="*/ 0 w 1383"/>
                <a:gd name="T19" fmla="*/ 313 h 314"/>
                <a:gd name="T20" fmla="*/ 1 w 1383"/>
                <a:gd name="T21" fmla="*/ 133 h 314"/>
                <a:gd name="T22" fmla="*/ 32 w 1383"/>
                <a:gd name="T23" fmla="*/ 110 h 314"/>
                <a:gd name="T24" fmla="*/ 347 w 1383"/>
                <a:gd name="T25" fmla="*/ 110 h 314"/>
                <a:gd name="T26" fmla="*/ 669 w 1383"/>
                <a:gd name="T27" fmla="*/ 110 h 314"/>
                <a:gd name="T28" fmla="*/ 669 w 1383"/>
                <a:gd name="T29" fmla="*/ 0 h 314"/>
                <a:gd name="T30" fmla="*/ 717 w 1383"/>
                <a:gd name="T31" fmla="*/ 0 h 314"/>
                <a:gd name="T32" fmla="*/ 717 w 1383"/>
                <a:gd name="T33" fmla="*/ 110 h 314"/>
                <a:gd name="T34" fmla="*/ 738 w 1383"/>
                <a:gd name="T35" fmla="*/ 110 h 314"/>
                <a:gd name="T36" fmla="*/ 1345 w 1383"/>
                <a:gd name="T37" fmla="*/ 110 h 314"/>
                <a:gd name="T38" fmla="*/ 1383 w 1383"/>
                <a:gd name="T39" fmla="*/ 149 h 314"/>
                <a:gd name="T40" fmla="*/ 1383 w 1383"/>
                <a:gd name="T41"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3" h="314">
                  <a:moveTo>
                    <a:pt x="1383" y="314"/>
                  </a:moveTo>
                  <a:cubicBezTo>
                    <a:pt x="1365" y="314"/>
                    <a:pt x="1351" y="314"/>
                    <a:pt x="1334" y="314"/>
                  </a:cubicBezTo>
                  <a:cubicBezTo>
                    <a:pt x="1334" y="263"/>
                    <a:pt x="1334" y="212"/>
                    <a:pt x="1334" y="159"/>
                  </a:cubicBezTo>
                  <a:cubicBezTo>
                    <a:pt x="1127" y="159"/>
                    <a:pt x="922" y="159"/>
                    <a:pt x="715" y="159"/>
                  </a:cubicBezTo>
                  <a:cubicBezTo>
                    <a:pt x="715" y="210"/>
                    <a:pt x="715" y="261"/>
                    <a:pt x="715" y="313"/>
                  </a:cubicBezTo>
                  <a:cubicBezTo>
                    <a:pt x="698" y="313"/>
                    <a:pt x="684" y="313"/>
                    <a:pt x="668" y="313"/>
                  </a:cubicBezTo>
                  <a:cubicBezTo>
                    <a:pt x="668" y="263"/>
                    <a:pt x="668" y="212"/>
                    <a:pt x="668" y="159"/>
                  </a:cubicBezTo>
                  <a:cubicBezTo>
                    <a:pt x="461" y="159"/>
                    <a:pt x="255" y="159"/>
                    <a:pt x="48" y="159"/>
                  </a:cubicBezTo>
                  <a:cubicBezTo>
                    <a:pt x="48" y="210"/>
                    <a:pt x="48" y="261"/>
                    <a:pt x="48" y="313"/>
                  </a:cubicBezTo>
                  <a:cubicBezTo>
                    <a:pt x="32" y="313"/>
                    <a:pt x="17" y="313"/>
                    <a:pt x="0" y="313"/>
                  </a:cubicBezTo>
                  <a:cubicBezTo>
                    <a:pt x="0" y="253"/>
                    <a:pt x="0" y="193"/>
                    <a:pt x="1" y="133"/>
                  </a:cubicBezTo>
                  <a:cubicBezTo>
                    <a:pt x="1" y="115"/>
                    <a:pt x="15" y="110"/>
                    <a:pt x="32" y="110"/>
                  </a:cubicBezTo>
                  <a:cubicBezTo>
                    <a:pt x="137" y="111"/>
                    <a:pt x="242" y="110"/>
                    <a:pt x="347" y="110"/>
                  </a:cubicBezTo>
                  <a:cubicBezTo>
                    <a:pt x="454" y="110"/>
                    <a:pt x="560" y="110"/>
                    <a:pt x="669" y="110"/>
                  </a:cubicBezTo>
                  <a:cubicBezTo>
                    <a:pt x="669" y="73"/>
                    <a:pt x="669" y="37"/>
                    <a:pt x="669" y="0"/>
                  </a:cubicBezTo>
                  <a:cubicBezTo>
                    <a:pt x="686" y="0"/>
                    <a:pt x="701" y="0"/>
                    <a:pt x="717" y="0"/>
                  </a:cubicBezTo>
                  <a:cubicBezTo>
                    <a:pt x="717" y="36"/>
                    <a:pt x="717" y="72"/>
                    <a:pt x="717" y="110"/>
                  </a:cubicBezTo>
                  <a:cubicBezTo>
                    <a:pt x="725" y="110"/>
                    <a:pt x="732" y="110"/>
                    <a:pt x="738" y="110"/>
                  </a:cubicBezTo>
                  <a:cubicBezTo>
                    <a:pt x="940" y="110"/>
                    <a:pt x="1143" y="110"/>
                    <a:pt x="1345" y="110"/>
                  </a:cubicBezTo>
                  <a:cubicBezTo>
                    <a:pt x="1378" y="110"/>
                    <a:pt x="1383" y="116"/>
                    <a:pt x="1383" y="149"/>
                  </a:cubicBezTo>
                  <a:cubicBezTo>
                    <a:pt x="1383" y="203"/>
                    <a:pt x="1383" y="258"/>
                    <a:pt x="1383"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defTabSz="457200">
                <a:defRPr/>
              </a:pPr>
              <a:endParaRPr lang="en-US" sz="900" dirty="0">
                <a:solidFill>
                  <a:prstClr val="black"/>
                </a:solidFill>
                <a:latin typeface="Calibri" panose="020F0502020204030204"/>
              </a:endParaRPr>
            </a:p>
          </p:txBody>
        </p:sp>
      </p:grpSp>
      <p:pic>
        <p:nvPicPr>
          <p:cNvPr id="38" name="Picture 2">
            <a:extLst>
              <a:ext uri="{FF2B5EF4-FFF2-40B4-BE49-F238E27FC236}">
                <a16:creationId xmlns:a16="http://schemas.microsoft.com/office/drawing/2014/main" id="{827AC7BA-03D8-4469-987B-D7036AE3EEF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79333" y="173056"/>
            <a:ext cx="1637190" cy="428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7838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par>
                                <p:cTn id="9" presetID="1" presetClass="entr" presetSubtype="0" fill="hold" grpId="1" nodeType="withEffect">
                                  <p:stCondLst>
                                    <p:cond delay="1300"/>
                                  </p:stCondLst>
                                  <p:childTnLst>
                                    <p:set>
                                      <p:cBhvr>
                                        <p:cTn id="10" dur="1" fill="hold">
                                          <p:stCondLst>
                                            <p:cond delay="0"/>
                                          </p:stCondLst>
                                        </p:cTn>
                                        <p:tgtEl>
                                          <p:spTgt spid="4"/>
                                        </p:tgtEl>
                                        <p:attrNameLst>
                                          <p:attrName>style.visibility</p:attrName>
                                        </p:attrNameLst>
                                      </p:cBhvr>
                                      <p:to>
                                        <p:strVal val="visible"/>
                                      </p:to>
                                    </p:set>
                                  </p:childTnLst>
                                </p:cTn>
                              </p:par>
                              <p:par>
                                <p:cTn id="11" presetID="35" presetClass="path" presetSubtype="0" decel="100000" fill="hold" grpId="0" nodeType="withEffect">
                                  <p:stCondLst>
                                    <p:cond delay="1300"/>
                                  </p:stCondLst>
                                  <p:childTnLst>
                                    <p:animMotion origin="layout" path="M 3.64583E-6 -2.22222E-6 L 0.43587 -2.22222E-6 " pathEditMode="relative" rAng="0" ptsTypes="AA">
                                      <p:cBhvr>
                                        <p:cTn id="12" dur="2000" spd="-100000" fill="hold"/>
                                        <p:tgtEl>
                                          <p:spTgt spid="4"/>
                                        </p:tgtEl>
                                        <p:attrNameLst>
                                          <p:attrName>ppt_x</p:attrName>
                                          <p:attrName>ppt_y</p:attrName>
                                        </p:attrNameLst>
                                      </p:cBhvr>
                                      <p:rCtr x="2179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4" grpId="1" animBg="1"/>
    </p:bldLst>
  </p:timing>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85298" y="143349"/>
            <a:ext cx="10118886" cy="698611"/>
          </a:xfrm>
          <a:prstGeom prst="rect">
            <a:avLst/>
          </a:prstGeom>
        </p:spPr>
        <p:txBody>
          <a:bodyPr anchor="ctr">
            <a:normAutofit/>
          </a:bodyPr>
          <a:lstStyle>
            <a:lvl1pPr>
              <a:defRPr sz="1800" cap="all" spc="300" baseline="0">
                <a:solidFill>
                  <a:schemeClr val="tx1"/>
                </a:solidFill>
                <a:latin typeface="+mn-lt"/>
              </a:defRPr>
            </a:lvl1pPr>
          </a:lstStyle>
          <a:p>
            <a:r>
              <a:rPr lang="en-US"/>
              <a:t>Click to edit Master title style</a:t>
            </a:r>
            <a:endParaRPr lang="en-IN"/>
          </a:p>
        </p:txBody>
      </p:sp>
      <p:pic>
        <p:nvPicPr>
          <p:cNvPr id="2050" name="Picture 2">
            <a:extLst>
              <a:ext uri="{FF2B5EF4-FFF2-40B4-BE49-F238E27FC236}">
                <a16:creationId xmlns:a16="http://schemas.microsoft.com/office/drawing/2014/main" id="{1E05DC09-49A8-4E20-AD9F-AE3412B45CB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182" y="6488432"/>
            <a:ext cx="871424" cy="22802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A group of black and white numbers&#10;&#10;Description automatically generated with low confidence">
            <a:extLst>
              <a:ext uri="{FF2B5EF4-FFF2-40B4-BE49-F238E27FC236}">
                <a16:creationId xmlns:a16="http://schemas.microsoft.com/office/drawing/2014/main" id="{892F3D0E-2646-4C21-9219-AE0A7C76B126}"/>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35368" y="6488432"/>
            <a:ext cx="552450" cy="258241"/>
          </a:xfrm>
          <a:prstGeom prst="rect">
            <a:avLst/>
          </a:prstGeom>
          <a:noFill/>
        </p:spPr>
      </p:pic>
    </p:spTree>
    <p:extLst>
      <p:ext uri="{BB962C8B-B14F-4D97-AF65-F5344CB8AC3E}">
        <p14:creationId xmlns:p14="http://schemas.microsoft.com/office/powerpoint/2010/main" val="15762992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20" name="Picture 19" descr="A picture containing warehouse&#10;&#10;Description automatically generated">
            <a:extLst>
              <a:ext uri="{FF2B5EF4-FFF2-40B4-BE49-F238E27FC236}">
                <a16:creationId xmlns:a16="http://schemas.microsoft.com/office/drawing/2014/main" id="{E2DE502B-EC30-4A4A-8CF1-3F254CFA86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4" name="Rectangle 13">
            <a:extLst>
              <a:ext uri="{FF2B5EF4-FFF2-40B4-BE49-F238E27FC236}">
                <a16:creationId xmlns:a16="http://schemas.microsoft.com/office/drawing/2014/main" id="{996B1D9E-59A0-4300-B0F9-D699C98032A2}"/>
              </a:ext>
            </a:extLst>
          </p:cNvPr>
          <p:cNvSpPr/>
          <p:nvPr userDrawn="1"/>
        </p:nvSpPr>
        <p:spPr>
          <a:xfrm>
            <a:off x="-2" y="0"/>
            <a:ext cx="12192000" cy="6858000"/>
          </a:xfrm>
          <a:prstGeom prst="rect">
            <a:avLst/>
          </a:prstGeom>
          <a:solidFill>
            <a:srgbClr val="174D41">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5">
            <a:extLst>
              <a:ext uri="{FF2B5EF4-FFF2-40B4-BE49-F238E27FC236}">
                <a16:creationId xmlns:a16="http://schemas.microsoft.com/office/drawing/2014/main" id="{99CA4260-06D7-4331-AD98-FF7DFC2F19AA}"/>
              </a:ext>
            </a:extLst>
          </p:cNvPr>
          <p:cNvSpPr/>
          <p:nvPr userDrawn="1"/>
        </p:nvSpPr>
        <p:spPr>
          <a:xfrm>
            <a:off x="-1" y="1991359"/>
            <a:ext cx="12192001" cy="287528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Open Sans" panose="020B0606030504020204"/>
              <a:ea typeface="+mn-ea"/>
              <a:cs typeface="+mn-cs"/>
            </a:endParaRPr>
          </a:p>
        </p:txBody>
      </p:sp>
      <p:pic>
        <p:nvPicPr>
          <p:cNvPr id="7" name="Picture 6">
            <a:extLst>
              <a:ext uri="{FF2B5EF4-FFF2-40B4-BE49-F238E27FC236}">
                <a16:creationId xmlns:a16="http://schemas.microsoft.com/office/drawing/2014/main" id="{8DC96B90-2D8E-4121-9D68-F91A35DF9B6F}"/>
              </a:ext>
            </a:extLst>
          </p:cNvPr>
          <p:cNvPicPr>
            <a:picLocks noChangeAspect="1"/>
          </p:cNvPicPr>
          <p:nvPr userDrawn="1"/>
        </p:nvPicPr>
        <p:blipFill>
          <a:blip r:embed="rId3"/>
          <a:stretch>
            <a:fillRect/>
          </a:stretch>
        </p:blipFill>
        <p:spPr>
          <a:xfrm>
            <a:off x="614896" y="2186964"/>
            <a:ext cx="1671104" cy="2484073"/>
          </a:xfrm>
          <a:prstGeom prst="rect">
            <a:avLst/>
          </a:prstGeom>
        </p:spPr>
      </p:pic>
      <p:sp>
        <p:nvSpPr>
          <p:cNvPr id="16" name="Title 4">
            <a:extLst>
              <a:ext uri="{FF2B5EF4-FFF2-40B4-BE49-F238E27FC236}">
                <a16:creationId xmlns:a16="http://schemas.microsoft.com/office/drawing/2014/main" id="{157ABCFD-D10A-43E4-A5B4-7CC72F44FB50}"/>
              </a:ext>
            </a:extLst>
          </p:cNvPr>
          <p:cNvSpPr>
            <a:spLocks noGrp="1"/>
          </p:cNvSpPr>
          <p:nvPr>
            <p:ph type="title" hasCustomPrompt="1"/>
          </p:nvPr>
        </p:nvSpPr>
        <p:spPr>
          <a:xfrm>
            <a:off x="2900896" y="3212445"/>
            <a:ext cx="6195479" cy="646331"/>
          </a:xfrm>
          <a:noFill/>
        </p:spPr>
        <p:txBody>
          <a:bodyPr wrap="square" rtlCol="0" anchor="ctr">
            <a:spAutoFit/>
          </a:bodyPr>
          <a:lstStyle>
            <a:lvl1pPr>
              <a:defRPr lang="en-IN" sz="4000" b="1" cap="all" baseline="0" dirty="0">
                <a:solidFill>
                  <a:srgbClr val="104754"/>
                </a:solidFill>
                <a:latin typeface="Open Sans" panose="020B0606030504020204" pitchFamily="34" charset="0"/>
                <a:ea typeface="Open Sans" panose="020B0606030504020204" pitchFamily="34" charset="0"/>
                <a:cs typeface="Open Sans" panose="020B0606030504020204" pitchFamily="34" charset="0"/>
              </a:defRPr>
            </a:lvl1pPr>
          </a:lstStyle>
          <a:p>
            <a:pPr marL="0" lvl="0" defTabSz="304793"/>
            <a:r>
              <a:rPr lang="en-US"/>
              <a:t>Section Divider</a:t>
            </a:r>
            <a:endParaRPr lang="en-IN"/>
          </a:p>
        </p:txBody>
      </p:sp>
    </p:spTree>
    <p:extLst>
      <p:ext uri="{BB962C8B-B14F-4D97-AF65-F5344CB8AC3E}">
        <p14:creationId xmlns:p14="http://schemas.microsoft.com/office/powerpoint/2010/main" val="5671170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D402C1-1746-7441-8F6C-4E37DEBD9B94}" type="datetimeFigureOut">
              <a:rPr lang="en-US" smtClean="0"/>
              <a:t>5/28/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C8F7AE1-E4E5-3845-A8FA-6C79338E3D58}" type="slidenum">
              <a:rPr lang="en-US" smtClean="0"/>
              <a:t>‹#›</a:t>
            </a:fld>
            <a:endParaRPr lang="en-US" dirty="0"/>
          </a:p>
        </p:txBody>
      </p:sp>
    </p:spTree>
    <p:extLst>
      <p:ext uri="{BB962C8B-B14F-4D97-AF65-F5344CB8AC3E}">
        <p14:creationId xmlns:p14="http://schemas.microsoft.com/office/powerpoint/2010/main" val="34427685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5" name="Parallelogram 24">
            <a:extLst>
              <a:ext uri="{FF2B5EF4-FFF2-40B4-BE49-F238E27FC236}">
                <a16:creationId xmlns:a16="http://schemas.microsoft.com/office/drawing/2014/main" id="{46D8144E-784A-4038-9010-9A672F089B57}"/>
              </a:ext>
            </a:extLst>
          </p:cNvPr>
          <p:cNvSpPr/>
          <p:nvPr userDrawn="1"/>
        </p:nvSpPr>
        <p:spPr>
          <a:xfrm>
            <a:off x="124641" y="6698"/>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cxnSp>
        <p:nvCxnSpPr>
          <p:cNvPr id="5" name="Straight Connector 4">
            <a:extLst>
              <a:ext uri="{FF2B5EF4-FFF2-40B4-BE49-F238E27FC236}">
                <a16:creationId xmlns:a16="http://schemas.microsoft.com/office/drawing/2014/main" id="{D67B1E12-3381-4024-AD5E-6E6CA07F11BF}"/>
              </a:ext>
            </a:extLst>
          </p:cNvPr>
          <p:cNvCxnSpPr>
            <a:cxnSpLocks/>
          </p:cNvCxnSpPr>
          <p:nvPr userDrawn="1"/>
        </p:nvCxnSpPr>
        <p:spPr>
          <a:xfrm>
            <a:off x="1234440" y="126797"/>
            <a:ext cx="0" cy="520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85298" y="258849"/>
            <a:ext cx="10118886" cy="698611"/>
          </a:xfrm>
          <a:prstGeom prst="rect">
            <a:avLst/>
          </a:prstGeom>
        </p:spPr>
        <p:txBody>
          <a:bodyPr anchor="ctr">
            <a:normAutofit/>
          </a:bodyPr>
          <a:lstStyle>
            <a:lvl1pPr>
              <a:defRPr sz="1800"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39"/>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pic>
        <p:nvPicPr>
          <p:cNvPr id="2" name="Picture 2" descr="Brillio - Wikipedia">
            <a:extLst>
              <a:ext uri="{FF2B5EF4-FFF2-40B4-BE49-F238E27FC236}">
                <a16:creationId xmlns:a16="http://schemas.microsoft.com/office/drawing/2014/main" id="{DC36C261-335E-4D79-A521-2AB20CA9CC98}"/>
              </a:ext>
            </a:extLst>
          </p:cNvPr>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84880" y="6447754"/>
            <a:ext cx="602938" cy="268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387C470F-95DF-4F82-B2A8-D044161A6A2B}"/>
              </a:ext>
            </a:extLst>
          </p:cNvPr>
          <p:cNvSpPr>
            <a:spLocks noGrp="1"/>
          </p:cNvSpPr>
          <p:nvPr>
            <p:ph type="body" sz="quarter" idx="10"/>
          </p:nvPr>
        </p:nvSpPr>
        <p:spPr>
          <a:xfrm>
            <a:off x="885032" y="845271"/>
            <a:ext cx="10135394" cy="272257"/>
          </a:xfrm>
        </p:spPr>
        <p:txBody>
          <a:bodyPr anchor="ctr">
            <a:noAutofit/>
          </a:bodyPr>
          <a:lstStyle>
            <a:lvl1pPr marL="0" indent="0" algn="l" defTabSz="457200" rtl="0" eaLnBrk="1" latinLnBrk="0" hangingPunct="1">
              <a:lnSpc>
                <a:spcPct val="90000"/>
              </a:lnSpc>
              <a:spcBef>
                <a:spcPct val="0"/>
              </a:spcBef>
              <a:buNone/>
              <a:defRPr lang="en-US" sz="1200" kern="1200" cap="all" spc="300" baseline="0" dirty="0" smtClean="0">
                <a:solidFill>
                  <a:schemeClr val="tx1">
                    <a:lumMod val="50000"/>
                    <a:lumOff val="50000"/>
                  </a:schemeClr>
                </a:solidFill>
                <a:latin typeface="+mj-lt"/>
                <a:ea typeface="+mj-ea"/>
                <a:cs typeface="+mj-cs"/>
              </a:defRPr>
            </a:lvl1pPr>
            <a:lvl2pPr marL="228600" indent="0" algn="l" defTabSz="457200"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2pPr>
            <a:lvl3pPr marL="457200" indent="0" algn="l" defTabSz="457200"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3pPr>
            <a:lvl4pPr marL="685800" indent="0" algn="l" defTabSz="457200"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4pPr>
            <a:lvl5pPr marL="914400" indent="0" algn="l" defTabSz="457200" rtl="0" eaLnBrk="1" latinLnBrk="0" hangingPunct="1">
              <a:lnSpc>
                <a:spcPct val="90000"/>
              </a:lnSpc>
              <a:spcBef>
                <a:spcPct val="0"/>
              </a:spcBef>
              <a:buNone/>
              <a:defRPr lang="en-IN" sz="2400" kern="1200" cap="all" spc="300" baseline="0" dirty="0">
                <a:solidFill>
                  <a:schemeClr val="tx1"/>
                </a:solidFill>
                <a:latin typeface="+mj-lt"/>
                <a:ea typeface="+mj-ea"/>
                <a:cs typeface="+mj-cs"/>
              </a:defRPr>
            </a:lvl5pPr>
          </a:lstStyle>
          <a:p>
            <a:pPr lvl="0"/>
            <a:r>
              <a:rPr lang="en-US"/>
              <a:t>Click to edit Master text style</a:t>
            </a:r>
          </a:p>
        </p:txBody>
      </p:sp>
      <p:sp>
        <p:nvSpPr>
          <p:cNvPr id="9" name="Slide Number Placeholder 5">
            <a:extLst>
              <a:ext uri="{FF2B5EF4-FFF2-40B4-BE49-F238E27FC236}">
                <a16:creationId xmlns:a16="http://schemas.microsoft.com/office/drawing/2014/main" id="{DE52F451-B4D4-4743-88AF-5837A1A4ABD2}"/>
              </a:ext>
            </a:extLst>
          </p:cNvPr>
          <p:cNvSpPr txBox="1">
            <a:spLocks/>
          </p:cNvSpPr>
          <p:nvPr userDrawn="1"/>
        </p:nvSpPr>
        <p:spPr>
          <a:xfrm>
            <a:off x="11526449" y="126797"/>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Oval 9">
            <a:extLst>
              <a:ext uri="{FF2B5EF4-FFF2-40B4-BE49-F238E27FC236}">
                <a16:creationId xmlns:a16="http://schemas.microsoft.com/office/drawing/2014/main" id="{F95D327E-EC34-49AF-8C94-C5AC2FED9B07}"/>
              </a:ext>
            </a:extLst>
          </p:cNvPr>
          <p:cNvSpPr/>
          <p:nvPr userDrawn="1"/>
        </p:nvSpPr>
        <p:spPr>
          <a:xfrm>
            <a:off x="11440456"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Oval 10">
            <a:extLst>
              <a:ext uri="{FF2B5EF4-FFF2-40B4-BE49-F238E27FC236}">
                <a16:creationId xmlns:a16="http://schemas.microsoft.com/office/drawing/2014/main" id="{D4B2FA72-1E5C-4F5E-9F60-4532A0A69D75}"/>
              </a:ext>
            </a:extLst>
          </p:cNvPr>
          <p:cNvSpPr/>
          <p:nvPr userDrawn="1"/>
        </p:nvSpPr>
        <p:spPr>
          <a:xfrm>
            <a:off x="11053291"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Rectangle 9">
            <a:extLst>
              <a:ext uri="{FF2B5EF4-FFF2-40B4-BE49-F238E27FC236}">
                <a16:creationId xmlns:a16="http://schemas.microsoft.com/office/drawing/2014/main" id="{1418F5B8-0515-47AF-8EDE-9CD5F190F231}"/>
              </a:ext>
            </a:extLst>
          </p:cNvPr>
          <p:cNvSpPr/>
          <p:nvPr userDrawn="1"/>
        </p:nvSpPr>
        <p:spPr>
          <a:xfrm rot="2700000">
            <a:off x="11181862"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Oval 13">
            <a:extLst>
              <a:ext uri="{FF2B5EF4-FFF2-40B4-BE49-F238E27FC236}">
                <a16:creationId xmlns:a16="http://schemas.microsoft.com/office/drawing/2014/main" id="{B2125822-30BC-47D4-8FAA-A238D2BB304F}"/>
              </a:ext>
            </a:extLst>
          </p:cNvPr>
          <p:cNvSpPr/>
          <p:nvPr userDrawn="1"/>
        </p:nvSpPr>
        <p:spPr>
          <a:xfrm rot="10800000">
            <a:off x="11827620" y="124629"/>
            <a:ext cx="295734" cy="295734"/>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Rectangle 9">
            <a:extLst>
              <a:ext uri="{FF2B5EF4-FFF2-40B4-BE49-F238E27FC236}">
                <a16:creationId xmlns:a16="http://schemas.microsoft.com/office/drawing/2014/main" id="{EFA8FB5F-D016-492F-A4FB-BB1553CF4176}"/>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Action Button: Forward or Next 26">
            <a:hlinkClick r:id="" action="ppaction://hlinkshowjump?jump=nextslide" highlightClick="1"/>
            <a:extLst>
              <a:ext uri="{FF2B5EF4-FFF2-40B4-BE49-F238E27FC236}">
                <a16:creationId xmlns:a16="http://schemas.microsoft.com/office/drawing/2014/main" id="{464180AA-0579-464E-BE2A-F3A222F9B525}"/>
              </a:ext>
            </a:extLst>
          </p:cNvPr>
          <p:cNvSpPr/>
          <p:nvPr userDrawn="1"/>
        </p:nvSpPr>
        <p:spPr>
          <a:xfrm>
            <a:off x="11799046" y="61288"/>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Action Button: Back or Previous 27">
            <a:hlinkClick r:id="" action="ppaction://hlinkshowjump?jump=previousslide" highlightClick="1"/>
            <a:extLst>
              <a:ext uri="{FF2B5EF4-FFF2-40B4-BE49-F238E27FC236}">
                <a16:creationId xmlns:a16="http://schemas.microsoft.com/office/drawing/2014/main" id="{5C24094C-84ED-4C94-BDED-497AAA421943}"/>
              </a:ext>
            </a:extLst>
          </p:cNvPr>
          <p:cNvSpPr/>
          <p:nvPr userDrawn="1"/>
        </p:nvSpPr>
        <p:spPr>
          <a:xfrm>
            <a:off x="11020553" y="100108"/>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770576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2214-EA1A-85A2-0A51-9D12136FCE2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C665C446-DAE8-BACB-099C-0E41A65187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E75CFB4-3C84-39BC-0620-24A5952D5B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7FFE10-64EE-DF02-2C19-80642BCD5B59}"/>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6" name="Footer Placeholder 5">
            <a:extLst>
              <a:ext uri="{FF2B5EF4-FFF2-40B4-BE49-F238E27FC236}">
                <a16:creationId xmlns:a16="http://schemas.microsoft.com/office/drawing/2014/main" id="{B7093D8D-83D1-0AD3-7947-F27BAA5DECDA}"/>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C1FF0D0F-FE53-C3E5-7BF9-EA2A855E557F}"/>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7898610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1034" name="Picture 1033" descr="A picture containing text, indoor, library, ceiling&#10;&#10;Description automatically generated">
            <a:extLst>
              <a:ext uri="{FF2B5EF4-FFF2-40B4-BE49-F238E27FC236}">
                <a16:creationId xmlns:a16="http://schemas.microsoft.com/office/drawing/2014/main" id="{D594705E-8AF2-476B-89EB-0B12FCE036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35" name="Rectangle 1034">
            <a:extLst>
              <a:ext uri="{FF2B5EF4-FFF2-40B4-BE49-F238E27FC236}">
                <a16:creationId xmlns:a16="http://schemas.microsoft.com/office/drawing/2014/main" id="{E576187A-58FA-402C-AB8B-E20393E49FA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5149724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5" name="Parallelogram 24">
            <a:extLst>
              <a:ext uri="{FF2B5EF4-FFF2-40B4-BE49-F238E27FC236}">
                <a16:creationId xmlns:a16="http://schemas.microsoft.com/office/drawing/2014/main" id="{46D8144E-784A-4038-9010-9A672F089B57}"/>
              </a:ext>
            </a:extLst>
          </p:cNvPr>
          <p:cNvSpPr/>
          <p:nvPr userDrawn="1"/>
        </p:nvSpPr>
        <p:spPr>
          <a:xfrm>
            <a:off x="124641" y="6698"/>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7" name="Title 6">
            <a:extLst>
              <a:ext uri="{FF2B5EF4-FFF2-40B4-BE49-F238E27FC236}">
                <a16:creationId xmlns:a16="http://schemas.microsoft.com/office/drawing/2014/main" id="{B032C608-D210-4DC5-88AA-A2411B533C42}"/>
              </a:ext>
            </a:extLst>
          </p:cNvPr>
          <p:cNvSpPr>
            <a:spLocks noGrp="1"/>
          </p:cNvSpPr>
          <p:nvPr>
            <p:ph type="title"/>
          </p:nvPr>
        </p:nvSpPr>
        <p:spPr>
          <a:xfrm>
            <a:off x="885298" y="258849"/>
            <a:ext cx="10118886" cy="698611"/>
          </a:xfrm>
          <a:prstGeom prst="rect">
            <a:avLst/>
          </a:prstGeom>
        </p:spPr>
        <p:txBody>
          <a:bodyPr anchor="ctr">
            <a:normAutofit/>
          </a:bodyPr>
          <a:lstStyle>
            <a:lvl1pPr>
              <a:defRPr sz="1800" cap="all" spc="300" baseline="0">
                <a:solidFill>
                  <a:schemeClr val="tx1"/>
                </a:solidFill>
              </a:defRPr>
            </a:lvl1pPr>
          </a:lstStyle>
          <a:p>
            <a:r>
              <a:rPr lang="en-US"/>
              <a:t>Click to edit Master title style</a:t>
            </a:r>
            <a:endParaRPr lang="en-IN"/>
          </a:p>
        </p:txBody>
      </p:sp>
      <p:sp>
        <p:nvSpPr>
          <p:cNvPr id="13" name="Parallelogram 12">
            <a:extLst>
              <a:ext uri="{FF2B5EF4-FFF2-40B4-BE49-F238E27FC236}">
                <a16:creationId xmlns:a16="http://schemas.microsoft.com/office/drawing/2014/main" id="{D58542A8-273B-4C87-9837-F22D648D4C20}"/>
              </a:ext>
            </a:extLst>
          </p:cNvPr>
          <p:cNvSpPr/>
          <p:nvPr userDrawn="1"/>
        </p:nvSpPr>
        <p:spPr>
          <a:xfrm rot="10800000">
            <a:off x="315135" y="215939"/>
            <a:ext cx="355390"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8" name="Text Placeholder 7">
            <a:extLst>
              <a:ext uri="{FF2B5EF4-FFF2-40B4-BE49-F238E27FC236}">
                <a16:creationId xmlns:a16="http://schemas.microsoft.com/office/drawing/2014/main" id="{387C470F-95DF-4F82-B2A8-D044161A6A2B}"/>
              </a:ext>
            </a:extLst>
          </p:cNvPr>
          <p:cNvSpPr>
            <a:spLocks noGrp="1"/>
          </p:cNvSpPr>
          <p:nvPr>
            <p:ph type="body" sz="quarter" idx="10"/>
          </p:nvPr>
        </p:nvSpPr>
        <p:spPr>
          <a:xfrm>
            <a:off x="885032" y="845271"/>
            <a:ext cx="10135394" cy="272257"/>
          </a:xfrm>
        </p:spPr>
        <p:txBody>
          <a:bodyPr anchor="ctr">
            <a:noAutofit/>
          </a:bodyPr>
          <a:lstStyle>
            <a:lvl1pPr marL="0" indent="0" algn="l" defTabSz="457200" rtl="0" eaLnBrk="1" latinLnBrk="0" hangingPunct="1">
              <a:lnSpc>
                <a:spcPct val="90000"/>
              </a:lnSpc>
              <a:spcBef>
                <a:spcPct val="0"/>
              </a:spcBef>
              <a:buNone/>
              <a:defRPr lang="en-US" sz="1200" kern="1200" cap="all" spc="300" baseline="0" dirty="0" smtClean="0">
                <a:solidFill>
                  <a:schemeClr val="tx1">
                    <a:lumMod val="50000"/>
                    <a:lumOff val="50000"/>
                  </a:schemeClr>
                </a:solidFill>
                <a:latin typeface="+mj-lt"/>
                <a:ea typeface="+mj-ea"/>
                <a:cs typeface="+mj-cs"/>
              </a:defRPr>
            </a:lvl1pPr>
            <a:lvl2pPr marL="228600" indent="0" algn="l" defTabSz="457200"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2pPr>
            <a:lvl3pPr marL="457200" indent="0" algn="l" defTabSz="457200"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3pPr>
            <a:lvl4pPr marL="685800" indent="0" algn="l" defTabSz="457200"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4pPr>
            <a:lvl5pPr marL="914400" indent="0" algn="l" defTabSz="457200" rtl="0" eaLnBrk="1" latinLnBrk="0" hangingPunct="1">
              <a:lnSpc>
                <a:spcPct val="90000"/>
              </a:lnSpc>
              <a:spcBef>
                <a:spcPct val="0"/>
              </a:spcBef>
              <a:buNone/>
              <a:defRPr lang="en-IN" sz="2400" kern="1200" cap="all" spc="300" baseline="0" dirty="0">
                <a:solidFill>
                  <a:schemeClr val="tx1"/>
                </a:solidFill>
                <a:latin typeface="+mj-lt"/>
                <a:ea typeface="+mj-ea"/>
                <a:cs typeface="+mj-cs"/>
              </a:defRPr>
            </a:lvl5pPr>
          </a:lstStyle>
          <a:p>
            <a:pPr lvl="0"/>
            <a:r>
              <a:rPr lang="en-US"/>
              <a:t>Click to edit Master text style</a:t>
            </a:r>
          </a:p>
        </p:txBody>
      </p:sp>
      <p:pic>
        <p:nvPicPr>
          <p:cNvPr id="2050" name="Picture 2">
            <a:extLst>
              <a:ext uri="{FF2B5EF4-FFF2-40B4-BE49-F238E27FC236}">
                <a16:creationId xmlns:a16="http://schemas.microsoft.com/office/drawing/2014/main" id="{1E05DC09-49A8-4E20-AD9F-AE3412B45CB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182" y="6488432"/>
            <a:ext cx="871424" cy="22802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A group of black and white numbers&#10;&#10;Description automatically generated with low confidence">
            <a:extLst>
              <a:ext uri="{FF2B5EF4-FFF2-40B4-BE49-F238E27FC236}">
                <a16:creationId xmlns:a16="http://schemas.microsoft.com/office/drawing/2014/main" id="{892F3D0E-2646-4C21-9219-AE0A7C76B126}"/>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35368" y="6488432"/>
            <a:ext cx="552450" cy="258241"/>
          </a:xfrm>
          <a:prstGeom prst="rect">
            <a:avLst/>
          </a:prstGeom>
          <a:noFill/>
        </p:spPr>
      </p:pic>
    </p:spTree>
    <p:extLst>
      <p:ext uri="{BB962C8B-B14F-4D97-AF65-F5344CB8AC3E}">
        <p14:creationId xmlns:p14="http://schemas.microsoft.com/office/powerpoint/2010/main" val="1237611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Brillio_Title only slide-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descr="A picture containing icon&#10;&#10;Description automatically generated">
            <a:extLst>
              <a:ext uri="{FF2B5EF4-FFF2-40B4-BE49-F238E27FC236}">
                <a16:creationId xmlns:a16="http://schemas.microsoft.com/office/drawing/2014/main" id="{50E158B1-D3A6-209A-714E-399DDB81D2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2272" y="6416238"/>
            <a:ext cx="722128" cy="305054"/>
          </a:xfrm>
          <a:prstGeom prst="rect">
            <a:avLst/>
          </a:prstGeom>
        </p:spPr>
      </p:pic>
      <p:sp>
        <p:nvSpPr>
          <p:cNvPr id="6" name="Slide Number Placeholder 10">
            <a:extLst>
              <a:ext uri="{FF2B5EF4-FFF2-40B4-BE49-F238E27FC236}">
                <a16:creationId xmlns:a16="http://schemas.microsoft.com/office/drawing/2014/main" id="{45EC7AC8-5C17-7411-E5B0-0C7EE1D5CC4E}"/>
              </a:ext>
            </a:extLst>
          </p:cNvPr>
          <p:cNvSpPr txBox="1">
            <a:spLocks/>
          </p:cNvSpPr>
          <p:nvPr userDrawn="1"/>
        </p:nvSpPr>
        <p:spPr>
          <a:xfrm>
            <a:off x="9856790" y="6398287"/>
            <a:ext cx="1969450" cy="259715"/>
          </a:xfrm>
          <a:prstGeom prst="rect">
            <a:avLst/>
          </a:prstGeom>
        </p:spPr>
        <p:txBody>
          <a:bodyPr vert="horz" lIns="0" tIns="0" rIns="0" bIns="0" rtlCol="0" anchor="b"/>
          <a:lstStyle>
            <a:defPPr>
              <a:defRPr lang="en-US"/>
            </a:defPPr>
            <a:lvl1pPr marL="0" algn="r" defTabSz="914400"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2024 Brillio  |  </a:t>
            </a:r>
            <a:fld id="{F1FE5E21-FD07-B44E-90A3-0254BFCDB49A}" type="slidenum">
              <a:rPr smtClean="0"/>
              <a:pPr/>
              <a:t>‹#›</a:t>
            </a:fld>
            <a:endParaRPr dirty="0"/>
          </a:p>
        </p:txBody>
      </p:sp>
    </p:spTree>
    <p:extLst>
      <p:ext uri="{BB962C8B-B14F-4D97-AF65-F5344CB8AC3E}">
        <p14:creationId xmlns:p14="http://schemas.microsoft.com/office/powerpoint/2010/main" val="39015320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Blue Cover Slide, Graphic">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991466-C566-194A-8F18-D0804A8A29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10">
            <a:extLst>
              <a:ext uri="{FF2B5EF4-FFF2-40B4-BE49-F238E27FC236}">
                <a16:creationId xmlns:a16="http://schemas.microsoft.com/office/drawing/2014/main" id="{D0D00E6B-F16F-EA41-A456-3F87CEB9221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2 Brillio |</a:t>
            </a:r>
          </a:p>
        </p:txBody>
      </p:sp>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Tree>
    <p:extLst>
      <p:ext uri="{BB962C8B-B14F-4D97-AF65-F5344CB8AC3E}">
        <p14:creationId xmlns:p14="http://schemas.microsoft.com/office/powerpoint/2010/main" val="34528891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748923"/>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400" baseline="0">
                <a:solidFill>
                  <a:schemeClr val="bg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a:p>
            <a:pPr lvl="1"/>
            <a:r>
              <a:rPr lang="en-US"/>
              <a:t>Dat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dirty="0"/>
              <a:t>© 2022 Brillio |</a:t>
            </a:r>
          </a:p>
        </p:txBody>
      </p:sp>
    </p:spTree>
    <p:extLst>
      <p:ext uri="{BB962C8B-B14F-4D97-AF65-F5344CB8AC3E}">
        <p14:creationId xmlns:p14="http://schemas.microsoft.com/office/powerpoint/2010/main" val="31015299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31806011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7" name="Text Placeholder 5">
            <a:extLst>
              <a:ext uri="{FF2B5EF4-FFF2-40B4-BE49-F238E27FC236}">
                <a16:creationId xmlns:a16="http://schemas.microsoft.com/office/drawing/2014/main" id="{757B889B-78AE-BC47-AE62-31DE2DF979D4}"/>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tx2"/>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Tree>
    <p:extLst>
      <p:ext uri="{BB962C8B-B14F-4D97-AF65-F5344CB8AC3E}">
        <p14:creationId xmlns:p14="http://schemas.microsoft.com/office/powerpoint/2010/main" val="13030718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tx2"/>
                </a:solidFill>
                <a:latin typeface="Arial" panose="020B0604020202020204" pitchFamily="34" charset="0"/>
                <a:cs typeface="Arial" panose="020B0604020202020204" pitchFamily="34" charset="0"/>
              </a:defRPr>
            </a:lvl1pPr>
            <a:lvl2pPr>
              <a:defRPr baseline="0">
                <a:solidFill>
                  <a:schemeClr val="tx2"/>
                </a:solidFill>
                <a:latin typeface="Arial" panose="020B0604020202020204" pitchFamily="34" charset="0"/>
                <a:cs typeface="Arial" panose="020B0604020202020204" pitchFamily="34" charset="0"/>
              </a:defRPr>
            </a:lvl2pPr>
            <a:lvl3pPr>
              <a:defRPr baseline="0">
                <a:solidFill>
                  <a:schemeClr val="tx2"/>
                </a:solidFill>
                <a:latin typeface="Arial" panose="020B0604020202020204" pitchFamily="34" charset="0"/>
                <a:cs typeface="Arial" panose="020B0604020202020204" pitchFamily="34" charset="0"/>
              </a:defRPr>
            </a:lvl3pPr>
            <a:lvl4pPr>
              <a:defRPr baseline="0">
                <a:solidFill>
                  <a:schemeClr val="tx2"/>
                </a:solidFill>
                <a:latin typeface="Arial" panose="020B0604020202020204" pitchFamily="34" charset="0"/>
                <a:cs typeface="Arial" panose="020B0604020202020204" pitchFamily="34" charset="0"/>
              </a:defRPr>
            </a:lvl4pPr>
            <a:lvl5pPr>
              <a:defRPr baseline="0">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31067289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solidFill>
                  <a:schemeClr val="bg1"/>
                </a:solidFill>
              </a:rPr>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15301570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dirty="0"/>
              <a:t>© 2022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230260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11E05-B9A7-5D15-CEB4-AF946091E4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DA7559F4-F61E-92A7-7A46-E5FF62F6DE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DCFD98D9-1E49-51FC-E6F0-42B3C19C14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8AD6F1-1A48-04F6-E8FA-B51F99877CCF}"/>
              </a:ext>
            </a:extLst>
          </p:cNvPr>
          <p:cNvSpPr>
            <a:spLocks noGrp="1"/>
          </p:cNvSpPr>
          <p:nvPr>
            <p:ph type="dt" sz="half" idx="10"/>
          </p:nvPr>
        </p:nvSpPr>
        <p:spPr/>
        <p:txBody>
          <a:bodyPr/>
          <a:lstStyle/>
          <a:p>
            <a:fld id="{43AB717D-4A9B-4338-9668-B7E60FFCB154}" type="datetimeFigureOut">
              <a:rPr lang="en-IN" smtClean="0"/>
              <a:t>28-05-2024</a:t>
            </a:fld>
            <a:endParaRPr lang="en-IN" dirty="0"/>
          </a:p>
        </p:txBody>
      </p:sp>
      <p:sp>
        <p:nvSpPr>
          <p:cNvPr id="6" name="Footer Placeholder 5">
            <a:extLst>
              <a:ext uri="{FF2B5EF4-FFF2-40B4-BE49-F238E27FC236}">
                <a16:creationId xmlns:a16="http://schemas.microsoft.com/office/drawing/2014/main" id="{0320400D-AFBA-5D20-754D-6A96EDE558B8}"/>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ABA1675C-F4BD-0809-10A0-AFF9B30E3DBB}"/>
              </a:ext>
            </a:extLst>
          </p:cNvPr>
          <p:cNvSpPr>
            <a:spLocks noGrp="1"/>
          </p:cNvSpPr>
          <p:nvPr>
            <p:ph type="sldNum" sz="quarter" idx="12"/>
          </p:nvPr>
        </p:nvSpPr>
        <p:spPr/>
        <p:txBody>
          <a:bodyPr/>
          <a:lstStyle/>
          <a:p>
            <a:fld id="{D880195C-2C7E-4A78-9F38-043E5CC02207}" type="slidenum">
              <a:rPr lang="en-IN" smtClean="0"/>
              <a:t>‹#›</a:t>
            </a:fld>
            <a:endParaRPr lang="en-IN" dirty="0"/>
          </a:p>
        </p:txBody>
      </p:sp>
    </p:spTree>
    <p:extLst>
      <p:ext uri="{BB962C8B-B14F-4D97-AF65-F5344CB8AC3E}">
        <p14:creationId xmlns:p14="http://schemas.microsoft.com/office/powerpoint/2010/main" val="21518764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A582FF-97B1-5843-911F-E89AE2BFDA5F}"/>
              </a:ext>
            </a:extLst>
          </p:cNvPr>
          <p:cNvSpPr>
            <a:spLocks noGrp="1"/>
          </p:cNvSpPr>
          <p:nvPr>
            <p:ph type="dt" sz="half" idx="10"/>
          </p:nvPr>
        </p:nvSpPr>
        <p:spPr/>
        <p:txBody>
          <a:bodyPr/>
          <a:lstStyle/>
          <a:p>
            <a:fld id="{E2B42762-9458-9148-AB60-92369E806957}" type="datetimeFigureOut">
              <a:rPr lang="en-US" smtClean="0"/>
              <a:t>5/28/2024</a:t>
            </a:fld>
            <a:endParaRPr lang="en-US" dirty="0"/>
          </a:p>
        </p:txBody>
      </p:sp>
      <p:sp>
        <p:nvSpPr>
          <p:cNvPr id="3" name="Footer Placeholder 2">
            <a:extLst>
              <a:ext uri="{FF2B5EF4-FFF2-40B4-BE49-F238E27FC236}">
                <a16:creationId xmlns:a16="http://schemas.microsoft.com/office/drawing/2014/main" id="{4D2200BA-982D-A743-ABB6-CCF524AA0BE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59599F3-423E-9341-9910-2EDEDD43ACF2}"/>
              </a:ext>
            </a:extLst>
          </p:cNvPr>
          <p:cNvSpPr>
            <a:spLocks noGrp="1"/>
          </p:cNvSpPr>
          <p:nvPr>
            <p:ph type="sldNum" sz="quarter" idx="12"/>
          </p:nvPr>
        </p:nvSpPr>
        <p:spPr/>
        <p:txBody>
          <a:bodyPr/>
          <a:lstStyle/>
          <a:p>
            <a:fld id="{B46D85E3-55DB-C64F-98B5-36A866A38D62}" type="slidenum">
              <a:rPr lang="en-US" smtClean="0"/>
              <a:t>‹#›</a:t>
            </a:fld>
            <a:endParaRPr lang="en-US" dirty="0"/>
          </a:p>
        </p:txBody>
      </p:sp>
    </p:spTree>
    <p:extLst>
      <p:ext uri="{BB962C8B-B14F-4D97-AF65-F5344CB8AC3E}">
        <p14:creationId xmlns:p14="http://schemas.microsoft.com/office/powerpoint/2010/main" val="1518859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Quote">
    <p:bg>
      <p:bgPr>
        <a:gradFill>
          <a:gsLst>
            <a:gs pos="40000">
              <a:srgbClr val="211746"/>
            </a:gs>
            <a:gs pos="100000">
              <a:schemeClr val="tx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4846" y="1097281"/>
            <a:ext cx="9849394" cy="4114800"/>
          </a:xfrm>
        </p:spPr>
        <p:txBody>
          <a:bodyPr rIns="228600" anchor="ctr"/>
          <a:lstStyle>
            <a:lvl1pPr>
              <a:defRPr sz="540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dirty="0"/>
              <a:t>©2022 Brillio  |  </a:t>
            </a:r>
            <a:fld id="{F1FE5E21-FD07-B44E-90A3-0254BFCDB49A}" type="slidenum">
              <a:rPr smtClean="0"/>
              <a:pPr/>
              <a:t>‹#›</a:t>
            </a:fld>
            <a:endParaRPr dirty="0"/>
          </a:p>
        </p:txBody>
      </p:sp>
    </p:spTree>
    <p:extLst>
      <p:ext uri="{BB962C8B-B14F-4D97-AF65-F5344CB8AC3E}">
        <p14:creationId xmlns:p14="http://schemas.microsoft.com/office/powerpoint/2010/main" val="12119028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2022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pPr marL="0" marR="0" lvl="0" indent="0" algn="r" defTabSz="60957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1067"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60957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
        <p:nvSpPr>
          <p:cNvPr id="9" name="Title 1">
            <a:extLst>
              <a:ext uri="{FF2B5EF4-FFF2-40B4-BE49-F238E27FC236}">
                <a16:creationId xmlns:a16="http://schemas.microsoft.com/office/drawing/2014/main" id="{280D78C3-80B6-49DF-A0FA-DDCB75759120}"/>
              </a:ext>
            </a:extLst>
          </p:cNvPr>
          <p:cNvSpPr>
            <a:spLocks noGrp="1"/>
          </p:cNvSpPr>
          <p:nvPr>
            <p:ph type="title" hasCustomPrompt="1"/>
          </p:nvPr>
        </p:nvSpPr>
        <p:spPr>
          <a:xfrm>
            <a:off x="512064" y="365760"/>
            <a:ext cx="11180064" cy="570992"/>
          </a:xfrm>
        </p:spPr>
        <p:txBody>
          <a:bodyPr>
            <a:normAutofit/>
          </a:bodyPr>
          <a:lstStyle>
            <a:lvl1pPr>
              <a:defRPr sz="2400" cap="none" spc="-150">
                <a:solidFill>
                  <a:schemeClr val="bg1"/>
                </a:solidFill>
              </a:defRPr>
            </a:lvl1pPr>
          </a:lstStyle>
          <a:p>
            <a:r>
              <a:rPr lang="en-US"/>
              <a:t>Click to edit master title style</a:t>
            </a:r>
            <a:endParaRPr lang="en-IN"/>
          </a:p>
        </p:txBody>
      </p:sp>
      <p:sp>
        <p:nvSpPr>
          <p:cNvPr id="10" name="Text Placeholder 6">
            <a:extLst>
              <a:ext uri="{FF2B5EF4-FFF2-40B4-BE49-F238E27FC236}">
                <a16:creationId xmlns:a16="http://schemas.microsoft.com/office/drawing/2014/main" id="{B0D35454-165D-4B65-852F-65D6F214D304}"/>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3221005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dirty="0"/>
              <a:t>©2022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509946"/>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14382738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22207773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tx2"/>
                </a:solidFill>
                <a:latin typeface="Arial" panose="020B0604020202020204" pitchFamily="34" charset="0"/>
                <a:cs typeface="Arial" panose="020B0604020202020204" pitchFamily="34" charset="0"/>
              </a:rPr>
              <a:t>©2024</a:t>
            </a:r>
            <a:r>
              <a:rPr lang="en-US" sz="1000" b="0" i="0" baseline="0" dirty="0">
                <a:solidFill>
                  <a:schemeClr val="tx2"/>
                </a:solidFill>
                <a:latin typeface="Arial" panose="020B0604020202020204" pitchFamily="34" charset="0"/>
                <a:cs typeface="Arial" panose="020B0604020202020204" pitchFamily="34" charset="0"/>
              </a:rPr>
              <a:t> Brillio  |  Proprietary &amp; Confidential</a:t>
            </a:r>
            <a:endParaRPr lang="en-US" sz="1000" b="0" i="0" dirty="0">
              <a:solidFill>
                <a:schemeClr val="tx2"/>
              </a:solidFill>
              <a:latin typeface="Arial" panose="020B0604020202020204" pitchFamily="34" charset="0"/>
              <a:cs typeface="Arial" panose="020B0604020202020204" pitchFamily="34" charset="0"/>
            </a:endParaRP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93405" y="381000"/>
            <a:ext cx="1691640" cy="714613"/>
          </a:xfrm>
          <a:prstGeom prst="rect">
            <a:avLst/>
          </a:prstGeom>
        </p:spPr>
      </p:pic>
      <p:sp>
        <p:nvSpPr>
          <p:cNvPr id="7" name="Title 1">
            <a:extLst>
              <a:ext uri="{FF2B5EF4-FFF2-40B4-BE49-F238E27FC236}">
                <a16:creationId xmlns:a16="http://schemas.microsoft.com/office/drawing/2014/main" id="{954B71F4-B840-9A43-8EEC-1F77A91DE493}"/>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tx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C439A878-73C7-EB47-A2B4-51DF910E01AD}"/>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tx2"/>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D70E704C-CDF3-3845-BFDB-477210C0F60F}"/>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tx2"/>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2329812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Brillio_Title slide-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dirty="0">
                <a:solidFill>
                  <a:schemeClr val="tx2"/>
                </a:solidFill>
                <a:latin typeface="Arial" panose="020B0604020202020204" pitchFamily="34" charset="0"/>
                <a:cs typeface="Arial" panose="020B0604020202020204" pitchFamily="34" charset="0"/>
              </a:rPr>
              <a:t>©2024</a:t>
            </a:r>
            <a:r>
              <a:rPr lang="en-US" sz="1000" b="0" i="0" baseline="0" dirty="0">
                <a:solidFill>
                  <a:schemeClr val="tx2"/>
                </a:solidFill>
                <a:latin typeface="Arial" panose="020B0604020202020204" pitchFamily="34" charset="0"/>
                <a:cs typeface="Arial" panose="020B0604020202020204" pitchFamily="34" charset="0"/>
              </a:rPr>
              <a:t> Brillio  |  Proprietary &amp; Confidential</a:t>
            </a:r>
            <a:endParaRPr lang="en-US" sz="1000" b="0" i="0" dirty="0">
              <a:solidFill>
                <a:schemeClr val="tx2"/>
              </a:solidFill>
              <a:latin typeface="Arial" panose="020B0604020202020204" pitchFamily="34" charset="0"/>
              <a:cs typeface="Arial" panose="020B0604020202020204" pitchFamily="34" charset="0"/>
            </a:endParaRPr>
          </a:p>
        </p:txBody>
      </p:sp>
      <p:pic>
        <p:nvPicPr>
          <p:cNvPr id="12" name="Picture 11" descr="A picture containing icon&#10;&#10;Description automatically generated">
            <a:extLst>
              <a:ext uri="{FF2B5EF4-FFF2-40B4-BE49-F238E27FC236}">
                <a16:creationId xmlns:a16="http://schemas.microsoft.com/office/drawing/2014/main" id="{698230B4-50C6-604C-9C1B-CDDFEF20564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93405" y="381000"/>
            <a:ext cx="1691640" cy="714613"/>
          </a:xfrm>
          <a:prstGeom prst="rect">
            <a:avLst/>
          </a:prstGeom>
        </p:spPr>
      </p:pic>
      <p:sp>
        <p:nvSpPr>
          <p:cNvPr id="7" name="Title 1">
            <a:extLst>
              <a:ext uri="{FF2B5EF4-FFF2-40B4-BE49-F238E27FC236}">
                <a16:creationId xmlns:a16="http://schemas.microsoft.com/office/drawing/2014/main" id="{98ED0CA7-616B-F142-A0F5-9630FFC6DB84}"/>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tx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6025DA8A-60C1-8441-A846-0CC434137F15}"/>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tx2"/>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9EEA70D8-27BC-5D4A-A41F-62235503A50C}"/>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tx2"/>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2050841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r>
              <a:rPr lang="en-GB" dirty="0"/>
              <a:t>©2024 Brillio  |  </a:t>
            </a:r>
            <a:fld id="{F1FE5E21-FD07-B44E-90A3-0254BFCDB49A}" type="slidenum">
              <a:rPr smtClean="0"/>
              <a:pPr/>
              <a:t>‹#›</a:t>
            </a:fld>
            <a:endParaRPr dirty="0"/>
          </a:p>
        </p:txBody>
      </p:sp>
    </p:spTree>
    <p:extLst>
      <p:ext uri="{BB962C8B-B14F-4D97-AF65-F5344CB8AC3E}">
        <p14:creationId xmlns:p14="http://schemas.microsoft.com/office/powerpoint/2010/main" val="36607448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rillio_Quot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9921"/>
            <a:ext cx="9887803" cy="3621577"/>
          </a:xfrm>
        </p:spPr>
        <p:txBody>
          <a:bodyPr rIns="228600" anchor="t"/>
          <a:lstStyle>
            <a:lvl1pPr>
              <a:defRPr sz="5400" b="0">
                <a:solidFill>
                  <a:schemeClr val="tx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tx2"/>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dirty="0"/>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icon&#10;&#10;Description automatically generated">
            <a:extLst>
              <a:ext uri="{FF2B5EF4-FFF2-40B4-BE49-F238E27FC236}">
                <a16:creationId xmlns:a16="http://schemas.microsoft.com/office/drawing/2014/main" id="{7AF86B4B-A493-AE4C-822B-61CED7AD5E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Tree>
    <p:extLst>
      <p:ext uri="{BB962C8B-B14F-4D97-AF65-F5344CB8AC3E}">
        <p14:creationId xmlns:p14="http://schemas.microsoft.com/office/powerpoint/2010/main" val="312660742"/>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userDrawn="1"/>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0"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103986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theme" Target="../theme/theme10.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1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5" Type="http://schemas.openxmlformats.org/officeDocument/2006/relationships/slideLayout" Target="../slideLayouts/slideLayout135.xml"/><Relationship Id="rId4" Type="http://schemas.openxmlformats.org/officeDocument/2006/relationships/slideLayout" Target="../slideLayouts/slideLayout134.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41" Type="http://schemas.openxmlformats.org/officeDocument/2006/relationships/slideLayout" Target="../slideLayouts/slideLayout179.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theme" Target="../theme/theme13.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8" Type="http://schemas.openxmlformats.org/officeDocument/2006/relationships/slideLayout" Target="../slideLayouts/slideLayout14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theme" Target="../theme/theme14.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image" Target="../media/image33.emf"/><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oleObject" Target="../embeddings/oleObject2.bin"/><Relationship Id="rId2" Type="http://schemas.openxmlformats.org/officeDocument/2006/relationships/slideLayout" Target="../slideLayouts/slideLayout206.xml"/><Relationship Id="rId16" Type="http://schemas.openxmlformats.org/officeDocument/2006/relationships/tags" Target="../tags/tag2.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theme" Target="../theme/theme15.xml"/><Relationship Id="rId10" Type="http://schemas.openxmlformats.org/officeDocument/2006/relationships/slideLayout" Target="../slideLayouts/slideLayout214.xml"/><Relationship Id="rId19" Type="http://schemas.openxmlformats.org/officeDocument/2006/relationships/image" Target="../media/image18.png"/><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theme" Target="../theme/theme16.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tags" Target="../tags/tag3.xml"/><Relationship Id="rId3" Type="http://schemas.openxmlformats.org/officeDocument/2006/relationships/slideLayout" Target="../slideLayouts/slideLayout235.xml"/><Relationship Id="rId21" Type="http://schemas.openxmlformats.org/officeDocument/2006/relationships/image" Target="../media/image18.png"/><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theme" Target="../theme/theme17.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image" Target="../media/image33.emf"/><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oleObject" Target="../embeddings/oleObject3.bin"/><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oleObject" Target="../embeddings/oleObject4.bin"/><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tags" Target="../tags/tag4.xml"/><Relationship Id="rId2" Type="http://schemas.openxmlformats.org/officeDocument/2006/relationships/slideLayout" Target="../slideLayouts/slideLayout250.xml"/><Relationship Id="rId16" Type="http://schemas.openxmlformats.org/officeDocument/2006/relationships/theme" Target="../theme/theme18.xml"/><Relationship Id="rId20" Type="http://schemas.openxmlformats.org/officeDocument/2006/relationships/image" Target="../media/image34.png"/><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10" Type="http://schemas.openxmlformats.org/officeDocument/2006/relationships/slideLayout" Target="../slideLayouts/slideLayout258.xml"/><Relationship Id="rId19" Type="http://schemas.openxmlformats.org/officeDocument/2006/relationships/image" Target="../media/image33.emf"/><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theme" Target="../theme/theme6.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oleObject" Target="../embeddings/oleObject1.bin"/><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ags" Target="../tags/tag1.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heme" Target="../theme/theme8.xml"/><Relationship Id="rId5" Type="http://schemas.openxmlformats.org/officeDocument/2006/relationships/slideLayout" Target="../slideLayouts/slideLayout87.xml"/><Relationship Id="rId15" Type="http://schemas.openxmlformats.org/officeDocument/2006/relationships/image" Target="../media/image3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33.emf"/></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D9A241-A2F8-5659-9317-0311EAE3F7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CF125CA0-9CFE-4E4F-9AE4-6EA0A650C7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7B4FBB3-F8B2-937A-81C0-AE7DDC296B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AB717D-4A9B-4338-9668-B7E60FFCB154}" type="datetimeFigureOut">
              <a:rPr lang="en-IN" smtClean="0"/>
              <a:t>28-05-2024</a:t>
            </a:fld>
            <a:endParaRPr lang="en-IN" dirty="0"/>
          </a:p>
        </p:txBody>
      </p:sp>
      <p:sp>
        <p:nvSpPr>
          <p:cNvPr id="5" name="Footer Placeholder 4">
            <a:extLst>
              <a:ext uri="{FF2B5EF4-FFF2-40B4-BE49-F238E27FC236}">
                <a16:creationId xmlns:a16="http://schemas.microsoft.com/office/drawing/2014/main" id="{ED81BA48-48C7-F864-8654-5996A6251A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9B41D202-EEFF-FBAB-BE23-362D9FEB79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80195C-2C7E-4A78-9F38-043E5CC02207}" type="slidenum">
              <a:rPr lang="en-IN" smtClean="0"/>
              <a:t>‹#›</a:t>
            </a:fld>
            <a:endParaRPr lang="en-IN" dirty="0"/>
          </a:p>
        </p:txBody>
      </p:sp>
    </p:spTree>
    <p:extLst>
      <p:ext uri="{BB962C8B-B14F-4D97-AF65-F5344CB8AC3E}">
        <p14:creationId xmlns:p14="http://schemas.microsoft.com/office/powerpoint/2010/main" val="36716228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02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CAC9EE12-70FB-474F-9D70-9C7D1D03D7FB}"/>
              </a:ext>
            </a:extLst>
          </p:cNvPr>
          <p:cNvSpPr>
            <a:spLocks noGrp="1"/>
          </p:cNvSpPr>
          <p:nvPr>
            <p:ph type="ftr" sz="quarter" idx="3"/>
          </p:nvPr>
        </p:nvSpPr>
        <p:spPr>
          <a:xfrm>
            <a:off x="4273551" y="6212312"/>
            <a:ext cx="5583238" cy="280563"/>
          </a:xfrm>
          <a:prstGeom prst="rect">
            <a:avLst/>
          </a:prstGeom>
        </p:spPr>
        <p:txBody>
          <a:bodyPr vert="horz" lIns="0" tIns="0" rIns="0" bIns="0" rtlCol="0" anchor="b" anchorCtr="0"/>
          <a:lstStyle>
            <a:lvl1pPr marL="0" algn="l" defTabSz="609585"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stStyle>
          <a:p>
            <a:endParaRPr lang="en-US" dirty="0"/>
          </a:p>
        </p:txBody>
      </p:sp>
      <p:sp>
        <p:nvSpPr>
          <p:cNvPr id="11" name="Slide Number Placeholder 10">
            <a:extLst>
              <a:ext uri="{FF2B5EF4-FFF2-40B4-BE49-F238E27FC236}">
                <a16:creationId xmlns:a16="http://schemas.microsoft.com/office/drawing/2014/main" id="{A5C9FA13-FF6A-7448-89FA-05F46CB51D4F}"/>
              </a:ext>
            </a:extLst>
          </p:cNvPr>
          <p:cNvSpPr>
            <a:spLocks noGrp="1"/>
          </p:cNvSpPr>
          <p:nvPr>
            <p:ph type="sldNum" sz="quarter" idx="4"/>
          </p:nvPr>
        </p:nvSpPr>
        <p:spPr>
          <a:xfrm>
            <a:off x="10101262" y="6212312"/>
            <a:ext cx="1724977" cy="280563"/>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dirty="0"/>
          </a:p>
        </p:txBody>
      </p:sp>
    </p:spTree>
    <p:extLst>
      <p:ext uri="{BB962C8B-B14F-4D97-AF65-F5344CB8AC3E}">
        <p14:creationId xmlns:p14="http://schemas.microsoft.com/office/powerpoint/2010/main" val="3869407588"/>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Lst>
  <p:hf hdr="0" ftr="0" dt="0"/>
  <p:txStyles>
    <p:title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991">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CAC9EE12-70FB-474F-9D70-9C7D1D03D7FB}"/>
              </a:ext>
            </a:extLst>
          </p:cNvPr>
          <p:cNvSpPr>
            <a:spLocks noGrp="1"/>
          </p:cNvSpPr>
          <p:nvPr>
            <p:ph type="ftr" sz="quarter" idx="3"/>
          </p:nvPr>
        </p:nvSpPr>
        <p:spPr>
          <a:xfrm>
            <a:off x="4273551" y="6212312"/>
            <a:ext cx="5583238" cy="280563"/>
          </a:xfrm>
          <a:prstGeom prst="rect">
            <a:avLst/>
          </a:prstGeom>
        </p:spPr>
        <p:txBody>
          <a:bodyPr vert="horz" lIns="0" tIns="0" rIns="0" bIns="0" rtlCol="0" anchor="b" anchorCtr="0"/>
          <a:lstStyle>
            <a:lvl1pPr marL="0" algn="l" defTabSz="609585"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stStyle>
          <a:p>
            <a:endParaRPr lang="en-US" dirty="0"/>
          </a:p>
        </p:txBody>
      </p:sp>
      <p:sp>
        <p:nvSpPr>
          <p:cNvPr id="4" name="Slide Number Placeholder 10">
            <a:extLst>
              <a:ext uri="{FF2B5EF4-FFF2-40B4-BE49-F238E27FC236}">
                <a16:creationId xmlns:a16="http://schemas.microsoft.com/office/drawing/2014/main" id="{F67B5899-DF89-D08D-97EA-4C3BB138FF04}"/>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Tree>
    <p:extLst>
      <p:ext uri="{BB962C8B-B14F-4D97-AF65-F5344CB8AC3E}">
        <p14:creationId xmlns:p14="http://schemas.microsoft.com/office/powerpoint/2010/main" val="2046450577"/>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435" r:id="rId11"/>
    <p:sldLayoutId id="2147484436" r:id="rId12"/>
    <p:sldLayoutId id="2147484437" r:id="rId13"/>
    <p:sldLayoutId id="2147484438" r:id="rId14"/>
    <p:sldLayoutId id="2147484439" r:id="rId15"/>
    <p:sldLayoutId id="2147484641" r:id="rId16"/>
  </p:sldLayoutIdLst>
  <p:hf hdr="0" ftr="0" dt="0"/>
  <p:txStyles>
    <p:title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991">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CAC9EE12-70FB-474F-9D70-9C7D1D03D7FB}"/>
              </a:ext>
            </a:extLst>
          </p:cNvPr>
          <p:cNvSpPr>
            <a:spLocks noGrp="1"/>
          </p:cNvSpPr>
          <p:nvPr>
            <p:ph type="ftr" sz="quarter" idx="3"/>
          </p:nvPr>
        </p:nvSpPr>
        <p:spPr>
          <a:xfrm>
            <a:off x="4273551" y="6212312"/>
            <a:ext cx="5583238" cy="280563"/>
          </a:xfrm>
          <a:prstGeom prst="rect">
            <a:avLst/>
          </a:prstGeom>
        </p:spPr>
        <p:txBody>
          <a:bodyPr vert="horz" lIns="0" tIns="0" rIns="0" bIns="0" rtlCol="0" anchor="b" anchorCtr="0"/>
          <a:lstStyle>
            <a:lvl1pPr marL="0" algn="l" defTabSz="609585"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stStyle>
          <a:p>
            <a:endParaRPr lang="en-US" dirty="0"/>
          </a:p>
        </p:txBody>
      </p:sp>
      <p:sp>
        <p:nvSpPr>
          <p:cNvPr id="11" name="Slide Number Placeholder 10">
            <a:extLst>
              <a:ext uri="{FF2B5EF4-FFF2-40B4-BE49-F238E27FC236}">
                <a16:creationId xmlns:a16="http://schemas.microsoft.com/office/drawing/2014/main" id="{A5C9FA13-FF6A-7448-89FA-05F46CB51D4F}"/>
              </a:ext>
            </a:extLst>
          </p:cNvPr>
          <p:cNvSpPr>
            <a:spLocks noGrp="1"/>
          </p:cNvSpPr>
          <p:nvPr>
            <p:ph type="sldNum" sz="quarter" idx="4"/>
          </p:nvPr>
        </p:nvSpPr>
        <p:spPr>
          <a:xfrm>
            <a:off x="10101262" y="6212312"/>
            <a:ext cx="1724977" cy="280563"/>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dirty="0"/>
          </a:p>
        </p:txBody>
      </p:sp>
    </p:spTree>
    <p:extLst>
      <p:ext uri="{BB962C8B-B14F-4D97-AF65-F5344CB8AC3E}">
        <p14:creationId xmlns:p14="http://schemas.microsoft.com/office/powerpoint/2010/main" val="2169775358"/>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Lst>
  <p:hf hdr="0" ftr="0" dt="0"/>
  <p:txStyles>
    <p:title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991">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CAC9EE12-70FB-474F-9D70-9C7D1D03D7FB}"/>
              </a:ext>
            </a:extLst>
          </p:cNvPr>
          <p:cNvSpPr>
            <a:spLocks noGrp="1"/>
          </p:cNvSpPr>
          <p:nvPr>
            <p:ph type="ftr" sz="quarter" idx="3"/>
          </p:nvPr>
        </p:nvSpPr>
        <p:spPr>
          <a:xfrm>
            <a:off x="4273552" y="6212313"/>
            <a:ext cx="5583238" cy="280563"/>
          </a:xfrm>
          <a:prstGeom prst="rect">
            <a:avLst/>
          </a:prstGeom>
        </p:spPr>
        <p:txBody>
          <a:bodyPr vert="horz" lIns="0" tIns="0" rIns="0" bIns="0" rtlCol="0" anchor="b" anchorCtr="0"/>
          <a:lstStyle>
            <a:lvl1pPr marL="0" algn="l" defTabSz="609616"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stStyle>
          <a:p>
            <a:endParaRPr lang="en-IN" dirty="0"/>
          </a:p>
        </p:txBody>
      </p:sp>
      <p:sp>
        <p:nvSpPr>
          <p:cNvPr id="11" name="Slide Number Placeholder 10">
            <a:extLst>
              <a:ext uri="{FF2B5EF4-FFF2-40B4-BE49-F238E27FC236}">
                <a16:creationId xmlns:a16="http://schemas.microsoft.com/office/drawing/2014/main" id="{A5C9FA13-FF6A-7448-89FA-05F46CB51D4F}"/>
              </a:ext>
            </a:extLst>
          </p:cNvPr>
          <p:cNvSpPr>
            <a:spLocks noGrp="1"/>
          </p:cNvSpPr>
          <p:nvPr>
            <p:ph type="sldNum" sz="quarter" idx="4"/>
          </p:nvPr>
        </p:nvSpPr>
        <p:spPr>
          <a:xfrm>
            <a:off x="10101263" y="6212313"/>
            <a:ext cx="1724977" cy="280563"/>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fld id="{3524B939-EC2F-49C0-A963-D2906BF63152}" type="slidenum">
              <a:rPr lang="en-IN" smtClean="0"/>
              <a:t>‹#›</a:t>
            </a:fld>
            <a:endParaRPr lang="en-IN" dirty="0"/>
          </a:p>
        </p:txBody>
      </p:sp>
    </p:spTree>
    <p:extLst>
      <p:ext uri="{BB962C8B-B14F-4D97-AF65-F5344CB8AC3E}">
        <p14:creationId xmlns:p14="http://schemas.microsoft.com/office/powerpoint/2010/main" val="3614100591"/>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0" r:id="rId13"/>
    <p:sldLayoutId id="2147484491" r:id="rId14"/>
    <p:sldLayoutId id="2147484492" r:id="rId15"/>
    <p:sldLayoutId id="2147484493" r:id="rId16"/>
    <p:sldLayoutId id="2147484494" r:id="rId17"/>
    <p:sldLayoutId id="2147484495" r:id="rId18"/>
    <p:sldLayoutId id="2147484496" r:id="rId19"/>
    <p:sldLayoutId id="2147484497" r:id="rId20"/>
    <p:sldLayoutId id="2147484498" r:id="rId21"/>
    <p:sldLayoutId id="2147484499" r:id="rId22"/>
    <p:sldLayoutId id="2147484500" r:id="rId23"/>
    <p:sldLayoutId id="2147484501" r:id="rId24"/>
    <p:sldLayoutId id="2147484502" r:id="rId25"/>
    <p:sldLayoutId id="2147484503" r:id="rId26"/>
    <p:sldLayoutId id="2147484504" r:id="rId27"/>
    <p:sldLayoutId id="2147484505" r:id="rId28"/>
    <p:sldLayoutId id="2147484506" r:id="rId29"/>
    <p:sldLayoutId id="2147484507" r:id="rId30"/>
    <p:sldLayoutId id="2147484508" r:id="rId31"/>
    <p:sldLayoutId id="2147484509" r:id="rId32"/>
    <p:sldLayoutId id="2147484510" r:id="rId33"/>
    <p:sldLayoutId id="2147484511" r:id="rId34"/>
    <p:sldLayoutId id="2147484512" r:id="rId35"/>
    <p:sldLayoutId id="2147484513" r:id="rId36"/>
    <p:sldLayoutId id="2147484514" r:id="rId37"/>
    <p:sldLayoutId id="2147484515" r:id="rId38"/>
    <p:sldLayoutId id="2147484516" r:id="rId39"/>
    <p:sldLayoutId id="2147484517" r:id="rId40"/>
    <p:sldLayoutId id="2147484518" r:id="rId41"/>
    <p:sldLayoutId id="2147484519" r:id="rId42"/>
    <p:sldLayoutId id="2147484520" r:id="rId43"/>
  </p:sldLayoutIdLst>
  <p:txStyles>
    <p:titleStyle>
      <a:lvl1pPr algn="l" defTabSz="914423"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p:titleStyle>
    <p:bodyStyle>
      <a:lvl1pPr marL="228605" indent="-228605" algn="l" defTabSz="914423"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1pPr>
      <a:lvl2pPr marL="463307" indent="-228605" algn="l" defTabSz="914423"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2pPr>
      <a:lvl3pPr marL="682769" indent="-228605" algn="l" defTabSz="914423"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3pPr>
      <a:lvl4pPr marL="914423" indent="-228605" algn="l" defTabSz="914423"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4pPr>
      <a:lvl5pPr marL="1146077" indent="-228605" algn="l" defTabSz="914423"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5pPr>
      <a:lvl6pPr marL="1146077" indent="-228605" algn="l" defTabSz="914423"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77" indent="-228605" algn="l" defTabSz="914423"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77" indent="-228605" algn="l" defTabSz="914423"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77" indent="-228605" algn="l" defTabSz="914423"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991">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CAC9EE12-70FB-474F-9D70-9C7D1D03D7FB}"/>
              </a:ext>
            </a:extLst>
          </p:cNvPr>
          <p:cNvSpPr>
            <a:spLocks noGrp="1"/>
          </p:cNvSpPr>
          <p:nvPr>
            <p:ph type="ftr" sz="quarter" idx="3"/>
          </p:nvPr>
        </p:nvSpPr>
        <p:spPr>
          <a:xfrm>
            <a:off x="4273551" y="6212312"/>
            <a:ext cx="5583238" cy="280563"/>
          </a:xfrm>
          <a:prstGeom prst="rect">
            <a:avLst/>
          </a:prstGeom>
        </p:spPr>
        <p:txBody>
          <a:bodyPr vert="horz" lIns="0" tIns="0" rIns="0" bIns="0" rtlCol="0" anchor="b" anchorCtr="0"/>
          <a:lstStyle>
            <a:lvl1pPr marL="0" algn="l" defTabSz="609585"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
        <p:nvSpPr>
          <p:cNvPr id="11" name="Slide Number Placeholder 10">
            <a:extLst>
              <a:ext uri="{FF2B5EF4-FFF2-40B4-BE49-F238E27FC236}">
                <a16:creationId xmlns:a16="http://schemas.microsoft.com/office/drawing/2014/main" id="{A5C9FA13-FF6A-7448-89FA-05F46CB51D4F}"/>
              </a:ext>
            </a:extLst>
          </p:cNvPr>
          <p:cNvSpPr>
            <a:spLocks noGrp="1"/>
          </p:cNvSpPr>
          <p:nvPr>
            <p:ph type="sldNum" sz="quarter" idx="4"/>
          </p:nvPr>
        </p:nvSpPr>
        <p:spPr>
          <a:xfrm>
            <a:off x="10101262" y="6212312"/>
            <a:ext cx="1724977" cy="280563"/>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a:t>
            </a:r>
            <a:fld id="{9A69F558-F4B7-CC48-A764-748BE7C31488}" type="datetimeyyyy">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4</a:t>
            </a:fld>
            <a:r>
              <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rPr>
              <a:t> Brillio  |  </a:t>
            </a:r>
            <a:fld id="{F1FE5E21-FD07-B44E-90A3-0254BFCDB49A}" type="slidenum">
              <a:rPr kumimoji="0" lang="en-US" sz="1000" b="0" i="0" u="none" strike="noStrike" kern="1200" cap="none" spc="0" normalizeH="0" baseline="0" noProof="0" smtClean="0">
                <a:ln>
                  <a:noFill/>
                </a:ln>
                <a:solidFill>
                  <a:srgbClr val="201646"/>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2016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65028699"/>
      </p:ext>
    </p:extLst>
  </p:cSld>
  <p:clrMap bg1="lt1" tx1="dk1" bg2="lt2" tx2="dk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33" r:id="rId12"/>
    <p:sldLayoutId id="2147484534" r:id="rId13"/>
    <p:sldLayoutId id="2147484535" r:id="rId14"/>
    <p:sldLayoutId id="2147484536" r:id="rId15"/>
    <p:sldLayoutId id="2147484537" r:id="rId16"/>
    <p:sldLayoutId id="2147484538" r:id="rId17"/>
    <p:sldLayoutId id="2147484539" r:id="rId18"/>
    <p:sldLayoutId id="2147484540" r:id="rId19"/>
    <p:sldLayoutId id="2147484541" r:id="rId20"/>
    <p:sldLayoutId id="2147484542" r:id="rId21"/>
    <p:sldLayoutId id="2147484543" r:id="rId22"/>
    <p:sldLayoutId id="2147484544" r:id="rId23"/>
  </p:sldLayoutIdLst>
  <p:hf hdr="0" ftr="0" dt="0"/>
  <p:txStyles>
    <p:title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991">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319759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1" imgH="423" progId="TCLayout.ActiveDocument.1">
                  <p:embed/>
                </p:oleObj>
              </mc:Choice>
              <mc:Fallback>
                <p:oleObj name="think-cell Slide" r:id="rId17" imgW="471" imgH="423" progId="TCLayout.ActiveDocument.1">
                  <p:embed/>
                  <p:pic>
                    <p:nvPicPr>
                      <p:cNvPr id="7" name="Object 6"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570992"/>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231641"/>
            <a:ext cx="11180064" cy="473062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picture containing icon&#10;&#10;Description automatically generated">
            <a:extLst>
              <a:ext uri="{FF2B5EF4-FFF2-40B4-BE49-F238E27FC236}">
                <a16:creationId xmlns:a16="http://schemas.microsoft.com/office/drawing/2014/main" id="{A51E6702-8CD2-46BA-9247-09CB3C1145D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92272" y="6416238"/>
            <a:ext cx="722128" cy="305054"/>
          </a:xfrm>
          <a:prstGeom prst="rect">
            <a:avLst/>
          </a:prstGeom>
        </p:spPr>
      </p:pic>
      <p:sp>
        <p:nvSpPr>
          <p:cNvPr id="6" name="Slide Number Placeholder 10">
            <a:extLst>
              <a:ext uri="{FF2B5EF4-FFF2-40B4-BE49-F238E27FC236}">
                <a16:creationId xmlns:a16="http://schemas.microsoft.com/office/drawing/2014/main" id="{DE0EFEEA-B0AC-CC31-EBA3-48B64B656281}"/>
              </a:ext>
            </a:extLst>
          </p:cNvPr>
          <p:cNvSpPr>
            <a:spLocks noGrp="1"/>
          </p:cNvSpPr>
          <p:nvPr>
            <p:ph type="sldNum" sz="quarter" idx="4"/>
          </p:nvPr>
        </p:nvSpPr>
        <p:spPr>
          <a:xfrm>
            <a:off x="9856790" y="6398287"/>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
        <p:nvSpPr>
          <p:cNvPr id="9" name="TextBox 8">
            <a:extLst>
              <a:ext uri="{FF2B5EF4-FFF2-40B4-BE49-F238E27FC236}">
                <a16:creationId xmlns:a16="http://schemas.microsoft.com/office/drawing/2014/main" id="{322F1675-4256-8BAB-ADB2-59115D635F2F}"/>
              </a:ext>
            </a:extLst>
          </p:cNvPr>
          <p:cNvSpPr txBox="1"/>
          <p:nvPr userDrawn="1"/>
        </p:nvSpPr>
        <p:spPr>
          <a:xfrm>
            <a:off x="4997726" y="6577839"/>
            <a:ext cx="2196548" cy="246221"/>
          </a:xfrm>
          <a:prstGeom prst="rect">
            <a:avLst/>
          </a:prstGeom>
          <a:noFill/>
        </p:spPr>
        <p:txBody>
          <a:bodyPr wrap="square" rtlCol="0">
            <a:spAutoFit/>
          </a:bodyPr>
          <a:lstStyle/>
          <a:p>
            <a:pPr algn="ctr"/>
            <a:r>
              <a:rPr lang="en-US" sz="1000" b="0" i="0" baseline="0" dirty="0">
                <a:solidFill>
                  <a:schemeClr val="tx1"/>
                </a:solidFill>
                <a:latin typeface="Arial" panose="020B0604020202020204" pitchFamily="34" charset="0"/>
                <a:cs typeface="Arial" panose="020B0604020202020204" pitchFamily="34" charset="0"/>
              </a:rPr>
              <a:t>Proprietary &amp; Confidential</a:t>
            </a:r>
            <a:endParaRPr lang="en-GB" sz="1000" dirty="0">
              <a:solidFill>
                <a:schemeClr val="tx1"/>
              </a:solidFill>
            </a:endParaRPr>
          </a:p>
        </p:txBody>
      </p:sp>
    </p:spTree>
    <p:extLst>
      <p:ext uri="{BB962C8B-B14F-4D97-AF65-F5344CB8AC3E}">
        <p14:creationId xmlns:p14="http://schemas.microsoft.com/office/powerpoint/2010/main" val="415083295"/>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Lst>
  <p:hf hdr="0" dt="0"/>
  <p:txStyles>
    <p:titleStyle>
      <a:lvl1pPr algn="l" defTabSz="1219110" rtl="0" eaLnBrk="1" latinLnBrk="0" hangingPunct="1">
        <a:lnSpc>
          <a:spcPct val="90000"/>
        </a:lnSpc>
        <a:spcBef>
          <a:spcPct val="0"/>
        </a:spcBef>
        <a:buNone/>
        <a:defRPr sz="2400" b="1" kern="1200" cap="all"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1219110" rtl="0" eaLnBrk="1" latinLnBrk="0" hangingPunct="1">
        <a:lnSpc>
          <a:spcPct val="100000"/>
        </a:lnSpc>
        <a:spcBef>
          <a:spcPts val="800"/>
        </a:spcBef>
        <a:buFont typeface="Arial" panose="020B0604020202020204" pitchFamily="34" charset="0"/>
        <a:buNone/>
        <a:defRPr sz="2400" kern="1200" baseline="0">
          <a:solidFill>
            <a:schemeClr val="tx2"/>
          </a:solidFill>
          <a:latin typeface="Arial" panose="020B0604020202020204" pitchFamily="34" charset="0"/>
          <a:ea typeface="+mn-ea"/>
          <a:cs typeface="Arial" panose="020B0604020202020204" pitchFamily="34" charset="0"/>
        </a:defRPr>
      </a:lvl1pPr>
      <a:lvl2pPr marL="304776" indent="-304776" algn="l" defTabSz="1219110" rtl="0" eaLnBrk="1" latinLnBrk="0" hangingPunct="1">
        <a:lnSpc>
          <a:spcPct val="100000"/>
        </a:lnSpc>
        <a:spcBef>
          <a:spcPts val="800"/>
        </a:spcBef>
        <a:buClrTx/>
        <a:buSzPct val="125000"/>
        <a:buFont typeface="Arial" panose="020B0604020202020204" pitchFamily="34" charset="0"/>
        <a:buChar char="•"/>
        <a:defRPr sz="2133" kern="1200" baseline="0">
          <a:solidFill>
            <a:schemeClr val="tx2"/>
          </a:solidFill>
          <a:latin typeface="Arial" panose="020B0604020202020204" pitchFamily="34" charset="0"/>
          <a:ea typeface="+mn-ea"/>
          <a:cs typeface="Arial" panose="020B0604020202020204" pitchFamily="34" charset="0"/>
        </a:defRPr>
      </a:lvl2pPr>
      <a:lvl3pPr marL="609555" indent="-304776" algn="l" defTabSz="1219110" rtl="0" eaLnBrk="1" latinLnBrk="0" hangingPunct="1">
        <a:lnSpc>
          <a:spcPct val="100000"/>
        </a:lnSpc>
        <a:spcBef>
          <a:spcPts val="533"/>
        </a:spcBef>
        <a:buClrTx/>
        <a:buSzPct val="100000"/>
        <a:buFont typeface="Arial" panose="020B0604020202020204" pitchFamily="34" charset="0"/>
        <a:buChar char="–"/>
        <a:defRPr sz="1867" kern="1200" baseline="0">
          <a:solidFill>
            <a:schemeClr val="tx2"/>
          </a:solidFill>
          <a:latin typeface="Arial" panose="020B0604020202020204" pitchFamily="34" charset="0"/>
          <a:ea typeface="+mn-ea"/>
          <a:cs typeface="Arial" panose="020B0604020202020204" pitchFamily="34" charset="0"/>
        </a:defRPr>
      </a:lvl3pPr>
      <a:lvl4pPr marL="914332" indent="-304776" algn="l" defTabSz="1219110" rtl="0" eaLnBrk="1" latinLnBrk="0" hangingPunct="1">
        <a:lnSpc>
          <a:spcPct val="100000"/>
        </a:lnSpc>
        <a:spcBef>
          <a:spcPts val="533"/>
        </a:spcBef>
        <a:buClrTx/>
        <a:buSzPct val="100000"/>
        <a:buFont typeface="Arial" panose="020B0604020202020204" pitchFamily="34" charset="0"/>
        <a:buChar char="•"/>
        <a:defRPr sz="1600" kern="1200" baseline="0">
          <a:solidFill>
            <a:schemeClr val="tx2"/>
          </a:solidFill>
          <a:latin typeface="Arial" panose="020B0604020202020204" pitchFamily="34" charset="0"/>
          <a:ea typeface="+mn-ea"/>
          <a:cs typeface="Arial" panose="020B0604020202020204" pitchFamily="34" charset="0"/>
        </a:defRPr>
      </a:lvl4pPr>
      <a:lvl5pPr marL="1219110" indent="-304776" algn="l" defTabSz="1219110" rtl="0" eaLnBrk="1" latinLnBrk="0" hangingPunct="1">
        <a:lnSpc>
          <a:spcPct val="100000"/>
        </a:lnSpc>
        <a:spcBef>
          <a:spcPts val="533"/>
        </a:spcBef>
        <a:buClrTx/>
        <a:buSzPct val="100000"/>
        <a:buFont typeface="Arial" panose="020B0604020202020204" pitchFamily="34" charset="0"/>
        <a:buChar char="–"/>
        <a:defRPr sz="1400" kern="1200" baseline="0">
          <a:solidFill>
            <a:schemeClr val="tx2"/>
          </a:solidFill>
          <a:latin typeface="Arial" panose="020B0604020202020204" pitchFamily="34" charset="0"/>
          <a:ea typeface="+mn-ea"/>
          <a:cs typeface="Arial" panose="020B0604020202020204" pitchFamily="34" charset="0"/>
        </a:defRPr>
      </a:lvl5pPr>
      <a:lvl6pPr marL="1523887" indent="-304776" algn="l" defTabSz="121911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664" indent="-304776" algn="l" defTabSz="121911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440" indent="-304776" algn="l" defTabSz="121911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440" indent="-304776" algn="l" defTabSz="121911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2">
          <p15:clr>
            <a:srgbClr val="F26B43"/>
          </p15:clr>
        </p15:guide>
        <p15:guide id="2" pos="320">
          <p15:clr>
            <a:srgbClr val="F26B43"/>
          </p15:clr>
        </p15:guide>
        <p15:guide id="3" pos="7392">
          <p15:clr>
            <a:srgbClr val="F26B43"/>
          </p15:clr>
        </p15:guide>
        <p15:guide id="4" orient="horz" pos="401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21174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F0733385-7C9E-5242-9370-380A43759513}"/>
              </a:ext>
            </a:extLst>
          </p:cNvPr>
          <p:cNvSpPr>
            <a:spLocks noGrp="1"/>
          </p:cNvSpPr>
          <p:nvPr>
            <p:ph type="sldNum" sz="quarter" idx="4"/>
          </p:nvPr>
        </p:nvSpPr>
        <p:spPr>
          <a:xfrm>
            <a:off x="10101263" y="6114866"/>
            <a:ext cx="1724976" cy="365125"/>
          </a:xfrm>
          <a:prstGeom prst="rect">
            <a:avLst/>
          </a:prstGeom>
        </p:spPr>
        <p:txBody>
          <a:bodyPr vert="horz" lIns="0" tIns="0" rIns="0" bIns="0" rtlCol="0" anchor="b"/>
          <a:lstStyle>
            <a:lvl1pPr algn="r">
              <a:defRPr sz="1000" b="0" i="0">
                <a:solidFill>
                  <a:schemeClr val="bg2"/>
                </a:solidFill>
                <a:latin typeface="Arial" panose="020B0604020202020204" pitchFamily="34" charset="0"/>
                <a:cs typeface="Arial" panose="020B0604020202020204" pitchFamily="34" charset="0"/>
              </a:defRPr>
            </a:lvl1pPr>
          </a:lstStyle>
          <a:p>
            <a:r>
              <a:rPr lang="en-US" dirty="0"/>
              <a:t>©2022 Brillio  |  </a:t>
            </a:r>
            <a:fld id="{F1FE5E21-FD07-B44E-90A3-0254BFCDB49A}" type="slidenum">
              <a:rPr smtClean="0"/>
              <a:pPr/>
              <a:t>‹#›</a:t>
            </a:fld>
            <a:endParaRPr dirty="0"/>
          </a:p>
        </p:txBody>
      </p:sp>
      <p:sp>
        <p:nvSpPr>
          <p:cNvPr id="4" name="Footer Placeholder 3">
            <a:extLst>
              <a:ext uri="{FF2B5EF4-FFF2-40B4-BE49-F238E27FC236}">
                <a16:creationId xmlns:a16="http://schemas.microsoft.com/office/drawing/2014/main" id="{6D5838B1-B95D-7A45-BA6D-910DC76916E5}"/>
              </a:ext>
            </a:extLst>
          </p:cNvPr>
          <p:cNvSpPr>
            <a:spLocks noGrp="1"/>
          </p:cNvSpPr>
          <p:nvPr>
            <p:ph type="ftr" sz="quarter" idx="3"/>
          </p:nvPr>
        </p:nvSpPr>
        <p:spPr>
          <a:xfrm>
            <a:off x="4273550" y="6114866"/>
            <a:ext cx="5583238" cy="365125"/>
          </a:xfrm>
          <a:prstGeom prst="rect">
            <a:avLst/>
          </a:prstGeom>
        </p:spPr>
        <p:txBody>
          <a:bodyPr vert="horz" lIns="0" tIns="0" rIns="0" bIns="0" rtlCol="0" anchor="b"/>
          <a:lstStyle>
            <a:lvl1pPr algn="l">
              <a:defRPr sz="1000">
                <a:solidFill>
                  <a:schemeClr val="bg1"/>
                </a:solidFill>
              </a:defRPr>
            </a:lvl1pPr>
          </a:lstStyle>
          <a:p>
            <a:endParaRPr lang="en-US" dirty="0"/>
          </a:p>
        </p:txBody>
      </p:sp>
    </p:spTree>
    <p:extLst>
      <p:ext uri="{BB962C8B-B14F-4D97-AF65-F5344CB8AC3E}">
        <p14:creationId xmlns:p14="http://schemas.microsoft.com/office/powerpoint/2010/main" val="1133752070"/>
      </p:ext>
    </p:extLst>
  </p:cSld>
  <p:clrMap bg1="lt1" tx1="dk1" bg2="lt2" tx2="dk2" accent1="accent1" accent2="accent2" accent3="accent3" accent4="accent4" accent5="accent5" accent6="accent6" hlink="hlink" folHlink="folHlink"/>
  <p:sldLayoutIdLst>
    <p:sldLayoutId id="2147484643" r:id="rId1"/>
    <p:sldLayoutId id="2147484644" r:id="rId2"/>
    <p:sldLayoutId id="2147484645" r:id="rId3"/>
    <p:sldLayoutId id="2147484646" r:id="rId4"/>
    <p:sldLayoutId id="2147484648" r:id="rId5"/>
    <p:sldLayoutId id="2147484649" r:id="rId6"/>
    <p:sldLayoutId id="2147484650" r:id="rId7"/>
    <p:sldLayoutId id="2147484651" r:id="rId8"/>
    <p:sldLayoutId id="2147484652" r:id="rId9"/>
    <p:sldLayoutId id="2147484653" r:id="rId10"/>
    <p:sldLayoutId id="2147484654" r:id="rId11"/>
    <p:sldLayoutId id="2147484655" r:id="rId12"/>
    <p:sldLayoutId id="2147484656" r:id="rId13"/>
    <p:sldLayoutId id="2147484657" r:id="rId14"/>
  </p:sldLayoutIdLst>
  <p:hf hdr="0" ftr="0" dt="0"/>
  <p:txStyles>
    <p:titleStyle>
      <a:lvl1pPr algn="l" defTabSz="914377" rtl="0" eaLnBrk="1" latinLnBrk="0" hangingPunct="1">
        <a:lnSpc>
          <a:spcPct val="90000"/>
        </a:lnSpc>
        <a:spcBef>
          <a:spcPct val="0"/>
        </a:spcBef>
        <a:buNone/>
        <a:defRPr sz="2800" b="1" i="0" kern="1200" baseline="0">
          <a:solidFill>
            <a:schemeClr val="bg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1008">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19759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1" imgH="423" progId="TCLayout.ActiveDocument.1">
                  <p:embed/>
                </p:oleObj>
              </mc:Choice>
              <mc:Fallback>
                <p:oleObj name="think-cell Slide" r:id="rId19" imgW="471" imgH="423" progId="TCLayout.ActiveDocument.1">
                  <p:embed/>
                  <p:pic>
                    <p:nvPicPr>
                      <p:cNvPr id="7" name="Object 6"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570992"/>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231641"/>
            <a:ext cx="11180064" cy="473062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picture containing icon&#10;&#10;Description automatically generated">
            <a:extLst>
              <a:ext uri="{FF2B5EF4-FFF2-40B4-BE49-F238E27FC236}">
                <a16:creationId xmlns:a16="http://schemas.microsoft.com/office/drawing/2014/main" id="{0E2579EF-6CD3-76D7-9EC4-625EAC104046}"/>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92272" y="6416238"/>
            <a:ext cx="722128" cy="305054"/>
          </a:xfrm>
          <a:prstGeom prst="rect">
            <a:avLst/>
          </a:prstGeom>
        </p:spPr>
      </p:pic>
      <p:sp>
        <p:nvSpPr>
          <p:cNvPr id="6" name="Slide Number Placeholder 10">
            <a:extLst>
              <a:ext uri="{FF2B5EF4-FFF2-40B4-BE49-F238E27FC236}">
                <a16:creationId xmlns:a16="http://schemas.microsoft.com/office/drawing/2014/main" id="{8C9A2F5C-072D-8CD4-5EFB-206D5DB9BE71}"/>
              </a:ext>
            </a:extLst>
          </p:cNvPr>
          <p:cNvSpPr>
            <a:spLocks noGrp="1"/>
          </p:cNvSpPr>
          <p:nvPr>
            <p:ph type="sldNum" sz="quarter" idx="4"/>
          </p:nvPr>
        </p:nvSpPr>
        <p:spPr>
          <a:xfrm>
            <a:off x="9856790" y="6398287"/>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GB" dirty="0"/>
              <a:t>©2024 Brillio  |  </a:t>
            </a:r>
            <a:fld id="{F1FE5E21-FD07-B44E-90A3-0254BFCDB49A}" type="slidenum">
              <a:rPr smtClean="0"/>
              <a:pPr/>
              <a:t>‹#›</a:t>
            </a:fld>
            <a:endParaRPr lang="en-US" dirty="0"/>
          </a:p>
        </p:txBody>
      </p:sp>
      <p:sp>
        <p:nvSpPr>
          <p:cNvPr id="9" name="TextBox 8">
            <a:extLst>
              <a:ext uri="{FF2B5EF4-FFF2-40B4-BE49-F238E27FC236}">
                <a16:creationId xmlns:a16="http://schemas.microsoft.com/office/drawing/2014/main" id="{3C48008D-A2BC-61D8-90BE-9EC2E5182066}"/>
              </a:ext>
            </a:extLst>
          </p:cNvPr>
          <p:cNvSpPr txBox="1"/>
          <p:nvPr userDrawn="1"/>
        </p:nvSpPr>
        <p:spPr>
          <a:xfrm>
            <a:off x="4997726" y="6577839"/>
            <a:ext cx="2196548" cy="246221"/>
          </a:xfrm>
          <a:prstGeom prst="rect">
            <a:avLst/>
          </a:prstGeom>
          <a:noFill/>
        </p:spPr>
        <p:txBody>
          <a:bodyPr wrap="square" rtlCol="0">
            <a:spAutoFit/>
          </a:bodyPr>
          <a:lstStyle/>
          <a:p>
            <a:pPr algn="ctr"/>
            <a:r>
              <a:rPr lang="en-US" sz="1000" b="0" i="0" baseline="0" dirty="0">
                <a:solidFill>
                  <a:schemeClr val="tx1"/>
                </a:solidFill>
                <a:latin typeface="Arial" panose="020B0604020202020204" pitchFamily="34" charset="0"/>
                <a:cs typeface="Arial" panose="020B0604020202020204" pitchFamily="34" charset="0"/>
              </a:rPr>
              <a:t>Proprietary &amp; Confidential</a:t>
            </a:r>
            <a:endParaRPr lang="en-GB" sz="1000" dirty="0">
              <a:solidFill>
                <a:schemeClr val="tx1"/>
              </a:solidFill>
            </a:endParaRPr>
          </a:p>
        </p:txBody>
      </p:sp>
    </p:spTree>
    <p:extLst>
      <p:ext uri="{BB962C8B-B14F-4D97-AF65-F5344CB8AC3E}">
        <p14:creationId xmlns:p14="http://schemas.microsoft.com/office/powerpoint/2010/main" val="8153989"/>
      </p:ext>
    </p:extLst>
  </p:cSld>
  <p:clrMap bg1="lt1" tx1="dk1" bg2="lt2" tx2="dk2" accent1="accent1" accent2="accent2" accent3="accent3" accent4="accent4" accent5="accent5" accent6="accent6" hlink="hlink" folHlink="folHlink"/>
  <p:sldLayoutIdLst>
    <p:sldLayoutId id="2147484659" r:id="rId1"/>
    <p:sldLayoutId id="2147484660" r:id="rId2"/>
    <p:sldLayoutId id="2147484661" r:id="rId3"/>
    <p:sldLayoutId id="2147484662" r:id="rId4"/>
    <p:sldLayoutId id="2147484663" r:id="rId5"/>
    <p:sldLayoutId id="2147484664" r:id="rId6"/>
    <p:sldLayoutId id="2147484665" r:id="rId7"/>
    <p:sldLayoutId id="2147484666" r:id="rId8"/>
    <p:sldLayoutId id="2147484667" r:id="rId9"/>
    <p:sldLayoutId id="2147484668" r:id="rId10"/>
    <p:sldLayoutId id="2147484669" r:id="rId11"/>
    <p:sldLayoutId id="2147484670" r:id="rId12"/>
    <p:sldLayoutId id="2147484671" r:id="rId13"/>
    <p:sldLayoutId id="2147484672" r:id="rId14"/>
    <p:sldLayoutId id="2147484673" r:id="rId15"/>
    <p:sldLayoutId id="2147484674" r:id="rId16"/>
  </p:sldLayoutIdLst>
  <p:hf hdr="0" dt="0"/>
  <p:txStyles>
    <p:titleStyle>
      <a:lvl1pPr algn="l" defTabSz="1219110" rtl="0" eaLnBrk="1" latinLnBrk="0" hangingPunct="1">
        <a:lnSpc>
          <a:spcPct val="90000"/>
        </a:lnSpc>
        <a:spcBef>
          <a:spcPct val="0"/>
        </a:spcBef>
        <a:buNone/>
        <a:defRPr sz="2400" b="1" kern="1200" cap="all"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1219110" rtl="0" eaLnBrk="1" latinLnBrk="0" hangingPunct="1">
        <a:lnSpc>
          <a:spcPct val="100000"/>
        </a:lnSpc>
        <a:spcBef>
          <a:spcPts val="800"/>
        </a:spcBef>
        <a:buFont typeface="Arial" panose="020B0604020202020204" pitchFamily="34" charset="0"/>
        <a:buNone/>
        <a:defRPr sz="2400" kern="1200" baseline="0">
          <a:solidFill>
            <a:schemeClr val="tx2"/>
          </a:solidFill>
          <a:latin typeface="Arial" panose="020B0604020202020204" pitchFamily="34" charset="0"/>
          <a:ea typeface="+mn-ea"/>
          <a:cs typeface="Arial" panose="020B0604020202020204" pitchFamily="34" charset="0"/>
        </a:defRPr>
      </a:lvl1pPr>
      <a:lvl2pPr marL="304776" indent="-304776" algn="l" defTabSz="1219110" rtl="0" eaLnBrk="1" latinLnBrk="0" hangingPunct="1">
        <a:lnSpc>
          <a:spcPct val="100000"/>
        </a:lnSpc>
        <a:spcBef>
          <a:spcPts val="800"/>
        </a:spcBef>
        <a:buClrTx/>
        <a:buSzPct val="125000"/>
        <a:buFont typeface="Arial" panose="020B0604020202020204" pitchFamily="34" charset="0"/>
        <a:buChar char="•"/>
        <a:defRPr sz="2133" kern="1200" baseline="0">
          <a:solidFill>
            <a:schemeClr val="tx2"/>
          </a:solidFill>
          <a:latin typeface="Arial" panose="020B0604020202020204" pitchFamily="34" charset="0"/>
          <a:ea typeface="+mn-ea"/>
          <a:cs typeface="Arial" panose="020B0604020202020204" pitchFamily="34" charset="0"/>
        </a:defRPr>
      </a:lvl2pPr>
      <a:lvl3pPr marL="609555" indent="-304776" algn="l" defTabSz="1219110" rtl="0" eaLnBrk="1" latinLnBrk="0" hangingPunct="1">
        <a:lnSpc>
          <a:spcPct val="100000"/>
        </a:lnSpc>
        <a:spcBef>
          <a:spcPts val="533"/>
        </a:spcBef>
        <a:buClrTx/>
        <a:buSzPct val="100000"/>
        <a:buFont typeface="Arial" panose="020B0604020202020204" pitchFamily="34" charset="0"/>
        <a:buChar char="–"/>
        <a:defRPr sz="1867" kern="1200" baseline="0">
          <a:solidFill>
            <a:schemeClr val="tx2"/>
          </a:solidFill>
          <a:latin typeface="Arial" panose="020B0604020202020204" pitchFamily="34" charset="0"/>
          <a:ea typeface="+mn-ea"/>
          <a:cs typeface="Arial" panose="020B0604020202020204" pitchFamily="34" charset="0"/>
        </a:defRPr>
      </a:lvl3pPr>
      <a:lvl4pPr marL="914332" indent="-304776" algn="l" defTabSz="1219110" rtl="0" eaLnBrk="1" latinLnBrk="0" hangingPunct="1">
        <a:lnSpc>
          <a:spcPct val="100000"/>
        </a:lnSpc>
        <a:spcBef>
          <a:spcPts val="533"/>
        </a:spcBef>
        <a:buClrTx/>
        <a:buSzPct val="100000"/>
        <a:buFont typeface="Arial" panose="020B0604020202020204" pitchFamily="34" charset="0"/>
        <a:buChar char="•"/>
        <a:defRPr sz="1600" kern="1200" baseline="0">
          <a:solidFill>
            <a:schemeClr val="tx2"/>
          </a:solidFill>
          <a:latin typeface="Arial" panose="020B0604020202020204" pitchFamily="34" charset="0"/>
          <a:ea typeface="+mn-ea"/>
          <a:cs typeface="Arial" panose="020B0604020202020204" pitchFamily="34" charset="0"/>
        </a:defRPr>
      </a:lvl4pPr>
      <a:lvl5pPr marL="1219110" indent="-304776" algn="l" defTabSz="1219110" rtl="0" eaLnBrk="1" latinLnBrk="0" hangingPunct="1">
        <a:lnSpc>
          <a:spcPct val="100000"/>
        </a:lnSpc>
        <a:spcBef>
          <a:spcPts val="533"/>
        </a:spcBef>
        <a:buClrTx/>
        <a:buSzPct val="100000"/>
        <a:buFont typeface="Arial" panose="020B0604020202020204" pitchFamily="34" charset="0"/>
        <a:buChar char="–"/>
        <a:defRPr sz="1400" kern="1200" baseline="0">
          <a:solidFill>
            <a:schemeClr val="tx2"/>
          </a:solidFill>
          <a:latin typeface="Arial" panose="020B0604020202020204" pitchFamily="34" charset="0"/>
          <a:ea typeface="+mn-ea"/>
          <a:cs typeface="Arial" panose="020B0604020202020204" pitchFamily="34" charset="0"/>
        </a:defRPr>
      </a:lvl5pPr>
      <a:lvl6pPr marL="1523887" indent="-304776" algn="l" defTabSz="121911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664" indent="-304776" algn="l" defTabSz="121911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440" indent="-304776" algn="l" defTabSz="121911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440" indent="-304776" algn="l" defTabSz="121911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2">
          <p15:clr>
            <a:srgbClr val="F26B43"/>
          </p15:clr>
        </p15:guide>
        <p15:guide id="2" pos="320">
          <p15:clr>
            <a:srgbClr val="F26B43"/>
          </p15:clr>
        </p15:guide>
        <p15:guide id="3" pos="7392">
          <p15:clr>
            <a:srgbClr val="F26B43"/>
          </p15:clr>
        </p15:guide>
        <p15:guide id="4" orient="horz" pos="4016">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319759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1" imgH="423" progId="TCLayout.ActiveDocument.1">
                  <p:embed/>
                </p:oleObj>
              </mc:Choice>
              <mc:Fallback>
                <p:oleObj name="think-cell Slide" r:id="rId18" imgW="471" imgH="423" progId="TCLayout.ActiveDocument.1">
                  <p:embed/>
                  <p:pic>
                    <p:nvPicPr>
                      <p:cNvPr id="7" name="Object 6"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570992"/>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231641"/>
            <a:ext cx="11180064" cy="473062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527D70FC-A01F-B44F-9317-E682AFFD6ED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334865" y="6016620"/>
            <a:ext cx="1484604" cy="812034"/>
          </a:xfrm>
          <a:prstGeom prst="rect">
            <a:avLst/>
          </a:prstGeom>
        </p:spPr>
      </p:pic>
      <p:sp>
        <p:nvSpPr>
          <p:cNvPr id="8" name="Footer Placeholder 8">
            <a:extLst>
              <a:ext uri="{FF2B5EF4-FFF2-40B4-BE49-F238E27FC236}">
                <a16:creationId xmlns:a16="http://schemas.microsoft.com/office/drawing/2014/main" id="{D9B53F39-AAEF-FC4A-BFE2-B8D83F4AE1EA}"/>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11" name="Slide Number Placeholder 9">
            <a:extLst>
              <a:ext uri="{FF2B5EF4-FFF2-40B4-BE49-F238E27FC236}">
                <a16:creationId xmlns:a16="http://schemas.microsoft.com/office/drawing/2014/main" id="{7CA306FD-041D-B846-B716-93A80116D2A4}"/>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233931150"/>
      </p:ext>
    </p:extLst>
  </p:cSld>
  <p:clrMap bg1="lt1" tx1="dk1" bg2="lt2" tx2="dk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3" r:id="rId15"/>
  </p:sldLayoutIdLst>
  <p:hf hdr="0" dt="0"/>
  <p:txStyles>
    <p:titleStyle>
      <a:lvl1pPr algn="l" defTabSz="1219110" rtl="0" eaLnBrk="1" latinLnBrk="0" hangingPunct="1">
        <a:lnSpc>
          <a:spcPct val="90000"/>
        </a:lnSpc>
        <a:spcBef>
          <a:spcPct val="0"/>
        </a:spcBef>
        <a:buNone/>
        <a:defRPr sz="2400" b="1" kern="1200" cap="all"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1219110" rtl="0" eaLnBrk="1" latinLnBrk="0" hangingPunct="1">
        <a:lnSpc>
          <a:spcPct val="100000"/>
        </a:lnSpc>
        <a:spcBef>
          <a:spcPts val="800"/>
        </a:spcBef>
        <a:buFont typeface="Arial" panose="020B0604020202020204" pitchFamily="34" charset="0"/>
        <a:buNone/>
        <a:defRPr sz="2400" kern="1200" baseline="0">
          <a:solidFill>
            <a:schemeClr val="tx2"/>
          </a:solidFill>
          <a:latin typeface="Arial" panose="020B0604020202020204" pitchFamily="34" charset="0"/>
          <a:ea typeface="+mn-ea"/>
          <a:cs typeface="Arial" panose="020B0604020202020204" pitchFamily="34" charset="0"/>
        </a:defRPr>
      </a:lvl1pPr>
      <a:lvl2pPr marL="304776" indent="-304776" algn="l" defTabSz="1219110" rtl="0" eaLnBrk="1" latinLnBrk="0" hangingPunct="1">
        <a:lnSpc>
          <a:spcPct val="100000"/>
        </a:lnSpc>
        <a:spcBef>
          <a:spcPts val="800"/>
        </a:spcBef>
        <a:buClrTx/>
        <a:buSzPct val="125000"/>
        <a:buFont typeface="Arial" panose="020B0604020202020204" pitchFamily="34" charset="0"/>
        <a:buChar char="•"/>
        <a:defRPr sz="2133" kern="1200" baseline="0">
          <a:solidFill>
            <a:schemeClr val="tx2"/>
          </a:solidFill>
          <a:latin typeface="Arial" panose="020B0604020202020204" pitchFamily="34" charset="0"/>
          <a:ea typeface="+mn-ea"/>
          <a:cs typeface="Arial" panose="020B0604020202020204" pitchFamily="34" charset="0"/>
        </a:defRPr>
      </a:lvl2pPr>
      <a:lvl3pPr marL="609555" indent="-304776" algn="l" defTabSz="1219110" rtl="0" eaLnBrk="1" latinLnBrk="0" hangingPunct="1">
        <a:lnSpc>
          <a:spcPct val="100000"/>
        </a:lnSpc>
        <a:spcBef>
          <a:spcPts val="533"/>
        </a:spcBef>
        <a:buClrTx/>
        <a:buSzPct val="100000"/>
        <a:buFont typeface="Arial" panose="020B0604020202020204" pitchFamily="34" charset="0"/>
        <a:buChar char="–"/>
        <a:defRPr sz="1867" kern="1200" baseline="0">
          <a:solidFill>
            <a:schemeClr val="tx2"/>
          </a:solidFill>
          <a:latin typeface="Arial" panose="020B0604020202020204" pitchFamily="34" charset="0"/>
          <a:ea typeface="+mn-ea"/>
          <a:cs typeface="Arial" panose="020B0604020202020204" pitchFamily="34" charset="0"/>
        </a:defRPr>
      </a:lvl3pPr>
      <a:lvl4pPr marL="914332" indent="-304776" algn="l" defTabSz="1219110" rtl="0" eaLnBrk="1" latinLnBrk="0" hangingPunct="1">
        <a:lnSpc>
          <a:spcPct val="100000"/>
        </a:lnSpc>
        <a:spcBef>
          <a:spcPts val="533"/>
        </a:spcBef>
        <a:buClrTx/>
        <a:buSzPct val="100000"/>
        <a:buFont typeface="Arial" panose="020B0604020202020204" pitchFamily="34" charset="0"/>
        <a:buChar char="•"/>
        <a:defRPr sz="1600" kern="1200" baseline="0">
          <a:solidFill>
            <a:schemeClr val="tx2"/>
          </a:solidFill>
          <a:latin typeface="Arial" panose="020B0604020202020204" pitchFamily="34" charset="0"/>
          <a:ea typeface="+mn-ea"/>
          <a:cs typeface="Arial" panose="020B0604020202020204" pitchFamily="34" charset="0"/>
        </a:defRPr>
      </a:lvl4pPr>
      <a:lvl5pPr marL="1219110" indent="-304776" algn="l" defTabSz="1219110" rtl="0" eaLnBrk="1" latinLnBrk="0" hangingPunct="1">
        <a:lnSpc>
          <a:spcPct val="100000"/>
        </a:lnSpc>
        <a:spcBef>
          <a:spcPts val="533"/>
        </a:spcBef>
        <a:buClrTx/>
        <a:buSzPct val="100000"/>
        <a:buFont typeface="Arial" panose="020B0604020202020204" pitchFamily="34" charset="0"/>
        <a:buChar char="–"/>
        <a:defRPr sz="1400" kern="1200" baseline="0">
          <a:solidFill>
            <a:schemeClr val="tx2"/>
          </a:solidFill>
          <a:latin typeface="Arial" panose="020B0604020202020204" pitchFamily="34" charset="0"/>
          <a:ea typeface="+mn-ea"/>
          <a:cs typeface="Arial" panose="020B0604020202020204" pitchFamily="34" charset="0"/>
        </a:defRPr>
      </a:lvl5pPr>
      <a:lvl6pPr marL="1523887" indent="-304776" algn="l" defTabSz="121911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664" indent="-304776" algn="l" defTabSz="121911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440" indent="-304776" algn="l" defTabSz="121911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440" indent="-304776" algn="l" defTabSz="121911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2">
          <p15:clr>
            <a:srgbClr val="F26B43"/>
          </p15:clr>
        </p15:guide>
        <p15:guide id="2" pos="320">
          <p15:clr>
            <a:srgbClr val="F26B43"/>
          </p15:clr>
        </p15:guide>
        <p15:guide id="3" pos="7392">
          <p15:clr>
            <a:srgbClr val="F26B43"/>
          </p15:clr>
        </p15:guide>
        <p15:guide id="4" orient="horz" pos="40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330275"/>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055" r:id="rId7"/>
  </p:sldLayoutIdLst>
  <p:hf hdr="0" ftr="0" dt="0"/>
  <p:txStyles>
    <p:titleStyle>
      <a:lvl1pPr algn="l" defTabSz="457200" rtl="0" eaLnBrk="1" latinLnBrk="0" hangingPunct="1">
        <a:lnSpc>
          <a:spcPct val="90000"/>
        </a:lnSpc>
        <a:spcBef>
          <a:spcPct val="0"/>
        </a:spcBef>
        <a:buNone/>
        <a:defRPr sz="2200" kern="1200">
          <a:solidFill>
            <a:schemeClr val="tx1"/>
          </a:solidFill>
          <a:latin typeface="+mj-lt"/>
          <a:ea typeface="+mj-ea"/>
          <a:cs typeface="+mj-cs"/>
        </a:defRPr>
      </a:lvl1pPr>
    </p:titleStyle>
    <p:bodyStyle>
      <a:lvl1pPr marL="114300" indent="-114300" algn="l" defTabSz="4572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3A96AF-27E1-4675-8D0D-DD997F463315}"/>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E05C87A-93B3-4D7A-B0ED-C5EAD5DACDA7}"/>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9D671F7-E556-4C74-A485-00F17A30A01F}"/>
              </a:ext>
            </a:extLst>
          </p:cNvPr>
          <p:cNvSpPr>
            <a:spLocks noGrp="1"/>
          </p:cNvSpPr>
          <p:nvPr>
            <p:ph type="dt" sz="half" idx="2"/>
          </p:nvPr>
        </p:nvSpPr>
        <p:spPr>
          <a:xfrm>
            <a:off x="852055" y="6425627"/>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C9C2DA-E156-4221-8286-7E9693B82C12}" type="datetime1">
              <a:rPr lang="en-IN" smtClean="0"/>
              <a:t>28-05-2024</a:t>
            </a:fld>
            <a:endParaRPr lang="en-IN" dirty="0"/>
          </a:p>
        </p:txBody>
      </p:sp>
      <p:sp>
        <p:nvSpPr>
          <p:cNvPr id="5" name="Footer Placeholder 4">
            <a:extLst>
              <a:ext uri="{FF2B5EF4-FFF2-40B4-BE49-F238E27FC236}">
                <a16:creationId xmlns:a16="http://schemas.microsoft.com/office/drawing/2014/main" id="{5D4F1006-C63E-42F6-BCCD-3CE813C44695}"/>
              </a:ext>
            </a:extLst>
          </p:cNvPr>
          <p:cNvSpPr>
            <a:spLocks noGrp="1"/>
          </p:cNvSpPr>
          <p:nvPr>
            <p:ph type="ftr" sz="quarter" idx="3"/>
          </p:nvPr>
        </p:nvSpPr>
        <p:spPr>
          <a:xfrm>
            <a:off x="4052455" y="6425627"/>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DCA6C08A-3A85-4A10-BB27-77DA9CF43CFA}"/>
              </a:ext>
            </a:extLst>
          </p:cNvPr>
          <p:cNvSpPr>
            <a:spLocks noGrp="1"/>
          </p:cNvSpPr>
          <p:nvPr>
            <p:ph type="sldNum" sz="quarter" idx="4"/>
          </p:nvPr>
        </p:nvSpPr>
        <p:spPr>
          <a:xfrm>
            <a:off x="8624455" y="6425627"/>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D28EE-DADA-4185-923A-61843F8176A9}" type="slidenum">
              <a:rPr lang="en-IN" smtClean="0"/>
              <a:t>‹#›</a:t>
            </a:fld>
            <a:endParaRPr lang="en-IN" dirty="0"/>
          </a:p>
        </p:txBody>
      </p:sp>
    </p:spTree>
    <p:extLst>
      <p:ext uri="{BB962C8B-B14F-4D97-AF65-F5344CB8AC3E}">
        <p14:creationId xmlns:p14="http://schemas.microsoft.com/office/powerpoint/2010/main" val="1180680571"/>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Lst>
  <p:hf sldNum="0" hdr="0" ftr="0" dt="0"/>
  <p:txStyles>
    <p:titleStyle>
      <a:lvl1pPr algn="l" defTabSz="91458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45" indent="-228645" algn="l" defTabSz="914580" rtl="0" eaLnBrk="1" latinLnBrk="0" hangingPunct="1">
        <a:lnSpc>
          <a:spcPct val="90000"/>
        </a:lnSpc>
        <a:spcBef>
          <a:spcPts val="1000"/>
        </a:spcBef>
        <a:buFont typeface="Arial" panose="020B0604020202020204" pitchFamily="34" charset="0"/>
        <a:buChar char="•"/>
        <a:defRPr sz="2933" kern="1200">
          <a:solidFill>
            <a:schemeClr val="tx1"/>
          </a:solidFill>
          <a:latin typeface="+mn-lt"/>
          <a:ea typeface="+mn-ea"/>
          <a:cs typeface="+mn-cs"/>
        </a:defRPr>
      </a:lvl1pPr>
      <a:lvl2pPr marL="685935" indent="-228645" algn="l" defTabSz="91458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225" indent="-228645" algn="l" defTabSz="914580" rtl="0" eaLnBrk="1" latinLnBrk="0" hangingPunct="1">
        <a:lnSpc>
          <a:spcPct val="90000"/>
        </a:lnSpc>
        <a:spcBef>
          <a:spcPts val="500"/>
        </a:spcBef>
        <a:buFont typeface="Arial" panose="020B0604020202020204" pitchFamily="34" charset="0"/>
        <a:buChar char="•"/>
        <a:defRPr sz="2135" kern="1200">
          <a:solidFill>
            <a:schemeClr val="tx1"/>
          </a:solidFill>
          <a:latin typeface="+mn-lt"/>
          <a:ea typeface="+mn-ea"/>
          <a:cs typeface="+mn-cs"/>
        </a:defRPr>
      </a:lvl3pPr>
      <a:lvl4pPr marL="1600515" indent="-228645" algn="l" defTabSz="91458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2057806" indent="-228645" algn="l" defTabSz="91458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5096"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86"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76"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65"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580" rtl="0" eaLnBrk="1" latinLnBrk="0" hangingPunct="1">
        <a:defRPr sz="1800" kern="1200">
          <a:solidFill>
            <a:schemeClr val="tx1"/>
          </a:solidFill>
          <a:latin typeface="+mn-lt"/>
          <a:ea typeface="+mn-ea"/>
          <a:cs typeface="+mn-cs"/>
        </a:defRPr>
      </a:lvl1pPr>
      <a:lvl2pPr marL="457291" algn="l" defTabSz="914580" rtl="0" eaLnBrk="1" latinLnBrk="0" hangingPunct="1">
        <a:defRPr sz="1800" kern="1200">
          <a:solidFill>
            <a:schemeClr val="tx1"/>
          </a:solidFill>
          <a:latin typeface="+mn-lt"/>
          <a:ea typeface="+mn-ea"/>
          <a:cs typeface="+mn-cs"/>
        </a:defRPr>
      </a:lvl2pPr>
      <a:lvl3pPr marL="914580" algn="l" defTabSz="914580" rtl="0" eaLnBrk="1" latinLnBrk="0" hangingPunct="1">
        <a:defRPr sz="1800" kern="1200">
          <a:solidFill>
            <a:schemeClr val="tx1"/>
          </a:solidFill>
          <a:latin typeface="+mn-lt"/>
          <a:ea typeface="+mn-ea"/>
          <a:cs typeface="+mn-cs"/>
        </a:defRPr>
      </a:lvl3pPr>
      <a:lvl4pPr marL="1371871" algn="l" defTabSz="914580" rtl="0" eaLnBrk="1" latinLnBrk="0" hangingPunct="1">
        <a:defRPr sz="1800" kern="1200">
          <a:solidFill>
            <a:schemeClr val="tx1"/>
          </a:solidFill>
          <a:latin typeface="+mn-lt"/>
          <a:ea typeface="+mn-ea"/>
          <a:cs typeface="+mn-cs"/>
        </a:defRPr>
      </a:lvl4pPr>
      <a:lvl5pPr marL="1829161" algn="l" defTabSz="914580" rtl="0" eaLnBrk="1" latinLnBrk="0" hangingPunct="1">
        <a:defRPr sz="1800" kern="1200">
          <a:solidFill>
            <a:schemeClr val="tx1"/>
          </a:solidFill>
          <a:latin typeface="+mn-lt"/>
          <a:ea typeface="+mn-ea"/>
          <a:cs typeface="+mn-cs"/>
        </a:defRPr>
      </a:lvl5pPr>
      <a:lvl6pPr marL="2286450" algn="l" defTabSz="914580" rtl="0" eaLnBrk="1" latinLnBrk="0" hangingPunct="1">
        <a:defRPr sz="1800" kern="1200">
          <a:solidFill>
            <a:schemeClr val="tx1"/>
          </a:solidFill>
          <a:latin typeface="+mn-lt"/>
          <a:ea typeface="+mn-ea"/>
          <a:cs typeface="+mn-cs"/>
        </a:defRPr>
      </a:lvl6pPr>
      <a:lvl7pPr marL="2743741" algn="l" defTabSz="914580" rtl="0" eaLnBrk="1" latinLnBrk="0" hangingPunct="1">
        <a:defRPr sz="1800" kern="1200">
          <a:solidFill>
            <a:schemeClr val="tx1"/>
          </a:solidFill>
          <a:latin typeface="+mn-lt"/>
          <a:ea typeface="+mn-ea"/>
          <a:cs typeface="+mn-cs"/>
        </a:defRPr>
      </a:lvl7pPr>
      <a:lvl8pPr marL="3201029" algn="l" defTabSz="914580" rtl="0" eaLnBrk="1" latinLnBrk="0" hangingPunct="1">
        <a:defRPr sz="1800" kern="1200">
          <a:solidFill>
            <a:schemeClr val="tx1"/>
          </a:solidFill>
          <a:latin typeface="+mn-lt"/>
          <a:ea typeface="+mn-ea"/>
          <a:cs typeface="+mn-cs"/>
        </a:defRPr>
      </a:lvl8pPr>
      <a:lvl9pPr marL="3658319" algn="l" defTabSz="91458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0733385-7C9E-5242-9370-380A43759513}"/>
              </a:ext>
            </a:extLst>
          </p:cNvPr>
          <p:cNvSpPr>
            <a:spLocks noGrp="1"/>
          </p:cNvSpPr>
          <p:nvPr>
            <p:ph type="sldNum" sz="quarter" idx="4"/>
          </p:nvPr>
        </p:nvSpPr>
        <p:spPr>
          <a:xfrm>
            <a:off x="10101263" y="6114866"/>
            <a:ext cx="1724976" cy="365125"/>
          </a:xfrm>
          <a:prstGeom prst="rect">
            <a:avLst/>
          </a:prstGeom>
        </p:spPr>
        <p:txBody>
          <a:bodyPr vert="horz" lIns="0" tIns="0" rIns="0" bIns="0" rtlCol="0" anchor="b"/>
          <a:lstStyle>
            <a:lvl1pPr algn="r">
              <a:defRPr sz="1000" b="0" i="0">
                <a:solidFill>
                  <a:schemeClr val="bg2"/>
                </a:solidFill>
                <a:latin typeface="Arial" panose="020B0604020202020204" pitchFamily="34" charset="0"/>
                <a:cs typeface="Arial" panose="020B0604020202020204" pitchFamily="34" charset="0"/>
              </a:defRPr>
            </a:lvl1pPr>
          </a:lstStyle>
          <a:p>
            <a:r>
              <a:rPr lang="en-US" dirty="0"/>
              <a:t>©2022 Brillio  |  </a:t>
            </a:r>
            <a:fld id="{F1FE5E21-FD07-B44E-90A3-0254BFCDB49A}" type="slidenum">
              <a:rPr smtClean="0"/>
              <a:pPr/>
              <a:t>‹#›</a:t>
            </a:fld>
            <a:endParaRPr dirty="0"/>
          </a:p>
        </p:txBody>
      </p:sp>
      <p:sp>
        <p:nvSpPr>
          <p:cNvPr id="4" name="Footer Placeholder 3">
            <a:extLst>
              <a:ext uri="{FF2B5EF4-FFF2-40B4-BE49-F238E27FC236}">
                <a16:creationId xmlns:a16="http://schemas.microsoft.com/office/drawing/2014/main" id="{6D5838B1-B95D-7A45-BA6D-910DC76916E5}"/>
              </a:ext>
            </a:extLst>
          </p:cNvPr>
          <p:cNvSpPr>
            <a:spLocks noGrp="1"/>
          </p:cNvSpPr>
          <p:nvPr>
            <p:ph type="ftr" sz="quarter" idx="3"/>
          </p:nvPr>
        </p:nvSpPr>
        <p:spPr>
          <a:xfrm>
            <a:off x="4273550" y="6114866"/>
            <a:ext cx="5583238" cy="365125"/>
          </a:xfrm>
          <a:prstGeom prst="rect">
            <a:avLst/>
          </a:prstGeom>
        </p:spPr>
        <p:txBody>
          <a:bodyPr vert="horz" lIns="0" tIns="0" rIns="0" bIns="0" rtlCol="0" anchor="b"/>
          <a:lstStyle>
            <a:lvl1pPr algn="l">
              <a:defRPr sz="1000">
                <a:solidFill>
                  <a:schemeClr val="bg1"/>
                </a:solidFill>
              </a:defRPr>
            </a:lvl1pPr>
          </a:lstStyle>
          <a:p>
            <a:endParaRPr lang="en-US" dirty="0"/>
          </a:p>
        </p:txBody>
      </p:sp>
    </p:spTree>
    <p:extLst>
      <p:ext uri="{BB962C8B-B14F-4D97-AF65-F5344CB8AC3E}">
        <p14:creationId xmlns:p14="http://schemas.microsoft.com/office/powerpoint/2010/main" val="4226605627"/>
      </p:ext>
    </p:extLst>
  </p:cSld>
  <p:clrMap bg1="lt1" tx1="dk1" bg2="lt2" tx2="dk2" accent1="accent1" accent2="accent2" accent3="accent3" accent4="accent4" accent5="accent5" accent6="accent6" hlink="hlink" folHlink="folHlink"/>
  <p:sldLayoutIdLst>
    <p:sldLayoutId id="2147484026" r:id="rId1"/>
  </p:sldLayoutIdLst>
  <p:hf hdr="0" ftr="0" dt="0"/>
  <p:txStyles>
    <p:titleStyle>
      <a:lvl1pPr algn="l" defTabSz="914377" rtl="0" eaLnBrk="1" latinLnBrk="0" hangingPunct="1">
        <a:lnSpc>
          <a:spcPct val="90000"/>
        </a:lnSpc>
        <a:spcBef>
          <a:spcPct val="0"/>
        </a:spcBef>
        <a:buNone/>
        <a:defRPr sz="2800" b="1" i="0" kern="1200" baseline="0">
          <a:solidFill>
            <a:schemeClr val="bg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1008">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0733385-7C9E-5242-9370-380A43759513}"/>
              </a:ext>
            </a:extLst>
          </p:cNvPr>
          <p:cNvSpPr>
            <a:spLocks noGrp="1"/>
          </p:cNvSpPr>
          <p:nvPr>
            <p:ph type="sldNum" sz="quarter" idx="4"/>
          </p:nvPr>
        </p:nvSpPr>
        <p:spPr>
          <a:xfrm>
            <a:off x="10101263" y="6114866"/>
            <a:ext cx="1724976" cy="365125"/>
          </a:xfrm>
          <a:prstGeom prst="rect">
            <a:avLst/>
          </a:prstGeom>
        </p:spPr>
        <p:txBody>
          <a:bodyPr vert="horz" lIns="0" tIns="0" rIns="0" bIns="0" rtlCol="0" anchor="b"/>
          <a:lstStyle>
            <a:lvl1pPr algn="r">
              <a:defRPr sz="1000" b="0" i="0">
                <a:solidFill>
                  <a:schemeClr val="bg2"/>
                </a:solidFill>
                <a:latin typeface="Arial" panose="020B0604020202020204" pitchFamily="34" charset="0"/>
                <a:cs typeface="Arial" panose="020B0604020202020204" pitchFamily="34" charset="0"/>
              </a:defRPr>
            </a:lvl1pPr>
          </a:lstStyle>
          <a:p>
            <a:r>
              <a:rPr lang="en-US" dirty="0"/>
              <a:t>©2022 Brillio  |  </a:t>
            </a:r>
            <a:fld id="{F1FE5E21-FD07-B44E-90A3-0254BFCDB49A}" type="slidenum">
              <a:rPr smtClean="0"/>
              <a:pPr/>
              <a:t>‹#›</a:t>
            </a:fld>
            <a:endParaRPr dirty="0"/>
          </a:p>
        </p:txBody>
      </p:sp>
      <p:sp>
        <p:nvSpPr>
          <p:cNvPr id="4" name="Footer Placeholder 3">
            <a:extLst>
              <a:ext uri="{FF2B5EF4-FFF2-40B4-BE49-F238E27FC236}">
                <a16:creationId xmlns:a16="http://schemas.microsoft.com/office/drawing/2014/main" id="{6D5838B1-B95D-7A45-BA6D-910DC76916E5}"/>
              </a:ext>
            </a:extLst>
          </p:cNvPr>
          <p:cNvSpPr>
            <a:spLocks noGrp="1"/>
          </p:cNvSpPr>
          <p:nvPr>
            <p:ph type="ftr" sz="quarter" idx="3"/>
          </p:nvPr>
        </p:nvSpPr>
        <p:spPr>
          <a:xfrm>
            <a:off x="4273550" y="6114866"/>
            <a:ext cx="5583238" cy="365125"/>
          </a:xfrm>
          <a:prstGeom prst="rect">
            <a:avLst/>
          </a:prstGeom>
        </p:spPr>
        <p:txBody>
          <a:bodyPr vert="horz" lIns="0" tIns="0" rIns="0" bIns="0" rtlCol="0" anchor="b"/>
          <a:lstStyle>
            <a:lvl1pPr algn="l">
              <a:defRPr sz="1000">
                <a:solidFill>
                  <a:schemeClr val="bg1"/>
                </a:solidFill>
              </a:defRPr>
            </a:lvl1pPr>
          </a:lstStyle>
          <a:p>
            <a:r>
              <a:rPr lang="en-US" dirty="0"/>
              <a:t>©2024 Brillio  |  12</a:t>
            </a:r>
          </a:p>
        </p:txBody>
      </p:sp>
    </p:spTree>
    <p:extLst>
      <p:ext uri="{BB962C8B-B14F-4D97-AF65-F5344CB8AC3E}">
        <p14:creationId xmlns:p14="http://schemas.microsoft.com/office/powerpoint/2010/main" val="1446898860"/>
      </p:ext>
    </p:extLst>
  </p:cSld>
  <p:clrMap bg1="lt1" tx1="dk1" bg2="lt2" tx2="dk2" accent1="accent1" accent2="accent2" accent3="accent3" accent4="accent4" accent5="accent5" accent6="accent6" hlink="hlink" folHlink="folHlink"/>
  <p:sldLayoutIdLst>
    <p:sldLayoutId id="2147483795" r:id="rId1"/>
    <p:sldLayoutId id="2147484028"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4108" r:id="rId12"/>
    <p:sldLayoutId id="2147484109" r:id="rId13"/>
  </p:sldLayoutIdLst>
  <p:hf hdr="0" dt="0"/>
  <p:txStyles>
    <p:titleStyle>
      <a:lvl1pPr algn="l" defTabSz="914377" rtl="0" eaLnBrk="1" latinLnBrk="0" hangingPunct="1">
        <a:lnSpc>
          <a:spcPct val="90000"/>
        </a:lnSpc>
        <a:spcBef>
          <a:spcPct val="0"/>
        </a:spcBef>
        <a:buNone/>
        <a:defRPr sz="2800" b="1" i="0" kern="1200" baseline="0">
          <a:solidFill>
            <a:schemeClr val="bg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1008">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3">
            <a:extLst>
              <a:ext uri="{FF2B5EF4-FFF2-40B4-BE49-F238E27FC236}">
                <a16:creationId xmlns:a16="http://schemas.microsoft.com/office/drawing/2014/main" id="{CAC9EE12-70FB-474F-9D70-9C7D1D03D7FB}"/>
              </a:ext>
            </a:extLst>
          </p:cNvPr>
          <p:cNvSpPr>
            <a:spLocks noGrp="1"/>
          </p:cNvSpPr>
          <p:nvPr>
            <p:ph type="ftr" sz="quarter" idx="3"/>
          </p:nvPr>
        </p:nvSpPr>
        <p:spPr>
          <a:xfrm>
            <a:off x="4273551" y="6212312"/>
            <a:ext cx="5583238" cy="280563"/>
          </a:xfrm>
          <a:prstGeom prst="rect">
            <a:avLst/>
          </a:prstGeom>
        </p:spPr>
        <p:txBody>
          <a:bodyPr vert="horz" lIns="0" tIns="0" rIns="0" bIns="0" rtlCol="0" anchor="b" anchorCtr="0"/>
          <a:lstStyle>
            <a:lvl1pPr marL="0" algn="l" defTabSz="609585" rtl="0" eaLnBrk="1" latinLnBrk="0" hangingPunct="1">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endParaRPr lang="en-IN" dirty="0"/>
          </a:p>
        </p:txBody>
      </p:sp>
      <p:sp>
        <p:nvSpPr>
          <p:cNvPr id="11" name="Slide Number Placeholder 10">
            <a:extLst>
              <a:ext uri="{FF2B5EF4-FFF2-40B4-BE49-F238E27FC236}">
                <a16:creationId xmlns:a16="http://schemas.microsoft.com/office/drawing/2014/main" id="{A5C9FA13-FF6A-7448-89FA-05F46CB51D4F}"/>
              </a:ext>
            </a:extLst>
          </p:cNvPr>
          <p:cNvSpPr>
            <a:spLocks noGrp="1"/>
          </p:cNvSpPr>
          <p:nvPr>
            <p:ph type="sldNum" sz="quarter" idx="4"/>
          </p:nvPr>
        </p:nvSpPr>
        <p:spPr>
          <a:xfrm>
            <a:off x="10101262" y="6212312"/>
            <a:ext cx="1724977" cy="280563"/>
          </a:xfrm>
          <a:prstGeom prst="rect">
            <a:avLst/>
          </a:prstGeom>
        </p:spPr>
        <p:txBody>
          <a:bodyPr vert="horz" lIns="0" tIns="0" rIns="0" bIns="0" rtlCol="0" anchor="b"/>
          <a:lstStyle>
            <a:lvl1pPr algn="r">
              <a:defRPr lang="en-US" sz="1000" b="0" i="0" kern="1200" smtClean="0">
                <a:solidFill>
                  <a:schemeClr val="tx1"/>
                </a:solidFill>
                <a:latin typeface="Helvetica Neue" panose="02000503000000020004" pitchFamily="2" charset="0"/>
                <a:ea typeface="+mn-ea"/>
                <a:cs typeface="Helvetica Neue" panose="02000503000000020004" pitchFamily="2" charset="0"/>
              </a:defRPr>
            </a:lvl1pPr>
          </a:lstStyle>
          <a:p>
            <a:fld id="{AF537CAA-CF19-4AFD-B448-318709DBD37B}" type="slidenum">
              <a:rPr lang="en-IN" smtClean="0"/>
              <a:pPr/>
              <a:t>‹#›</a:t>
            </a:fld>
            <a:endParaRPr lang="en-IN" dirty="0"/>
          </a:p>
        </p:txBody>
      </p:sp>
    </p:spTree>
    <p:extLst>
      <p:ext uri="{BB962C8B-B14F-4D97-AF65-F5344CB8AC3E}">
        <p14:creationId xmlns:p14="http://schemas.microsoft.com/office/powerpoint/2010/main" val="1490476095"/>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23" r:id="rId17"/>
    <p:sldLayoutId id="2147484053" r:id="rId18"/>
    <p:sldLayoutId id="2147484054" r:id="rId19"/>
    <p:sldLayoutId id="2147484119" r:id="rId20"/>
  </p:sldLayoutIdLst>
  <p:txStyles>
    <p:titleStyle>
      <a:lvl1pPr algn="l" defTabSz="914377" rtl="0" eaLnBrk="1" latinLnBrk="0" hangingPunct="1">
        <a:lnSpc>
          <a:spcPct val="90000"/>
        </a:lnSpc>
        <a:spcBef>
          <a:spcPct val="0"/>
        </a:spcBef>
        <a:buNone/>
        <a:defRPr sz="2800" b="0" i="0" kern="1200" baseline="0">
          <a:solidFill>
            <a:schemeClr val="tx1"/>
          </a:solidFill>
          <a:latin typeface="Helvetica Neue" panose="02000503000000020004" pitchFamily="2" charset="0"/>
          <a:ea typeface="+mj-ea"/>
          <a:cs typeface="Helvetica Neue" panose="02000503000000020004" pitchFamily="2"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Helvetica Neue" panose="02000503000000020004" pitchFamily="2" charset="0"/>
          <a:ea typeface="+mn-ea"/>
          <a:cs typeface="Helvetica Neue" panose="02000503000000020004" pitchFamily="2"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Helvetica Neue" panose="02000503000000020004" pitchFamily="2" charset="0"/>
          <a:ea typeface="+mn-ea"/>
          <a:cs typeface="Helvetica Neue" panose="02000503000000020004" pitchFamily="2"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Helvetica Neue" panose="02000503000000020004" pitchFamily="2" charset="0"/>
          <a:ea typeface="+mn-ea"/>
          <a:cs typeface="Helvetica Neue" panose="02000503000000020004" pitchFamily="2"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Helvetica Neue" panose="02000503000000020004" pitchFamily="2" charset="0"/>
          <a:ea typeface="+mn-ea"/>
          <a:cs typeface="Helvetica Neue" panose="02000503000000020004" pitchFamily="2"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Helvetica Neue" panose="02000503000000020004" pitchFamily="2" charset="0"/>
          <a:ea typeface="+mn-ea"/>
          <a:cs typeface="Helvetica Neue" panose="02000503000000020004" pitchFamily="2"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991">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AC7D14-C681-4685-95EA-FF8F0D5C5B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E8E8392-20E3-43B6-B326-1773EC913F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2F4043-C685-4D4D-BC69-C56155F441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8B08E8A-F6CF-40A7-A7F9-0391C4CE594B}"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8/202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0CDBD9D-3E63-4B2B-B859-F57744851F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950AD72-EA7E-444C-9D1A-2D7AC342DF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8CD6D57-666C-4A03-854A-4FC6553E89D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6957135"/>
      </p:ext>
    </p:extLst>
  </p:cSld>
  <p:clrMap bg1="lt1" tx1="dk1" bg2="lt2" tx2="dk2" accent1="accent1" accent2="accent2" accent3="accent3" accent4="accent4" accent5="accent5" accent6="accent6" hlink="hlink" folHlink="folHlink"/>
  <p:sldLayoutIdLst>
    <p:sldLayoutId id="2147483661" r:id="rId1"/>
    <p:sldLayoutId id="2147484112" r:id="rId2"/>
    <p:sldLayoutId id="2147484113" r:id="rId3"/>
    <p:sldLayoutId id="2147484114" r:id="rId4"/>
    <p:sldLayoutId id="2147484115" r:id="rId5"/>
    <p:sldLayoutId id="2147484116" r:id="rId6"/>
    <p:sldLayoutId id="2147484117" r:id="rId7"/>
    <p:sldLayoutId id="2147484118"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319759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1" imgH="423" progId="TCLayout.ActiveDocument.1">
                  <p:embed/>
                </p:oleObj>
              </mc:Choice>
              <mc:Fallback>
                <p:oleObj name="think-cell Slide" r:id="rId13" imgW="471" imgH="423" progId="TCLayout.ActiveDocument.1">
                  <p:embed/>
                  <p:pic>
                    <p:nvPicPr>
                      <p:cNvPr id="7" name="Object 6"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570992"/>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231641"/>
            <a:ext cx="11180064" cy="473062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527D70FC-A01F-B44F-9317-E682AFFD6EDB}"/>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334865" y="6016620"/>
            <a:ext cx="1484604" cy="812034"/>
          </a:xfrm>
          <a:prstGeom prst="rect">
            <a:avLst/>
          </a:prstGeom>
        </p:spPr>
      </p:pic>
      <p:sp>
        <p:nvSpPr>
          <p:cNvPr id="8" name="Footer Placeholder 8">
            <a:extLst>
              <a:ext uri="{FF2B5EF4-FFF2-40B4-BE49-F238E27FC236}">
                <a16:creationId xmlns:a16="http://schemas.microsoft.com/office/drawing/2014/main" id="{D9B53F39-AAEF-FC4A-BFE2-B8D83F4AE1EA}"/>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22 Brillio |</a:t>
            </a:r>
          </a:p>
        </p:txBody>
      </p:sp>
      <p:sp>
        <p:nvSpPr>
          <p:cNvPr id="11" name="Slide Number Placeholder 9">
            <a:extLst>
              <a:ext uri="{FF2B5EF4-FFF2-40B4-BE49-F238E27FC236}">
                <a16:creationId xmlns:a16="http://schemas.microsoft.com/office/drawing/2014/main" id="{7CA306FD-041D-B846-B716-93A80116D2A4}"/>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4" name="GS Doctop Placeholder" hidden="1"/>
          <p:cNvSpPr txBox="1"/>
          <p:nvPr userDrawn="1"/>
        </p:nvSpPr>
        <p:spPr>
          <a:xfrm>
            <a:off x="546100" y="0"/>
            <a:ext cx="5651500" cy="246221"/>
          </a:xfrm>
          <a:prstGeom prst="rect">
            <a:avLst/>
          </a:prstGeom>
        </p:spPr>
        <p:txBody>
          <a:bodyPr vert="horz" wrap="square" lIns="0" tIns="0" rIns="0" bIns="0" rtlCol="0">
            <a:spAutoFit/>
          </a:bodyPr>
          <a:lstStyle/>
          <a:p>
            <a:pPr algn="l"/>
            <a:r>
              <a:rPr lang="en-US" sz="800" b="0" dirty="0">
                <a:solidFill>
                  <a:schemeClr val="tx2"/>
                </a:solidFill>
                <a:latin typeface="Arial" panose="020B0604020202020204" pitchFamily="34" charset="0"/>
              </a:rPr>
              <a:t>ibdroot\projects\IBD-NY\beadwork2021\682398_1\Presentation\2022.03.xx Analyst Day\Project Badger Analyst Day Materials (3.8.2022)_11pmET.pptx</a:t>
            </a:r>
          </a:p>
        </p:txBody>
      </p:sp>
      <p:sp>
        <p:nvSpPr>
          <p:cNvPr id="9" name="Rectangle 8"/>
          <p:cNvSpPr/>
          <p:nvPr userDrawn="1"/>
        </p:nvSpPr>
        <p:spPr>
          <a:xfrm>
            <a:off x="-2842801" y="824961"/>
            <a:ext cx="2496530" cy="393468"/>
          </a:xfrm>
          <a:prstGeom prst="rect">
            <a:avLst/>
          </a:prstGeom>
          <a:solidFill>
            <a:srgbClr val="423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6 – 58 - 99</a:t>
            </a:r>
          </a:p>
        </p:txBody>
      </p:sp>
      <p:sp>
        <p:nvSpPr>
          <p:cNvPr id="10" name="Rectangle 9"/>
          <p:cNvSpPr/>
          <p:nvPr userDrawn="1"/>
        </p:nvSpPr>
        <p:spPr>
          <a:xfrm>
            <a:off x="-2842801" y="1433888"/>
            <a:ext cx="2496530" cy="393468"/>
          </a:xfrm>
          <a:prstGeom prst="rect">
            <a:avLst/>
          </a:prstGeom>
          <a:solidFill>
            <a:srgbClr val="6F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11 – 104 - 135</a:t>
            </a:r>
          </a:p>
        </p:txBody>
      </p:sp>
      <p:sp>
        <p:nvSpPr>
          <p:cNvPr id="12" name="Rectangle 11"/>
          <p:cNvSpPr/>
          <p:nvPr userDrawn="1"/>
        </p:nvSpPr>
        <p:spPr>
          <a:xfrm>
            <a:off x="-2842801" y="2042815"/>
            <a:ext cx="2496530" cy="393468"/>
          </a:xfrm>
          <a:prstGeom prst="rect">
            <a:avLst/>
          </a:prstGeom>
          <a:solidFill>
            <a:srgbClr val="A29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62 – 158 - 178</a:t>
            </a:r>
          </a:p>
        </p:txBody>
      </p:sp>
      <p:sp>
        <p:nvSpPr>
          <p:cNvPr id="13" name="Rectangle 12"/>
          <p:cNvSpPr/>
          <p:nvPr userDrawn="1"/>
        </p:nvSpPr>
        <p:spPr>
          <a:xfrm>
            <a:off x="-2842801" y="2651742"/>
            <a:ext cx="2496530" cy="393468"/>
          </a:xfrm>
          <a:prstGeom prst="rect">
            <a:avLst/>
          </a:prstGeom>
          <a:solidFill>
            <a:srgbClr val="C8C5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0 – 197 - 209</a:t>
            </a:r>
          </a:p>
        </p:txBody>
      </p:sp>
      <p:sp>
        <p:nvSpPr>
          <p:cNvPr id="14" name="Rectangle 13"/>
          <p:cNvSpPr/>
          <p:nvPr userDrawn="1"/>
        </p:nvSpPr>
        <p:spPr>
          <a:xfrm>
            <a:off x="-2842801" y="3260669"/>
            <a:ext cx="2496530" cy="393468"/>
          </a:xfrm>
          <a:prstGeom prst="rect">
            <a:avLst/>
          </a:prstGeom>
          <a:solidFill>
            <a:srgbClr val="2CC8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 -200 -77</a:t>
            </a:r>
          </a:p>
        </p:txBody>
      </p:sp>
      <p:sp>
        <p:nvSpPr>
          <p:cNvPr id="15" name="Rectangle 14"/>
          <p:cNvSpPr/>
          <p:nvPr userDrawn="1"/>
        </p:nvSpPr>
        <p:spPr>
          <a:xfrm>
            <a:off x="-2842801" y="3869596"/>
            <a:ext cx="2496530" cy="3934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55 – 255 - 255</a:t>
            </a:r>
          </a:p>
        </p:txBody>
      </p:sp>
      <p:sp>
        <p:nvSpPr>
          <p:cNvPr id="16" name="Rectangle 15"/>
          <p:cNvSpPr/>
          <p:nvPr userDrawn="1"/>
        </p:nvSpPr>
        <p:spPr>
          <a:xfrm>
            <a:off x="-2842801" y="4478523"/>
            <a:ext cx="2496530" cy="39346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42 – 242 - 242</a:t>
            </a:r>
          </a:p>
        </p:txBody>
      </p:sp>
      <p:sp>
        <p:nvSpPr>
          <p:cNvPr id="17" name="Rectangle 16"/>
          <p:cNvSpPr/>
          <p:nvPr userDrawn="1"/>
        </p:nvSpPr>
        <p:spPr>
          <a:xfrm>
            <a:off x="-2842801" y="5087450"/>
            <a:ext cx="2496530" cy="393468"/>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17 -217 - 217</a:t>
            </a:r>
          </a:p>
        </p:txBody>
      </p:sp>
      <p:sp>
        <p:nvSpPr>
          <p:cNvPr id="18" name="Rectangle 17"/>
          <p:cNvSpPr/>
          <p:nvPr userDrawn="1"/>
        </p:nvSpPr>
        <p:spPr>
          <a:xfrm>
            <a:off x="-2842801" y="5696377"/>
            <a:ext cx="2496530" cy="393468"/>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4 – 64 - 64</a:t>
            </a:r>
          </a:p>
        </p:txBody>
      </p:sp>
      <p:sp>
        <p:nvSpPr>
          <p:cNvPr id="19" name="Rectangle 18"/>
          <p:cNvSpPr/>
          <p:nvPr userDrawn="1"/>
        </p:nvSpPr>
        <p:spPr>
          <a:xfrm>
            <a:off x="-2842801" y="6305301"/>
            <a:ext cx="2496530" cy="39346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0 – 0 - 0</a:t>
            </a:r>
          </a:p>
        </p:txBody>
      </p:sp>
      <p:sp>
        <p:nvSpPr>
          <p:cNvPr id="20" name="Rectangle 19"/>
          <p:cNvSpPr/>
          <p:nvPr userDrawn="1"/>
        </p:nvSpPr>
        <p:spPr>
          <a:xfrm>
            <a:off x="-2842801" y="216034"/>
            <a:ext cx="2496530" cy="393468"/>
          </a:xfrm>
          <a:prstGeom prst="rect">
            <a:avLst/>
          </a:prstGeom>
          <a:solidFill>
            <a:srgbClr val="201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2</a:t>
            </a:r>
            <a:r>
              <a:rPr lang="en-US" baseline="0" dirty="0"/>
              <a:t> – 22 - 70</a:t>
            </a:r>
            <a:endParaRPr lang="en-US" dirty="0"/>
          </a:p>
        </p:txBody>
      </p:sp>
    </p:spTree>
    <p:extLst>
      <p:ext uri="{BB962C8B-B14F-4D97-AF65-F5344CB8AC3E}">
        <p14:creationId xmlns:p14="http://schemas.microsoft.com/office/powerpoint/2010/main" val="3569715577"/>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Lst>
  <p:hf hdr="0" dt="0"/>
  <p:txStyles>
    <p:titleStyle>
      <a:lvl1pPr algn="l" defTabSz="1219110" rtl="0" eaLnBrk="1" latinLnBrk="0" hangingPunct="1">
        <a:lnSpc>
          <a:spcPct val="90000"/>
        </a:lnSpc>
        <a:spcBef>
          <a:spcPct val="0"/>
        </a:spcBef>
        <a:buNone/>
        <a:defRPr sz="2400" b="1" kern="1200" cap="all"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1219110" rtl="0" eaLnBrk="1" latinLnBrk="0" hangingPunct="1">
        <a:lnSpc>
          <a:spcPct val="100000"/>
        </a:lnSpc>
        <a:spcBef>
          <a:spcPts val="800"/>
        </a:spcBef>
        <a:buFont typeface="Arial" panose="020B0604020202020204" pitchFamily="34" charset="0"/>
        <a:buNone/>
        <a:defRPr sz="2400" kern="1200" baseline="0">
          <a:solidFill>
            <a:schemeClr val="tx2"/>
          </a:solidFill>
          <a:latin typeface="Arial" panose="020B0604020202020204" pitchFamily="34" charset="0"/>
          <a:ea typeface="+mn-ea"/>
          <a:cs typeface="Arial" panose="020B0604020202020204" pitchFamily="34" charset="0"/>
        </a:defRPr>
      </a:lvl1pPr>
      <a:lvl2pPr marL="304776" indent="-304776" algn="l" defTabSz="1219110" rtl="0" eaLnBrk="1" latinLnBrk="0" hangingPunct="1">
        <a:lnSpc>
          <a:spcPct val="100000"/>
        </a:lnSpc>
        <a:spcBef>
          <a:spcPts val="800"/>
        </a:spcBef>
        <a:buClrTx/>
        <a:buSzPct val="125000"/>
        <a:buFont typeface="Arial" panose="020B0604020202020204" pitchFamily="34" charset="0"/>
        <a:buChar char="•"/>
        <a:defRPr sz="2133" kern="1200" baseline="0">
          <a:solidFill>
            <a:schemeClr val="tx2"/>
          </a:solidFill>
          <a:latin typeface="Arial" panose="020B0604020202020204" pitchFamily="34" charset="0"/>
          <a:ea typeface="+mn-ea"/>
          <a:cs typeface="Arial" panose="020B0604020202020204" pitchFamily="34" charset="0"/>
        </a:defRPr>
      </a:lvl2pPr>
      <a:lvl3pPr marL="609555" indent="-304776" algn="l" defTabSz="1219110" rtl="0" eaLnBrk="1" latinLnBrk="0" hangingPunct="1">
        <a:lnSpc>
          <a:spcPct val="100000"/>
        </a:lnSpc>
        <a:spcBef>
          <a:spcPts val="533"/>
        </a:spcBef>
        <a:buClrTx/>
        <a:buSzPct val="100000"/>
        <a:buFont typeface="Arial" panose="020B0604020202020204" pitchFamily="34" charset="0"/>
        <a:buChar char="–"/>
        <a:defRPr sz="1867" kern="1200" baseline="0">
          <a:solidFill>
            <a:schemeClr val="tx2"/>
          </a:solidFill>
          <a:latin typeface="Arial" panose="020B0604020202020204" pitchFamily="34" charset="0"/>
          <a:ea typeface="+mn-ea"/>
          <a:cs typeface="Arial" panose="020B0604020202020204" pitchFamily="34" charset="0"/>
        </a:defRPr>
      </a:lvl3pPr>
      <a:lvl4pPr marL="914332" indent="-304776" algn="l" defTabSz="1219110" rtl="0" eaLnBrk="1" latinLnBrk="0" hangingPunct="1">
        <a:lnSpc>
          <a:spcPct val="100000"/>
        </a:lnSpc>
        <a:spcBef>
          <a:spcPts val="533"/>
        </a:spcBef>
        <a:buClrTx/>
        <a:buSzPct val="100000"/>
        <a:buFont typeface="Arial" panose="020B0604020202020204" pitchFamily="34" charset="0"/>
        <a:buChar char="•"/>
        <a:defRPr sz="1600" kern="1200" baseline="0">
          <a:solidFill>
            <a:schemeClr val="tx2"/>
          </a:solidFill>
          <a:latin typeface="Arial" panose="020B0604020202020204" pitchFamily="34" charset="0"/>
          <a:ea typeface="+mn-ea"/>
          <a:cs typeface="Arial" panose="020B0604020202020204" pitchFamily="34" charset="0"/>
        </a:defRPr>
      </a:lvl4pPr>
      <a:lvl5pPr marL="1219110" indent="-304776" algn="l" defTabSz="1219110" rtl="0" eaLnBrk="1" latinLnBrk="0" hangingPunct="1">
        <a:lnSpc>
          <a:spcPct val="100000"/>
        </a:lnSpc>
        <a:spcBef>
          <a:spcPts val="533"/>
        </a:spcBef>
        <a:buClrTx/>
        <a:buSzPct val="100000"/>
        <a:buFont typeface="Arial" panose="020B0604020202020204" pitchFamily="34" charset="0"/>
        <a:buChar char="–"/>
        <a:defRPr sz="1400" kern="1200" baseline="0">
          <a:solidFill>
            <a:schemeClr val="tx2"/>
          </a:solidFill>
          <a:latin typeface="Arial" panose="020B0604020202020204" pitchFamily="34" charset="0"/>
          <a:ea typeface="+mn-ea"/>
          <a:cs typeface="Arial" panose="020B0604020202020204" pitchFamily="34" charset="0"/>
        </a:defRPr>
      </a:lvl5pPr>
      <a:lvl6pPr marL="1523887" indent="-304776" algn="l" defTabSz="121911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664" indent="-304776" algn="l" defTabSz="121911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440" indent="-304776" algn="l" defTabSz="121911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440" indent="-304776" algn="l" defTabSz="121911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2">
          <p15:clr>
            <a:srgbClr val="F26B43"/>
          </p15:clr>
        </p15:guide>
        <p15:guide id="2" pos="320">
          <p15:clr>
            <a:srgbClr val="F26B43"/>
          </p15:clr>
        </p15:guide>
        <p15:guide id="3" pos="7392">
          <p15:clr>
            <a:srgbClr val="F26B43"/>
          </p15:clr>
        </p15:guide>
        <p15:guide id="4" orient="horz" pos="401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0733385-7C9E-5242-9370-380A43759513}"/>
              </a:ext>
            </a:extLst>
          </p:cNvPr>
          <p:cNvSpPr>
            <a:spLocks noGrp="1"/>
          </p:cNvSpPr>
          <p:nvPr>
            <p:ph type="sldNum" sz="quarter" idx="4"/>
          </p:nvPr>
        </p:nvSpPr>
        <p:spPr>
          <a:xfrm>
            <a:off x="10101263" y="6114866"/>
            <a:ext cx="1724976" cy="365125"/>
          </a:xfrm>
          <a:prstGeom prst="rect">
            <a:avLst/>
          </a:prstGeom>
        </p:spPr>
        <p:txBody>
          <a:bodyPr vert="horz" lIns="0" tIns="0" rIns="0" bIns="0" rtlCol="0" anchor="b"/>
          <a:lstStyle>
            <a:lvl1pPr algn="r">
              <a:defRPr sz="1000" b="0" i="0">
                <a:solidFill>
                  <a:schemeClr val="bg2"/>
                </a:solidFill>
                <a:latin typeface="Arial" panose="020B0604020202020204" pitchFamily="34" charset="0"/>
                <a:cs typeface="Arial" panose="020B0604020202020204" pitchFamily="34" charset="0"/>
              </a:defRPr>
            </a:lvl1pPr>
          </a:lstStyle>
          <a:p>
            <a:r>
              <a:rPr lang="en-US" dirty="0"/>
              <a:t>©2022 Brillio  |  </a:t>
            </a:r>
            <a:fld id="{F1FE5E21-FD07-B44E-90A3-0254BFCDB49A}" type="slidenum">
              <a:rPr smtClean="0"/>
              <a:pPr/>
              <a:t>‹#›</a:t>
            </a:fld>
            <a:endParaRPr dirty="0"/>
          </a:p>
        </p:txBody>
      </p:sp>
      <p:sp>
        <p:nvSpPr>
          <p:cNvPr id="4" name="Footer Placeholder 3">
            <a:extLst>
              <a:ext uri="{FF2B5EF4-FFF2-40B4-BE49-F238E27FC236}">
                <a16:creationId xmlns:a16="http://schemas.microsoft.com/office/drawing/2014/main" id="{6D5838B1-B95D-7A45-BA6D-910DC76916E5}"/>
              </a:ext>
            </a:extLst>
          </p:cNvPr>
          <p:cNvSpPr>
            <a:spLocks noGrp="1"/>
          </p:cNvSpPr>
          <p:nvPr>
            <p:ph type="ftr" sz="quarter" idx="3"/>
          </p:nvPr>
        </p:nvSpPr>
        <p:spPr>
          <a:xfrm>
            <a:off x="4273550" y="6114866"/>
            <a:ext cx="5583238" cy="365125"/>
          </a:xfrm>
          <a:prstGeom prst="rect">
            <a:avLst/>
          </a:prstGeom>
        </p:spPr>
        <p:txBody>
          <a:bodyPr vert="horz" lIns="0" tIns="0" rIns="0" bIns="0" rtlCol="0" anchor="b"/>
          <a:lstStyle>
            <a:lvl1pPr algn="l">
              <a:defRPr sz="1000">
                <a:solidFill>
                  <a:schemeClr val="bg1"/>
                </a:solidFill>
              </a:defRPr>
            </a:lvl1pPr>
          </a:lstStyle>
          <a:p>
            <a:endParaRPr lang="en-US" dirty="0"/>
          </a:p>
        </p:txBody>
      </p:sp>
    </p:spTree>
    <p:extLst>
      <p:ext uri="{BB962C8B-B14F-4D97-AF65-F5344CB8AC3E}">
        <p14:creationId xmlns:p14="http://schemas.microsoft.com/office/powerpoint/2010/main" val="2417399381"/>
      </p:ext>
    </p:extLst>
  </p:cSld>
  <p:clrMap bg1="lt1" tx1="dk1" bg2="lt2" tx2="dk2" accent1="accent1" accent2="accent2" accent3="accent3" accent4="accent4" accent5="accent5" accent6="accent6" hlink="hlink" folHlink="folHlink"/>
  <p:sldLayoutIdLst>
    <p:sldLayoutId id="2147484312" r:id="rId1"/>
    <p:sldLayoutId id="2147484313" r:id="rId2"/>
  </p:sldLayoutIdLst>
  <p:hf hdr="0" ftr="0" dt="0"/>
  <p:txStyles>
    <p:titleStyle>
      <a:lvl1pPr algn="l" defTabSz="914377" rtl="0" eaLnBrk="1" latinLnBrk="0" hangingPunct="1">
        <a:lnSpc>
          <a:spcPct val="90000"/>
        </a:lnSpc>
        <a:spcBef>
          <a:spcPct val="0"/>
        </a:spcBef>
        <a:buNone/>
        <a:defRPr sz="2800" b="1" i="0" kern="1200" baseline="0">
          <a:solidFill>
            <a:schemeClr val="bg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1008">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0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0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5.xml"/></Relationships>
</file>

<file path=ppt/slides/_rels/slide3.xml.rels><?xml version="1.0" encoding="UTF-8" standalone="yes"?>
<Relationships xmlns="http://schemas.openxmlformats.org/package/2006/relationships"><Relationship Id="rId2" Type="http://schemas.openxmlformats.org/officeDocument/2006/relationships/image" Target="../media/image48.tiff"/><Relationship Id="rId1" Type="http://schemas.openxmlformats.org/officeDocument/2006/relationships/slideLayout" Target="../slideLayouts/slideLayout10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5.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0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5.xml"/></Relationships>
</file>

<file path=ppt/slides/_rels/slide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75565" y="2509038"/>
            <a:ext cx="7104951" cy="1290077"/>
          </a:xfrm>
        </p:spPr>
        <p:txBody>
          <a:bodyPr>
            <a:noAutofit/>
          </a:bodyPr>
          <a:lstStyle/>
          <a:p>
            <a:r>
              <a:rPr lang="en-US" sz="3200" b="1" dirty="0"/>
              <a:t>Salesforce Practitioners</a:t>
            </a:r>
          </a:p>
        </p:txBody>
      </p:sp>
      <p:sp>
        <p:nvSpPr>
          <p:cNvPr id="2" name="Subtitle 2">
            <a:extLst>
              <a:ext uri="{FF2B5EF4-FFF2-40B4-BE49-F238E27FC236}">
                <a16:creationId xmlns:a16="http://schemas.microsoft.com/office/drawing/2014/main" id="{B60AB2FA-920B-EBCB-89BC-5AF265B3B86F}"/>
              </a:ext>
            </a:extLst>
          </p:cNvPr>
          <p:cNvSpPr>
            <a:spLocks noGrp="1"/>
          </p:cNvSpPr>
          <p:nvPr>
            <p:ph type="subTitle" idx="1"/>
          </p:nvPr>
        </p:nvSpPr>
        <p:spPr>
          <a:xfrm>
            <a:off x="338374" y="3523996"/>
            <a:ext cx="5757626" cy="307777"/>
          </a:xfrm>
        </p:spPr>
        <p:txBody>
          <a:bodyPr anchor="ctr"/>
          <a:lstStyle/>
          <a:p>
            <a:r>
              <a:rPr lang="en-US" sz="2000" b="1" dirty="0">
                <a:solidFill>
                  <a:srgbClr val="2BBF4D"/>
                </a:solidFill>
              </a:rPr>
              <a:t>GM Financial</a:t>
            </a:r>
          </a:p>
        </p:txBody>
      </p:sp>
      <p:sp>
        <p:nvSpPr>
          <p:cNvPr id="3" name="Text Placeholder 3">
            <a:extLst>
              <a:ext uri="{FF2B5EF4-FFF2-40B4-BE49-F238E27FC236}">
                <a16:creationId xmlns:a16="http://schemas.microsoft.com/office/drawing/2014/main" id="{EDA4FA19-38CB-01E1-3248-B7D5BB57A041}"/>
              </a:ext>
            </a:extLst>
          </p:cNvPr>
          <p:cNvSpPr txBox="1">
            <a:spLocks/>
          </p:cNvSpPr>
          <p:nvPr/>
        </p:nvSpPr>
        <p:spPr>
          <a:xfrm>
            <a:off x="326123" y="4250174"/>
            <a:ext cx="5782128" cy="44767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Arial"/>
                <a:cs typeface="Arial"/>
              </a:rPr>
              <a:t>May, 2024</a:t>
            </a:r>
          </a:p>
        </p:txBody>
      </p:sp>
    </p:spTree>
    <p:extLst>
      <p:ext uri="{BB962C8B-B14F-4D97-AF65-F5344CB8AC3E}">
        <p14:creationId xmlns:p14="http://schemas.microsoft.com/office/powerpoint/2010/main" val="2843196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DB7AD3-54E3-1435-27A2-6DCE50BD7C4D}"/>
              </a:ext>
            </a:extLst>
          </p:cNvPr>
          <p:cNvSpPr/>
          <p:nvPr/>
        </p:nvSpPr>
        <p:spPr>
          <a:xfrm>
            <a:off x="-2736" y="561200"/>
            <a:ext cx="3811636" cy="6296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p:txBody>
          <a:bodyPr/>
          <a:lstStyle/>
          <a:p>
            <a:r>
              <a:rPr lang="en-GB" sz="1100" dirty="0"/>
              <a:t>©2024 Brillio  |  </a:t>
            </a:r>
            <a:fld id="{F1FE5E21-FD07-B44E-90A3-0254BFCDB49A}" type="slidenum">
              <a:rPr sz="1100" smtClean="0"/>
              <a:pPr/>
              <a:t>10</a:t>
            </a:fld>
            <a:endParaRPr lang="en-US" sz="1100"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320267" y="113951"/>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Rohit Joshi, Salesforce Technical Architect</a:t>
            </a:r>
            <a:endParaRPr lang="en-US" sz="2400" b="1" i="0" u="none" strike="noStrike" kern="1200" cap="none" spc="0" normalizeH="0" baseline="0" noProof="0" dirty="0">
              <a:ln>
                <a:noFill/>
              </a:ln>
              <a:solidFill>
                <a:srgbClr val="00B050"/>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AABA743-DB29-119C-984C-DC6618BBD0C7}"/>
              </a:ext>
            </a:extLst>
          </p:cNvPr>
          <p:cNvSpPr txBox="1"/>
          <p:nvPr/>
        </p:nvSpPr>
        <p:spPr>
          <a:xfrm>
            <a:off x="-40862" y="1984365"/>
            <a:ext cx="3805287" cy="2292935"/>
          </a:xfrm>
          <a:prstGeom prst="rect">
            <a:avLst/>
          </a:prstGeom>
          <a:noFill/>
        </p:spPr>
        <p:txBody>
          <a:bodyPr wrap="square" lIns="91440" tIns="45720" rIns="91440" bIns="45720" rtlCol="0" anchor="t">
            <a:spAutoFit/>
          </a:bodyPr>
          <a:lstStyle/>
          <a:p>
            <a:pPr>
              <a:defRPr/>
            </a:pPr>
            <a:r>
              <a:rPr lang="en-IN" sz="1100" b="1" dirty="0">
                <a:solidFill>
                  <a:srgbClr val="00B050"/>
                </a:solidFill>
                <a:cs typeface="Arial"/>
              </a:rPr>
              <a:t>Core Skill Sets</a:t>
            </a:r>
            <a:endParaRPr lang="en-US" sz="1100" b="1" dirty="0">
              <a:solidFill>
                <a:schemeClr val="tx2"/>
              </a:solidFill>
              <a:cs typeface="Arial"/>
            </a:endParaRPr>
          </a:p>
          <a:p>
            <a:pPr marL="171450" indent="-171450">
              <a:buFont typeface="Arial" panose="020B0604020202020204" pitchFamily="34" charset="0"/>
              <a:buChar char="•"/>
              <a:defRPr/>
            </a:pPr>
            <a:r>
              <a:rPr lang="en-US" sz="1100" dirty="0">
                <a:solidFill>
                  <a:schemeClr val="accent1">
                    <a:lumMod val="50000"/>
                  </a:schemeClr>
                </a:solidFill>
                <a:cs typeface="Arial"/>
              </a:rPr>
              <a:t>Technical Architecture, proficiency in building scalable &amp; reusable enterprise solutions</a:t>
            </a:r>
            <a:endParaRPr lang="en-US" dirty="0">
              <a:solidFill>
                <a:schemeClr val="accent1">
                  <a:lumMod val="50000"/>
                </a:schemeClr>
              </a:solidFill>
              <a:cs typeface="Arial"/>
            </a:endParaRPr>
          </a:p>
          <a:p>
            <a:pPr marL="171450" indent="-171450">
              <a:buFont typeface="Arial" panose="020B0604020202020204" pitchFamily="34" charset="0"/>
              <a:buChar char="•"/>
              <a:defRPr/>
            </a:pPr>
            <a:r>
              <a:rPr lang="en-US" sz="1100" dirty="0">
                <a:solidFill>
                  <a:schemeClr val="accent1">
                    <a:lumMod val="50000"/>
                  </a:schemeClr>
                </a:solidFill>
                <a:cs typeface="Arial"/>
              </a:rPr>
              <a:t>Technical leader with proven experience of Analyzing, Designing, Implementing, Developing and Customizing Enterprise applications   </a:t>
            </a:r>
          </a:p>
          <a:p>
            <a:pPr marL="171450" indent="-171450">
              <a:buFont typeface="Arial" panose="020B0604020202020204" pitchFamily="34" charset="0"/>
              <a:buChar char="•"/>
              <a:defRPr/>
            </a:pPr>
            <a:r>
              <a:rPr lang="en-US" sz="1100" dirty="0">
                <a:solidFill>
                  <a:schemeClr val="accent1">
                    <a:lumMod val="50000"/>
                  </a:schemeClr>
                </a:solidFill>
                <a:cs typeface="Arial"/>
              </a:rPr>
              <a:t>Proficiency in large data handlings, archival strategies , external objects, big objects</a:t>
            </a:r>
          </a:p>
          <a:p>
            <a:pPr marL="171450" indent="-171450">
              <a:buFont typeface="Arial" panose="020B0604020202020204" pitchFamily="34" charset="0"/>
              <a:buChar char="•"/>
              <a:defRPr/>
            </a:pPr>
            <a:r>
              <a:rPr lang="en-US" sz="1100" dirty="0">
                <a:solidFill>
                  <a:schemeClr val="accent1">
                    <a:lumMod val="50000"/>
                  </a:schemeClr>
                </a:solidFill>
                <a:cs typeface="Arial"/>
              </a:rPr>
              <a:t>Vast</a:t>
            </a:r>
            <a:r>
              <a:rPr lang="en-US" sz="1100" b="1" dirty="0">
                <a:solidFill>
                  <a:schemeClr val="accent1">
                    <a:lumMod val="50000"/>
                  </a:schemeClr>
                </a:solidFill>
                <a:cs typeface="Arial"/>
              </a:rPr>
              <a:t> </a:t>
            </a:r>
            <a:r>
              <a:rPr lang="en-US" sz="1100" dirty="0">
                <a:solidFill>
                  <a:schemeClr val="accent1">
                    <a:lumMod val="50000"/>
                  </a:schemeClr>
                </a:solidFill>
                <a:cs typeface="Arial"/>
              </a:rPr>
              <a:t>implementation experience in Sales, Service, CPQ</a:t>
            </a:r>
          </a:p>
          <a:p>
            <a:pPr marL="171450" indent="-171450">
              <a:buFont typeface="Arial" panose="020B0604020202020204" pitchFamily="34" charset="0"/>
              <a:buChar char="•"/>
              <a:defRPr/>
            </a:pPr>
            <a:r>
              <a:rPr lang="en-US" sz="1100" dirty="0">
                <a:solidFill>
                  <a:schemeClr val="accent1">
                    <a:lumMod val="50000"/>
                  </a:schemeClr>
                </a:solidFill>
                <a:cs typeface="Arial"/>
              </a:rPr>
              <a:t>Implemented Solutions for various business domains including Financial Services, Manufacturing, Retail, Life Science, Manufacturing.</a:t>
            </a:r>
          </a:p>
          <a:p>
            <a:pPr marL="171450" indent="-171450">
              <a:buFont typeface="Arial" panose="020B0604020202020204" pitchFamily="34" charset="0"/>
              <a:buChar char="•"/>
              <a:defRPr/>
            </a:pPr>
            <a:endParaRPr lang="en-US" sz="1100" dirty="0">
              <a:solidFill>
                <a:schemeClr val="tx2"/>
              </a:solidFill>
              <a:cs typeface="Arial"/>
            </a:endParaRPr>
          </a:p>
        </p:txBody>
      </p:sp>
      <p:sp>
        <p:nvSpPr>
          <p:cNvPr id="6" name="TextBox 5">
            <a:extLst>
              <a:ext uri="{FF2B5EF4-FFF2-40B4-BE49-F238E27FC236}">
                <a16:creationId xmlns:a16="http://schemas.microsoft.com/office/drawing/2014/main" id="{FAD7D10F-2CA0-B62C-602C-1D44C25427E7}"/>
              </a:ext>
            </a:extLst>
          </p:cNvPr>
          <p:cNvSpPr txBox="1"/>
          <p:nvPr/>
        </p:nvSpPr>
        <p:spPr>
          <a:xfrm>
            <a:off x="3802237" y="823736"/>
            <a:ext cx="7544633" cy="2223686"/>
          </a:xfrm>
          <a:prstGeom prst="rect">
            <a:avLst/>
          </a:prstGeom>
          <a:noFill/>
        </p:spPr>
        <p:txBody>
          <a:bodyPr wrap="square" lIns="91440" tIns="45720" rIns="91440" bIns="45720" rtlCol="0" anchor="t">
            <a:spAutoFit/>
          </a:bodyPr>
          <a:lstStyle/>
          <a:p>
            <a:endParaRPr lang="en-IN" sz="1100" i="1" dirty="0">
              <a:cs typeface="Arial"/>
            </a:endParaRPr>
          </a:p>
          <a:p>
            <a:pPr marL="171450" indent="-171450">
              <a:spcAft>
                <a:spcPts val="300"/>
              </a:spcAft>
              <a:buFont typeface="Arial"/>
              <a:buChar char="•"/>
            </a:pPr>
            <a:r>
              <a:rPr lang="en-US" sz="1100" dirty="0">
                <a:solidFill>
                  <a:schemeClr val="accent1">
                    <a:lumMod val="50000"/>
                  </a:schemeClr>
                </a:solidFill>
                <a:latin typeface="Arial"/>
                <a:cs typeface="Calibri"/>
              </a:rPr>
              <a:t>Salesforce Technical Architect with 10+ Years of IT experience with strong Object-Oriented Analysis, designing and programming skills on the Salesforce platform.</a:t>
            </a:r>
          </a:p>
          <a:p>
            <a:pPr marL="171450" indent="-171450">
              <a:spcAft>
                <a:spcPts val="300"/>
              </a:spcAft>
              <a:buFont typeface="Arial"/>
              <a:buChar char="•"/>
            </a:pPr>
            <a:r>
              <a:rPr lang="en-US" sz="1100" dirty="0">
                <a:solidFill>
                  <a:schemeClr val="accent1">
                    <a:lumMod val="50000"/>
                  </a:schemeClr>
                </a:solidFill>
                <a:latin typeface="Arial"/>
                <a:cs typeface="Calibri"/>
              </a:rPr>
              <a:t>Strong knowledge of Force.com development best practices.</a:t>
            </a:r>
            <a:r>
              <a:rPr lang="en-IN" sz="1100" dirty="0">
                <a:solidFill>
                  <a:schemeClr val="accent1">
                    <a:lumMod val="50000"/>
                  </a:schemeClr>
                </a:solidFill>
                <a:latin typeface="Arial"/>
                <a:cs typeface="Calibri"/>
              </a:rPr>
              <a:t> </a:t>
            </a:r>
            <a:endParaRPr lang="en-US" sz="1100" dirty="0">
              <a:solidFill>
                <a:schemeClr val="accent1">
                  <a:lumMod val="50000"/>
                </a:schemeClr>
              </a:solidFill>
              <a:latin typeface="Arial"/>
              <a:cs typeface="Arial"/>
            </a:endParaRPr>
          </a:p>
          <a:p>
            <a:pPr marL="171450" indent="-171450">
              <a:spcAft>
                <a:spcPts val="300"/>
              </a:spcAft>
              <a:buFont typeface="Arial"/>
              <a:buChar char="•"/>
            </a:pPr>
            <a:r>
              <a:rPr lang="en-IN" sz="1100" dirty="0">
                <a:solidFill>
                  <a:schemeClr val="accent1">
                    <a:lumMod val="50000"/>
                  </a:schemeClr>
                </a:solidFill>
                <a:latin typeface="Arial"/>
                <a:cs typeface="Calibri"/>
              </a:rPr>
              <a:t>Technical leader with sound knowledge on Architecting the systems from scratch with data privacy, visibility etc. </a:t>
            </a:r>
          </a:p>
          <a:p>
            <a:pPr marL="171450" indent="-171450">
              <a:spcAft>
                <a:spcPts val="300"/>
              </a:spcAft>
              <a:buFont typeface="Arial"/>
              <a:buChar char="•"/>
            </a:pPr>
            <a:r>
              <a:rPr lang="en-US" sz="1100" dirty="0">
                <a:solidFill>
                  <a:schemeClr val="accent1">
                    <a:lumMod val="50000"/>
                  </a:schemeClr>
                </a:solidFill>
                <a:latin typeface="Arial"/>
                <a:cs typeface="Calibri"/>
              </a:rPr>
              <a:t>Knowledge of data integration tools and experience integrating Salesforce with different business systems.</a:t>
            </a:r>
            <a:endParaRPr lang="en-IN" sz="1100" dirty="0">
              <a:solidFill>
                <a:schemeClr val="accent1">
                  <a:lumMod val="50000"/>
                </a:schemeClr>
              </a:solidFill>
              <a:latin typeface="Arial"/>
              <a:cs typeface="Calibri"/>
            </a:endParaRPr>
          </a:p>
          <a:p>
            <a:pPr marL="171450" indent="-171450">
              <a:spcAft>
                <a:spcPts val="300"/>
              </a:spcAft>
              <a:buFont typeface="Arial"/>
              <a:buChar char="•"/>
            </a:pPr>
            <a:r>
              <a:rPr lang="en-IN" sz="1100" dirty="0">
                <a:solidFill>
                  <a:schemeClr val="accent1">
                    <a:lumMod val="50000"/>
                  </a:schemeClr>
                </a:solidFill>
                <a:latin typeface="Arial"/>
                <a:cs typeface="Calibri"/>
              </a:rPr>
              <a:t>Scripting: JavaScript, jQuery.</a:t>
            </a:r>
            <a:endParaRPr lang="en-US" sz="1100" dirty="0">
              <a:solidFill>
                <a:schemeClr val="accent1">
                  <a:lumMod val="50000"/>
                </a:schemeClr>
              </a:solidFill>
              <a:latin typeface="Arial"/>
              <a:cs typeface="Arial"/>
            </a:endParaRPr>
          </a:p>
          <a:p>
            <a:pPr marL="171450" indent="-171450">
              <a:spcAft>
                <a:spcPts val="300"/>
              </a:spcAft>
              <a:buFont typeface="Arial"/>
              <a:buChar char="•"/>
            </a:pPr>
            <a:r>
              <a:rPr lang="en-IN" sz="1100" dirty="0">
                <a:solidFill>
                  <a:schemeClr val="accent1">
                    <a:lumMod val="50000"/>
                  </a:schemeClr>
                </a:solidFill>
                <a:latin typeface="Arial"/>
                <a:cs typeface="Calibri"/>
              </a:rPr>
              <a:t>Data Migration: Import-Export Wizard, Data Loader,</a:t>
            </a:r>
            <a:endParaRPr lang="en-US" sz="1100" dirty="0">
              <a:solidFill>
                <a:schemeClr val="accent1">
                  <a:lumMod val="50000"/>
                </a:schemeClr>
              </a:solidFill>
              <a:latin typeface="Arial"/>
              <a:cs typeface="Arial"/>
            </a:endParaRPr>
          </a:p>
          <a:p>
            <a:pPr marL="171450" indent="-171450">
              <a:spcAft>
                <a:spcPts val="300"/>
              </a:spcAft>
              <a:buFont typeface="Arial"/>
              <a:buChar char="•"/>
            </a:pPr>
            <a:r>
              <a:rPr lang="en-IN" sz="1100" dirty="0">
                <a:solidFill>
                  <a:schemeClr val="accent1">
                    <a:lumMod val="50000"/>
                  </a:schemeClr>
                </a:solidFill>
                <a:latin typeface="Arial"/>
                <a:cs typeface="Calibri"/>
              </a:rPr>
              <a:t>Deployment: Preparing Checklists, Change Sets and Uploading them to different sandboxes, Release management, branching, CI/CD with Jenkins, Code Merge etc</a:t>
            </a:r>
            <a:endParaRPr lang="en-US" sz="1100" dirty="0">
              <a:solidFill>
                <a:schemeClr val="accent1">
                  <a:lumMod val="50000"/>
                </a:schemeClr>
              </a:solidFill>
              <a:latin typeface="Arial"/>
              <a:cs typeface="Arial"/>
            </a:endParaRPr>
          </a:p>
          <a:p>
            <a:endParaRPr lang="en-IN" sz="1100" i="1" dirty="0">
              <a:cs typeface="Arial"/>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3802239" y="3191936"/>
            <a:ext cx="7544631" cy="2446247"/>
          </a:xfrm>
          <a:prstGeom prst="rect">
            <a:avLst/>
          </a:prstGeom>
          <a:noFill/>
        </p:spPr>
        <p:txBody>
          <a:bodyPr wrap="square" lIns="91440" tIns="45720" rIns="91440" bIns="45720" rtlCol="0" anchor="t">
            <a:spAutoFit/>
          </a:bodyPr>
          <a:lstStyle/>
          <a:p>
            <a:r>
              <a:rPr lang="en-IN" sz="1100" b="1" dirty="0">
                <a:solidFill>
                  <a:srgbClr val="00B050"/>
                </a:solidFill>
                <a:cs typeface="Arial"/>
              </a:rPr>
              <a:t>Relevant Project Experience</a:t>
            </a:r>
            <a:endParaRPr lang="en-US" dirty="0"/>
          </a:p>
          <a:p>
            <a:pPr eaLnBrk="0" fontAlgn="base" hangingPunct="0">
              <a:spcBef>
                <a:spcPts val="600"/>
              </a:spcBef>
              <a:spcAft>
                <a:spcPct val="0"/>
              </a:spcAft>
            </a:pPr>
            <a:r>
              <a:rPr lang="en-US" sz="1100" b="1" dirty="0"/>
              <a:t>Toast:</a:t>
            </a:r>
            <a:r>
              <a:rPr lang="en-US" sz="1100" b="1" dirty="0">
                <a:ea typeface="+mn-lt"/>
                <a:cs typeface="+mn-lt"/>
              </a:rPr>
              <a:t> Qualtrics End-to-End design and implementation • CDP [Customer Data Portal] implementation</a:t>
            </a:r>
          </a:p>
          <a:p>
            <a:pPr marL="171450" indent="-171450">
              <a:lnSpc>
                <a:spcPct val="150000"/>
              </a:lnSpc>
              <a:spcAft>
                <a:spcPts val="300"/>
              </a:spcAft>
              <a:buFont typeface="Arial"/>
              <a:buChar char="•"/>
            </a:pPr>
            <a:r>
              <a:rPr lang="en-US" sz="1100" dirty="0">
                <a:solidFill>
                  <a:schemeClr val="accent1">
                    <a:lumMod val="50000"/>
                  </a:schemeClr>
                </a:solidFill>
                <a:latin typeface="Arial"/>
                <a:cs typeface="Calibri"/>
              </a:rPr>
              <a:t>Survey tool implementation end to end, without impact on existing sales/ service process</a:t>
            </a:r>
          </a:p>
          <a:p>
            <a:pPr marL="171450" indent="-171450">
              <a:lnSpc>
                <a:spcPct val="150000"/>
              </a:lnSpc>
              <a:spcAft>
                <a:spcPts val="300"/>
              </a:spcAft>
              <a:buFont typeface="Arial"/>
              <a:buChar char="•"/>
            </a:pPr>
            <a:r>
              <a:rPr lang="en-US" sz="1100" dirty="0">
                <a:solidFill>
                  <a:schemeClr val="accent1">
                    <a:lumMod val="50000"/>
                  </a:schemeClr>
                </a:solidFill>
                <a:latin typeface="Arial"/>
                <a:cs typeface="Calibri"/>
              </a:rPr>
              <a:t>Removed big technical chunks of the existing architecture and refactored it to improve sales/ service call times, worked on LWC, Apex and Flow refactoring along with scratch implementation.</a:t>
            </a:r>
          </a:p>
          <a:p>
            <a:pPr marL="171450" indent="-171450">
              <a:lnSpc>
                <a:spcPct val="150000"/>
              </a:lnSpc>
              <a:spcAft>
                <a:spcPts val="300"/>
              </a:spcAft>
              <a:buFont typeface="Arial"/>
              <a:buChar char="•"/>
            </a:pPr>
            <a:r>
              <a:rPr lang="en-US" sz="1100" dirty="0">
                <a:solidFill>
                  <a:schemeClr val="accent1">
                    <a:lumMod val="50000"/>
                  </a:schemeClr>
                </a:solidFill>
                <a:latin typeface="Arial"/>
                <a:cs typeface="Calibri"/>
              </a:rPr>
              <a:t>600% increase I data capture,43% revenue increase in the upcoming quarter post implementation</a:t>
            </a:r>
          </a:p>
          <a:p>
            <a:pPr marL="171450" indent="-171450">
              <a:lnSpc>
                <a:spcPct val="150000"/>
              </a:lnSpc>
              <a:spcAft>
                <a:spcPts val="300"/>
              </a:spcAft>
              <a:buFont typeface="Arial"/>
              <a:buChar char="•"/>
            </a:pPr>
            <a:r>
              <a:rPr lang="en-US" sz="1100" dirty="0">
                <a:solidFill>
                  <a:schemeClr val="accent1">
                    <a:lumMod val="50000"/>
                  </a:schemeClr>
                </a:solidFill>
                <a:latin typeface="Arial"/>
                <a:cs typeface="Calibri"/>
              </a:rPr>
              <a:t>100 % error drops in existing process of preparing</a:t>
            </a:r>
          </a:p>
          <a:p>
            <a:pPr marL="171450" indent="-171450">
              <a:lnSpc>
                <a:spcPct val="150000"/>
              </a:lnSpc>
              <a:spcAft>
                <a:spcPts val="300"/>
              </a:spcAft>
              <a:buFont typeface="Arial"/>
              <a:buChar char="•"/>
            </a:pPr>
            <a:r>
              <a:rPr lang="en-US" sz="1100" dirty="0">
                <a:solidFill>
                  <a:schemeClr val="accent1">
                    <a:lumMod val="50000"/>
                  </a:schemeClr>
                </a:solidFill>
                <a:latin typeface="Arial"/>
                <a:cs typeface="Calibri"/>
              </a:rPr>
              <a:t>3 sec time drop in preparing agreement process, increase in Rep / Executive productivity by 28%</a:t>
            </a:r>
          </a:p>
          <a:p>
            <a:pPr marL="171450" indent="-171450">
              <a:lnSpc>
                <a:spcPct val="150000"/>
              </a:lnSpc>
              <a:spcAft>
                <a:spcPts val="300"/>
              </a:spcAft>
              <a:buFont typeface="Arial"/>
              <a:buChar char="•"/>
            </a:pPr>
            <a:r>
              <a:rPr lang="en-US" sz="1100" dirty="0">
                <a:solidFill>
                  <a:schemeClr val="accent1">
                    <a:lumMod val="50000"/>
                  </a:schemeClr>
                </a:solidFill>
                <a:latin typeface="Arial"/>
                <a:cs typeface="Calibri"/>
              </a:rPr>
              <a:t>Increase in converted Lead </a:t>
            </a:r>
            <a:r>
              <a:rPr lang="en-US" sz="1100" dirty="0">
                <a:ea typeface="+mn-lt"/>
                <a:cs typeface="+mn-lt"/>
              </a:rPr>
              <a:t>Shares / Service Requests, increased conversion of Closed deals into Win Deals.</a:t>
            </a:r>
            <a:endParaRPr lang="en-US" sz="1100" dirty="0">
              <a:latin typeface="Arial"/>
              <a:cs typeface="Arial"/>
            </a:endParaRPr>
          </a:p>
        </p:txBody>
      </p:sp>
      <p:sp>
        <p:nvSpPr>
          <p:cNvPr id="9" name="TextBox 8">
            <a:extLst>
              <a:ext uri="{FF2B5EF4-FFF2-40B4-BE49-F238E27FC236}">
                <a16:creationId xmlns:a16="http://schemas.microsoft.com/office/drawing/2014/main" id="{C7EF9A0A-B875-5DE8-200F-ADC5D4D2DD3C}"/>
              </a:ext>
            </a:extLst>
          </p:cNvPr>
          <p:cNvSpPr txBox="1"/>
          <p:nvPr/>
        </p:nvSpPr>
        <p:spPr>
          <a:xfrm>
            <a:off x="8541" y="4153161"/>
            <a:ext cx="3679383" cy="2970044"/>
          </a:xfrm>
          <a:prstGeom prst="rect">
            <a:avLst/>
          </a:prstGeom>
          <a:noFill/>
        </p:spPr>
        <p:txBody>
          <a:bodyPr wrap="square" lIns="91440" tIns="45720" rIns="91440" bIns="45720" rtlCol="0" anchor="t">
            <a:spAutoFit/>
          </a:bodyPr>
          <a:lstStyle/>
          <a:p>
            <a:pPr>
              <a:defRPr/>
            </a:pPr>
            <a:r>
              <a:rPr lang="en-IN" sz="1100" b="1" dirty="0">
                <a:solidFill>
                  <a:srgbClr val="00B050"/>
                </a:solidFill>
              </a:rPr>
              <a:t>Certifications</a:t>
            </a:r>
            <a:endParaRPr lang="en-US" dirty="0">
              <a:solidFill>
                <a:srgbClr val="00B050"/>
              </a:solidFill>
            </a:endParaRP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Application Architect</a:t>
            </a: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Sharing and Visibility Architect</a:t>
            </a: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Data Architect</a:t>
            </a: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AI Associate</a:t>
            </a: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Data Cloud Consultant</a:t>
            </a: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Platform Developer – I &amp; II</a:t>
            </a: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Platform App Builder</a:t>
            </a:r>
          </a:p>
          <a:p>
            <a:pPr marL="171450" indent="-171450">
              <a:buFont typeface="Arial" panose="020B0604020202020204" pitchFamily="34" charset="0"/>
              <a:buChar char="•"/>
              <a:defRPr/>
            </a:pPr>
            <a:r>
              <a:rPr lang="en-IN" sz="1100" dirty="0">
                <a:solidFill>
                  <a:schemeClr val="accent1">
                    <a:lumMod val="50000"/>
                  </a:schemeClr>
                </a:solidFill>
                <a:cs typeface="Arial"/>
              </a:rPr>
              <a:t>Salesforce Certified System Administrator </a:t>
            </a:r>
          </a:p>
          <a:p>
            <a:pPr>
              <a:defRPr/>
            </a:pPr>
            <a:endParaRPr lang="en-IN" sz="1100" dirty="0">
              <a:solidFill>
                <a:schemeClr val="accent1">
                  <a:lumMod val="50000"/>
                </a:schemeClr>
              </a:solidFill>
              <a:cs typeface="Arial"/>
            </a:endParaRPr>
          </a:p>
          <a:p>
            <a:pPr>
              <a:defRPr/>
            </a:pPr>
            <a:r>
              <a:rPr lang="en-IN" sz="1100" b="1" dirty="0">
                <a:solidFill>
                  <a:srgbClr val="00B050"/>
                </a:solidFill>
                <a:cs typeface="Arial"/>
              </a:rPr>
              <a:t>Recent Roles</a:t>
            </a:r>
            <a:endParaRPr lang="en-IN" sz="1100" dirty="0">
              <a:cs typeface="Arial"/>
            </a:endParaRPr>
          </a:p>
          <a:p>
            <a:pPr marL="118745" indent="-118745">
              <a:buFont typeface="Arial"/>
              <a:buChar char="•"/>
              <a:defRPr/>
            </a:pPr>
            <a:r>
              <a:rPr lang="en-US" sz="1100" dirty="0">
                <a:solidFill>
                  <a:schemeClr val="bg2">
                    <a:lumMod val="10000"/>
                  </a:schemeClr>
                </a:solidFill>
                <a:cs typeface="Arial"/>
              </a:rPr>
              <a:t>Technical Architect, Application Architect </a:t>
            </a:r>
            <a:endParaRPr lang="en-IN" dirty="0">
              <a:solidFill>
                <a:schemeClr val="bg2">
                  <a:lumMod val="10000"/>
                </a:schemeClr>
              </a:solidFill>
              <a:cs typeface="Arial" panose="020B0604020202020204"/>
            </a:endParaRPr>
          </a:p>
          <a:p>
            <a:pPr>
              <a:defRPr/>
            </a:pPr>
            <a:endParaRPr lang="en-IN" sz="1100" b="1" dirty="0">
              <a:solidFill>
                <a:srgbClr val="00B050"/>
              </a:solidFill>
              <a:cs typeface="Arial"/>
            </a:endParaRPr>
          </a:p>
          <a:p>
            <a:pPr>
              <a:defRPr/>
            </a:pPr>
            <a:r>
              <a:rPr lang="en-IN" sz="1100" b="1" dirty="0">
                <a:solidFill>
                  <a:srgbClr val="00B050"/>
                </a:solidFill>
                <a:cs typeface="Arial"/>
              </a:rPr>
              <a:t>Key Clients</a:t>
            </a:r>
            <a:endParaRPr lang="en-IN" dirty="0"/>
          </a:p>
          <a:p>
            <a:pPr marL="171450" indent="-171450">
              <a:buFont typeface="Arial"/>
              <a:buChar char="•"/>
              <a:defRPr/>
            </a:pPr>
            <a:endParaRPr lang="en-IN" sz="1100" dirty="0">
              <a:solidFill>
                <a:srgbClr val="00B050"/>
              </a:solidFill>
              <a:cs typeface="Arial" panose="020B0604020202020204"/>
            </a:endParaRPr>
          </a:p>
          <a:p>
            <a:pPr marL="285750" lvl="0" indent="-285750">
              <a:buFont typeface="Arial" panose="020B0604020202020204" pitchFamily="34" charset="0"/>
              <a:buChar char="•"/>
              <a:defRPr/>
            </a:pPr>
            <a:endParaRPr lang="en-IN" sz="1100" dirty="0">
              <a:cs typeface="Arial"/>
            </a:endParaRPr>
          </a:p>
          <a:p>
            <a:pPr marL="285750" indent="-285750">
              <a:buFont typeface="Arial" panose="020B0604020202020204" pitchFamily="34" charset="0"/>
              <a:buChar char="•"/>
              <a:defRPr/>
            </a:pPr>
            <a:endParaRPr lang="en-IN" sz="1100" dirty="0">
              <a:cs typeface="Arial"/>
            </a:endParaRPr>
          </a:p>
        </p:txBody>
      </p:sp>
      <p:cxnSp>
        <p:nvCxnSpPr>
          <p:cNvPr id="10" name="Straight Connector 9">
            <a:extLst>
              <a:ext uri="{FF2B5EF4-FFF2-40B4-BE49-F238E27FC236}">
                <a16:creationId xmlns:a16="http://schemas.microsoft.com/office/drawing/2014/main" id="{9EC7C76D-C97F-A772-876E-CF1BFD86BA7C}"/>
              </a:ext>
            </a:extLst>
          </p:cNvPr>
          <p:cNvCxnSpPr/>
          <p:nvPr/>
        </p:nvCxnSpPr>
        <p:spPr>
          <a:xfrm flipH="1">
            <a:off x="3771194" y="550669"/>
            <a:ext cx="28754" cy="5994464"/>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TextBox 12">
            <a:extLst>
              <a:ext uri="{FF2B5EF4-FFF2-40B4-BE49-F238E27FC236}">
                <a16:creationId xmlns:a16="http://schemas.microsoft.com/office/drawing/2014/main" id="{18FF4F72-32AD-2200-09F3-F9AE2E938F41}"/>
              </a:ext>
            </a:extLst>
          </p:cNvPr>
          <p:cNvSpPr txBox="1"/>
          <p:nvPr/>
        </p:nvSpPr>
        <p:spPr>
          <a:xfrm>
            <a:off x="1570949" y="596707"/>
            <a:ext cx="2260856" cy="1509452"/>
          </a:xfrm>
          <a:prstGeom prst="rect">
            <a:avLst/>
          </a:prstGeom>
          <a:noFill/>
        </p:spPr>
        <p:txBody>
          <a:bodyPr wrap="square" lIns="91440" tIns="45720" rIns="91440" bIns="45720" rtlCol="0" anchor="t">
            <a:spAutoFit/>
          </a:bodyPr>
          <a:lstStyle/>
          <a:p>
            <a:pPr>
              <a:lnSpc>
                <a:spcPts val="1600"/>
              </a:lnSpc>
              <a:spcBef>
                <a:spcPts val="0"/>
              </a:spcBef>
            </a:pPr>
            <a:r>
              <a:rPr lang="en-US" sz="1100" b="1" dirty="0"/>
              <a:t>Rohit.Joshi1@brillio.com</a:t>
            </a:r>
            <a:endParaRPr lang="en-US" dirty="0"/>
          </a:p>
          <a:p>
            <a:pPr>
              <a:lnSpc>
                <a:spcPts val="1600"/>
              </a:lnSpc>
            </a:pPr>
            <a:r>
              <a:rPr lang="en-US" sz="1100" b="1" dirty="0">
                <a:cs typeface="Arial"/>
              </a:rPr>
              <a:t>Pune, India</a:t>
            </a:r>
            <a:endParaRPr lang="en-US" sz="1100" dirty="0"/>
          </a:p>
          <a:p>
            <a:pPr>
              <a:lnSpc>
                <a:spcPts val="1600"/>
              </a:lnSpc>
            </a:pPr>
            <a:endParaRPr lang="en-US" sz="1100" b="1" dirty="0">
              <a:cs typeface="Arial"/>
            </a:endParaRPr>
          </a:p>
          <a:p>
            <a:pPr>
              <a:lnSpc>
                <a:spcPts val="1600"/>
              </a:lnSpc>
            </a:pPr>
            <a:r>
              <a:rPr lang="en-US" sz="1100" b="1" dirty="0">
                <a:cs typeface="Arial"/>
              </a:rPr>
              <a:t>Industry Experience:</a:t>
            </a:r>
          </a:p>
          <a:p>
            <a:pPr>
              <a:lnSpc>
                <a:spcPts val="1600"/>
              </a:lnSpc>
            </a:pPr>
            <a:r>
              <a:rPr lang="en-US" sz="1100" dirty="0">
                <a:cs typeface="Arial"/>
              </a:rPr>
              <a:t>Finance, High-Tech, Retail, Healthcare, Logistics </a:t>
            </a:r>
            <a:endParaRPr lang="en-US" sz="1100" dirty="0">
              <a:solidFill>
                <a:srgbClr val="000000"/>
              </a:solidFill>
              <a:cs typeface="Arial"/>
            </a:endParaRPr>
          </a:p>
          <a:p>
            <a:pPr>
              <a:lnSpc>
                <a:spcPts val="1600"/>
              </a:lnSpc>
            </a:pPr>
            <a:endParaRPr lang="en-US" sz="1100" b="1" dirty="0">
              <a:cs typeface="Arial"/>
            </a:endParaRPr>
          </a:p>
        </p:txBody>
      </p:sp>
      <p:sp>
        <p:nvSpPr>
          <p:cNvPr id="11" name="TextBox 10">
            <a:extLst>
              <a:ext uri="{FF2B5EF4-FFF2-40B4-BE49-F238E27FC236}">
                <a16:creationId xmlns:a16="http://schemas.microsoft.com/office/drawing/2014/main" id="{50C13A0A-30D8-1594-245A-3B5B3DC1E09D}"/>
              </a:ext>
            </a:extLst>
          </p:cNvPr>
          <p:cNvSpPr txBox="1"/>
          <p:nvPr/>
        </p:nvSpPr>
        <p:spPr>
          <a:xfrm>
            <a:off x="3773441" y="676019"/>
            <a:ext cx="27432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IN" sz="1100" b="1" dirty="0">
                <a:solidFill>
                  <a:srgbClr val="00B050"/>
                </a:solidFill>
              </a:rPr>
              <a:t>Professional Summary </a:t>
            </a:r>
            <a:endParaRPr lang="en-US" dirty="0"/>
          </a:p>
        </p:txBody>
      </p:sp>
      <p:pic>
        <p:nvPicPr>
          <p:cNvPr id="12" name="Picture 11" descr="A person wearing glasses and a striped shirt&#10;&#10;Description automatically generated">
            <a:extLst>
              <a:ext uri="{FF2B5EF4-FFF2-40B4-BE49-F238E27FC236}">
                <a16:creationId xmlns:a16="http://schemas.microsoft.com/office/drawing/2014/main" id="{5181C137-F43E-5B92-E9CF-279C92A9453B}"/>
              </a:ext>
            </a:extLst>
          </p:cNvPr>
          <p:cNvPicPr>
            <a:picLocks/>
          </p:cNvPicPr>
          <p:nvPr/>
        </p:nvPicPr>
        <p:blipFill>
          <a:blip r:embed="rId2"/>
          <a:stretch>
            <a:fillRect/>
          </a:stretch>
        </p:blipFill>
        <p:spPr>
          <a:xfrm>
            <a:off x="79113" y="527003"/>
            <a:ext cx="1463040" cy="1463040"/>
          </a:xfrm>
          <a:prstGeom prst="ellipse">
            <a:avLst/>
          </a:prstGeom>
          <a:ln>
            <a:solidFill>
              <a:srgbClr val="92D050"/>
            </a:solidFill>
          </a:ln>
        </p:spPr>
      </p:pic>
      <p:sp>
        <p:nvSpPr>
          <p:cNvPr id="3" name="TextBox 13">
            <a:extLst>
              <a:ext uri="{FF2B5EF4-FFF2-40B4-BE49-F238E27FC236}">
                <a16:creationId xmlns:a16="http://schemas.microsoft.com/office/drawing/2014/main" id="{4F6582C8-7A61-34C1-9AA7-875ECB27D344}"/>
              </a:ext>
            </a:extLst>
          </p:cNvPr>
          <p:cNvSpPr txBox="1"/>
          <p:nvPr/>
        </p:nvSpPr>
        <p:spPr>
          <a:xfrm>
            <a:off x="0" y="6448854"/>
            <a:ext cx="3605546" cy="600164"/>
          </a:xfrm>
          <a:prstGeom prst="rect">
            <a:avLst/>
          </a:prstGeom>
          <a:noFill/>
        </p:spPr>
        <p:txBody>
          <a:bodyPr wrap="square" lIns="91440" tIns="45720" rIns="91440" bIns="45720" numCol="3"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Sans-Serif" panose="020B0604020202020204" pitchFamily="34" charset="0"/>
              <a:buChar char="•"/>
            </a:pPr>
            <a:r>
              <a:rPr lang="en-IN" sz="1100" dirty="0">
                <a:solidFill>
                  <a:schemeClr val="tx2"/>
                </a:solidFill>
              </a:rPr>
              <a:t>Currencies Direct</a:t>
            </a:r>
            <a:endParaRPr lang="en-IN" sz="1100" dirty="0">
              <a:solidFill>
                <a:schemeClr val="tx2"/>
              </a:solidFill>
              <a:cs typeface="Arial"/>
            </a:endParaRPr>
          </a:p>
          <a:p>
            <a:pPr marL="171450" indent="-171450">
              <a:buFont typeface="Arial,Sans-Serif" panose="020B0604020202020204" pitchFamily="34" charset="0"/>
              <a:buChar char="•"/>
            </a:pPr>
            <a:endParaRPr lang="en-IN" sz="1100" dirty="0">
              <a:solidFill>
                <a:schemeClr val="tx2"/>
              </a:solidFill>
              <a:cs typeface="Arial"/>
            </a:endParaRPr>
          </a:p>
          <a:p>
            <a:pPr marL="171450" indent="-171450">
              <a:buFont typeface="Arial,Sans-Serif" panose="020B0604020202020204" pitchFamily="34" charset="0"/>
              <a:buChar char="•"/>
            </a:pPr>
            <a:r>
              <a:rPr lang="en-IN" sz="1100" dirty="0">
                <a:solidFill>
                  <a:schemeClr val="tx2"/>
                </a:solidFill>
              </a:rPr>
              <a:t>Move.com</a:t>
            </a:r>
            <a:endParaRPr lang="en-IN" sz="1100" dirty="0">
              <a:solidFill>
                <a:schemeClr val="tx2"/>
              </a:solidFill>
              <a:cs typeface="Arial"/>
            </a:endParaRPr>
          </a:p>
          <a:p>
            <a:pPr marL="171450" indent="-171450">
              <a:buFont typeface="Arial,Sans-Serif" panose="020B0604020202020204" pitchFamily="34" charset="0"/>
              <a:buChar char="•"/>
            </a:pPr>
            <a:r>
              <a:rPr lang="en-IN" sz="1100" dirty="0">
                <a:solidFill>
                  <a:schemeClr val="tx2"/>
                </a:solidFill>
              </a:rPr>
              <a:t>Blue Dart </a:t>
            </a:r>
            <a:endParaRPr lang="en-IN" sz="1100" dirty="0">
              <a:solidFill>
                <a:schemeClr val="tx2"/>
              </a:solidFill>
              <a:cs typeface="Arial"/>
            </a:endParaRPr>
          </a:p>
          <a:p>
            <a:pPr marL="171450" indent="-171450">
              <a:buFont typeface="Arial,Sans-Serif" panose="020B0604020202020204" pitchFamily="34" charset="0"/>
              <a:buChar char="•"/>
            </a:pPr>
            <a:endParaRPr lang="en-IN" sz="1100" dirty="0">
              <a:solidFill>
                <a:schemeClr val="tx2"/>
              </a:solidFill>
            </a:endParaRPr>
          </a:p>
          <a:p>
            <a:pPr marL="171450" indent="-171450">
              <a:buFont typeface="Arial,Sans-Serif" panose="020B0604020202020204" pitchFamily="34" charset="0"/>
              <a:buChar char="•"/>
            </a:pPr>
            <a:r>
              <a:rPr lang="en-IN" sz="1100" dirty="0">
                <a:solidFill>
                  <a:schemeClr val="tx2"/>
                </a:solidFill>
              </a:rPr>
              <a:t>Shell</a:t>
            </a:r>
            <a:endParaRPr lang="en-IN" sz="1100" dirty="0">
              <a:solidFill>
                <a:schemeClr val="tx2"/>
              </a:solidFill>
              <a:cs typeface="Arial"/>
            </a:endParaRPr>
          </a:p>
          <a:p>
            <a:pPr marL="171450" indent="-171450">
              <a:buFont typeface="Arial,Sans-Serif" panose="020B0604020202020204" pitchFamily="34" charset="0"/>
              <a:buChar char="•"/>
            </a:pPr>
            <a:r>
              <a:rPr lang="en-IN" sz="1100" dirty="0">
                <a:solidFill>
                  <a:schemeClr val="tx2"/>
                </a:solidFill>
                <a:cs typeface="Arial"/>
              </a:rPr>
              <a:t>Toast</a:t>
            </a:r>
            <a:endParaRPr lang="en-US" dirty="0">
              <a:solidFill>
                <a:schemeClr val="tx2"/>
              </a:solidFill>
              <a:cs typeface="Arial"/>
            </a:endParaRPr>
          </a:p>
        </p:txBody>
      </p:sp>
    </p:spTree>
    <p:extLst>
      <p:ext uri="{BB962C8B-B14F-4D97-AF65-F5344CB8AC3E}">
        <p14:creationId xmlns:p14="http://schemas.microsoft.com/office/powerpoint/2010/main" val="3701138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p:txBody>
          <a:bodyPr/>
          <a:lstStyle/>
          <a:p>
            <a:r>
              <a:rPr lang="en-GB" dirty="0"/>
              <a:t>©2024 Brillio  |  </a:t>
            </a:r>
            <a:fld id="{F1FE5E21-FD07-B44E-90A3-0254BFCDB49A}" type="slidenum">
              <a:rPr smtClean="0"/>
              <a:pPr/>
              <a:t>11</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365760" y="314325"/>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Rohit Joshi, Salesforce Technical Architect</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446630" y="888764"/>
            <a:ext cx="10974749" cy="4970591"/>
          </a:xfrm>
          <a:prstGeom prst="rect">
            <a:avLst/>
          </a:prstGeom>
          <a:noFill/>
        </p:spPr>
        <p:txBody>
          <a:bodyPr wrap="square" lIns="91440" tIns="45720" rIns="91440" bIns="45720" rtlCol="0" anchor="t">
            <a:spAutoFit/>
          </a:bodyPr>
          <a:lstStyle/>
          <a:p>
            <a:r>
              <a:rPr lang="en-US" sz="1100" b="1" dirty="0">
                <a:solidFill>
                  <a:schemeClr val="accent1">
                    <a:lumMod val="50000"/>
                  </a:schemeClr>
                </a:solidFill>
                <a:cs typeface="Arial"/>
              </a:rPr>
              <a:t>   </a:t>
            </a:r>
            <a:endParaRPr lang="en-US" sz="1100" dirty="0">
              <a:solidFill>
                <a:schemeClr val="accent1">
                  <a:lumMod val="50000"/>
                </a:schemeClr>
              </a:solidFill>
              <a:cs typeface="Arial"/>
            </a:endParaRPr>
          </a:p>
          <a:p>
            <a:r>
              <a:rPr lang="en-US" sz="1100" b="1" dirty="0">
                <a:solidFill>
                  <a:schemeClr val="accent1">
                    <a:lumMod val="50000"/>
                  </a:schemeClr>
                </a:solidFill>
              </a:rPr>
              <a:t>Shell: Sales and Service cloud implementation for Researching of Oil and Gas mechanisms </a:t>
            </a:r>
            <a:r>
              <a:rPr lang="en-US" sz="1100" dirty="0">
                <a:solidFill>
                  <a:schemeClr val="accent1">
                    <a:lumMod val="50000"/>
                  </a:schemeClr>
                </a:solidFill>
              </a:rPr>
              <a:t> </a:t>
            </a:r>
            <a:r>
              <a:rPr lang="en-US" sz="1100" dirty="0">
                <a:solidFill>
                  <a:srgbClr val="201646"/>
                </a:solidFill>
              </a:rPr>
              <a:t> </a:t>
            </a:r>
            <a:endParaRPr lang="en-US" sz="1100" dirty="0">
              <a:solidFill>
                <a:srgbClr val="000000"/>
              </a:solidFill>
              <a:cs typeface="Arial"/>
            </a:endParaRPr>
          </a:p>
          <a:p>
            <a:pPr marL="285750" indent="-285750">
              <a:spcBef>
                <a:spcPts val="600"/>
              </a:spcBef>
              <a:spcAft>
                <a:spcPct val="0"/>
              </a:spcAft>
              <a:buFont typeface="Arial,Sans-Serif"/>
              <a:buChar char="•"/>
            </a:pPr>
            <a:r>
              <a:rPr lang="en-US" sz="1100" dirty="0">
                <a:solidFill>
                  <a:schemeClr val="accent1">
                    <a:lumMod val="50000"/>
                  </a:schemeClr>
                </a:solidFill>
              </a:rPr>
              <a:t>26% increase in research tooling capabilities in a quarter overall, making product enablement decisions easy</a:t>
            </a:r>
            <a:endParaRPr lang="en-US" sz="1100" dirty="0">
              <a:solidFill>
                <a:schemeClr val="accent1">
                  <a:lumMod val="50000"/>
                </a:schemeClr>
              </a:solidFill>
              <a:cs typeface="Arial"/>
            </a:endParaRPr>
          </a:p>
          <a:p>
            <a:pPr marL="285750" indent="-285750">
              <a:spcBef>
                <a:spcPts val="600"/>
              </a:spcBef>
              <a:spcAft>
                <a:spcPct val="0"/>
              </a:spcAft>
              <a:buFont typeface="Arial,Sans-Serif"/>
              <a:buChar char="•"/>
            </a:pPr>
            <a:r>
              <a:rPr lang="en-US" sz="1100" dirty="0">
                <a:solidFill>
                  <a:schemeClr val="accent1">
                    <a:lumMod val="50000"/>
                  </a:schemeClr>
                </a:solidFill>
              </a:rPr>
              <a:t>Improved collaboration between different research teams, facilitating easy shared data availability</a:t>
            </a:r>
            <a:endParaRPr lang="en-US" sz="1100" dirty="0">
              <a:solidFill>
                <a:schemeClr val="accent1">
                  <a:lumMod val="50000"/>
                </a:schemeClr>
              </a:solidFill>
              <a:cs typeface="Arial"/>
            </a:endParaRPr>
          </a:p>
          <a:p>
            <a:pPr marL="285750" indent="-285750">
              <a:spcBef>
                <a:spcPts val="600"/>
              </a:spcBef>
              <a:spcAft>
                <a:spcPct val="0"/>
              </a:spcAft>
              <a:buFont typeface="Arial,Sans-Serif"/>
              <a:buChar char="•"/>
            </a:pPr>
            <a:r>
              <a:rPr lang="en-US" sz="1100" dirty="0">
                <a:solidFill>
                  <a:schemeClr val="accent1">
                    <a:lumMod val="50000"/>
                  </a:schemeClr>
                </a:solidFill>
              </a:rPr>
              <a:t>Improved stage gate assessments and collaboration for different research stages of the projects</a:t>
            </a:r>
            <a:endParaRPr lang="en-US" sz="1100" dirty="0">
              <a:solidFill>
                <a:schemeClr val="accent1">
                  <a:lumMod val="50000"/>
                </a:schemeClr>
              </a:solidFill>
              <a:cs typeface="Arial"/>
            </a:endParaRPr>
          </a:p>
          <a:p>
            <a:pPr marL="285750" indent="-285750">
              <a:spcBef>
                <a:spcPts val="600"/>
              </a:spcBef>
              <a:spcAft>
                <a:spcPct val="0"/>
              </a:spcAft>
              <a:buFont typeface="Arial,Sans-Serif"/>
              <a:buChar char="•"/>
            </a:pPr>
            <a:r>
              <a:rPr lang="en-US" sz="1100" dirty="0">
                <a:solidFill>
                  <a:schemeClr val="accent1">
                    <a:lumMod val="50000"/>
                  </a:schemeClr>
                </a:solidFill>
              </a:rPr>
              <a:t>Departmental revenue increased by 37% in a quarter which continued to be improved and went to 67% at the end of the financial year.</a:t>
            </a:r>
            <a:endParaRPr lang="en-US" sz="1100" dirty="0">
              <a:solidFill>
                <a:schemeClr val="accent1">
                  <a:lumMod val="50000"/>
                </a:schemeClr>
              </a:solidFill>
              <a:cs typeface="Arial"/>
            </a:endParaRPr>
          </a:p>
          <a:p>
            <a:pPr marL="285750" indent="-285750">
              <a:spcBef>
                <a:spcPts val="600"/>
              </a:spcBef>
              <a:spcAft>
                <a:spcPct val="0"/>
              </a:spcAft>
              <a:buFont typeface="Arial,Sans-Serif"/>
              <a:buChar char="•"/>
            </a:pPr>
            <a:r>
              <a:rPr lang="en-US" sz="1100" dirty="0">
                <a:solidFill>
                  <a:schemeClr val="accent1">
                    <a:lumMod val="50000"/>
                  </a:schemeClr>
                </a:solidFill>
              </a:rPr>
              <a:t>Data leakage issues dropped to 0 % due to strict implementation </a:t>
            </a:r>
            <a:endParaRPr lang="en-US" sz="1100" dirty="0">
              <a:solidFill>
                <a:schemeClr val="accent1">
                  <a:lumMod val="50000"/>
                </a:schemeClr>
              </a:solidFill>
              <a:cs typeface="Arial" panose="020B0604020202020204"/>
            </a:endParaRPr>
          </a:p>
          <a:p>
            <a:pPr lvl="1">
              <a:spcBef>
                <a:spcPts val="600"/>
              </a:spcBef>
              <a:spcAft>
                <a:spcPct val="0"/>
              </a:spcAft>
            </a:pPr>
            <a:endParaRPr lang="en-US" sz="1100" dirty="0">
              <a:solidFill>
                <a:schemeClr val="accent1">
                  <a:lumMod val="50000"/>
                </a:schemeClr>
              </a:solidFill>
              <a:cs typeface="Arial" panose="020B0604020202020204"/>
            </a:endParaRPr>
          </a:p>
          <a:p>
            <a:pPr eaLnBrk="0" fontAlgn="base" hangingPunct="0">
              <a:spcBef>
                <a:spcPts val="600"/>
              </a:spcBef>
              <a:spcAft>
                <a:spcPct val="0"/>
              </a:spcAft>
            </a:pPr>
            <a:r>
              <a:rPr lang="en-US" sz="1100" b="1" dirty="0">
                <a:solidFill>
                  <a:schemeClr val="accent1">
                    <a:lumMod val="50000"/>
                  </a:schemeClr>
                </a:solidFill>
              </a:rPr>
              <a:t>Bluedart :</a:t>
            </a:r>
            <a:r>
              <a:rPr lang="en-US" sz="1100" b="1" dirty="0">
                <a:solidFill>
                  <a:schemeClr val="accent1">
                    <a:lumMod val="50000"/>
                  </a:schemeClr>
                </a:solidFill>
                <a:ea typeface="+mn-lt"/>
                <a:cs typeface="+mn-lt"/>
              </a:rPr>
              <a:t> Implementing custom requirements for Sales, Service, Inventory and Pricing departments</a:t>
            </a:r>
          </a:p>
          <a:p>
            <a:pPr marL="285750" indent="-285750">
              <a:spcBef>
                <a:spcPts val="600"/>
              </a:spcBef>
              <a:spcAft>
                <a:spcPct val="0"/>
              </a:spcAft>
              <a:buFont typeface="Arial" panose="020B0604020202020204" pitchFamily="34" charset="0"/>
              <a:buChar char="•"/>
            </a:pPr>
            <a:r>
              <a:rPr lang="en-US" sz="1100" dirty="0">
                <a:solidFill>
                  <a:schemeClr val="accent1">
                    <a:lumMod val="50000"/>
                  </a:schemeClr>
                </a:solidFill>
                <a:cs typeface="Arial" panose="020B0604020202020204"/>
              </a:rPr>
              <a:t>Improved 3x Lead conversion rate, 28% improvement in case resolution for end users</a:t>
            </a:r>
          </a:p>
          <a:p>
            <a:pPr marL="285750" indent="-285750">
              <a:spcBef>
                <a:spcPts val="600"/>
              </a:spcBef>
              <a:spcAft>
                <a:spcPct val="0"/>
              </a:spcAft>
              <a:buFont typeface="Arial" panose="020B0604020202020204" pitchFamily="34" charset="0"/>
              <a:buChar char="•"/>
            </a:pPr>
            <a:r>
              <a:rPr lang="en-US" sz="1100" dirty="0">
                <a:solidFill>
                  <a:schemeClr val="accent1">
                    <a:lumMod val="50000"/>
                  </a:schemeClr>
                </a:solidFill>
                <a:cs typeface="Arial" panose="020B0604020202020204"/>
              </a:rPr>
              <a:t>Case management and case cycle refactored to notice 3 mins positive decrease in resolution time</a:t>
            </a:r>
          </a:p>
          <a:p>
            <a:pPr marL="285750" indent="-285750">
              <a:spcBef>
                <a:spcPts val="600"/>
              </a:spcBef>
              <a:spcAft>
                <a:spcPct val="0"/>
              </a:spcAft>
              <a:buFont typeface="Arial" panose="020B0604020202020204" pitchFamily="34" charset="0"/>
              <a:buChar char="•"/>
            </a:pPr>
            <a:r>
              <a:rPr lang="en-US" sz="1100" dirty="0">
                <a:solidFill>
                  <a:schemeClr val="accent1">
                    <a:lumMod val="50000"/>
                  </a:schemeClr>
                </a:solidFill>
                <a:cs typeface="Arial" panose="020B0604020202020204"/>
              </a:rPr>
              <a:t>Built pricing implementation in collaborated integration with SAP and legacy system. Noted improvement of correct calculations as per courier weights and improved revenue by 33.8% in 2 quarters post implementations and helped organization recover loss from previous erroneous calculations.</a:t>
            </a:r>
          </a:p>
          <a:p>
            <a:pPr marL="285750" indent="-285750">
              <a:spcBef>
                <a:spcPts val="600"/>
              </a:spcBef>
              <a:spcAft>
                <a:spcPct val="0"/>
              </a:spcAft>
              <a:buFont typeface="Arial" panose="020B0604020202020204" pitchFamily="34" charset="0"/>
              <a:buChar char="•"/>
            </a:pPr>
            <a:r>
              <a:rPr lang="en-US" sz="1100" dirty="0">
                <a:solidFill>
                  <a:schemeClr val="accent1">
                    <a:lumMod val="50000"/>
                  </a:schemeClr>
                </a:solidFill>
                <a:cs typeface="Arial" panose="020B0604020202020204"/>
              </a:rPr>
              <a:t>Dealt with real time integration challenges with SAP in terms of high volume of API calls. Refactored SAP integration which in turn improved data availability in greater extent and helped maintaining org health optimal </a:t>
            </a:r>
          </a:p>
          <a:p>
            <a:pPr marL="285750" indent="-285750">
              <a:spcBef>
                <a:spcPts val="600"/>
              </a:spcBef>
              <a:spcAft>
                <a:spcPct val="0"/>
              </a:spcAft>
              <a:buFont typeface="Arial" panose="020B0604020202020204" pitchFamily="34" charset="0"/>
              <a:buChar char="•"/>
            </a:pPr>
            <a:r>
              <a:rPr lang="en-US" sz="1100" dirty="0">
                <a:solidFill>
                  <a:schemeClr val="accent1">
                    <a:lumMod val="50000"/>
                  </a:schemeClr>
                </a:solidFill>
                <a:cs typeface="Arial" panose="020B0604020202020204"/>
              </a:rPr>
              <a:t>Resolved challenges on courier types, material included, and bulk ordering discounts for big organization and mad the process smoother than earlier to help Sales Reps / Service Executives</a:t>
            </a:r>
          </a:p>
          <a:p>
            <a:pPr marL="285750" indent="-285750">
              <a:spcBef>
                <a:spcPts val="600"/>
              </a:spcBef>
              <a:spcAft>
                <a:spcPct val="0"/>
              </a:spcAft>
              <a:buFont typeface="Arial" panose="020B0604020202020204" pitchFamily="34" charset="0"/>
              <a:buChar char="•"/>
            </a:pPr>
            <a:r>
              <a:rPr lang="en-US" sz="1100" dirty="0">
                <a:solidFill>
                  <a:schemeClr val="accent1">
                    <a:lumMod val="50000"/>
                  </a:schemeClr>
                </a:solidFill>
                <a:cs typeface="Arial" panose="020B0604020202020204"/>
              </a:rPr>
              <a:t>Built logistics model for Bluedart which is dynamic, scalable and  ready to accept future changes by using customization with Apex (Synchronous and Asynchronous) , LWC, Lightning Flows and out of the box salesforce features.</a:t>
            </a:r>
          </a:p>
          <a:p>
            <a:pPr marL="742950" lvl="1" indent="-285750">
              <a:spcBef>
                <a:spcPts val="600"/>
              </a:spcBef>
              <a:spcAft>
                <a:spcPct val="0"/>
              </a:spcAft>
              <a:buFont typeface="Arial" panose="020B0604020202020204" pitchFamily="34" charset="0"/>
              <a:buChar char="•"/>
            </a:pPr>
            <a:endParaRPr lang="en-US" sz="1100" dirty="0">
              <a:solidFill>
                <a:schemeClr val="accent1">
                  <a:lumMod val="50000"/>
                </a:schemeClr>
              </a:solidFill>
              <a:cs typeface="Arial" panose="020B0604020202020204"/>
            </a:endParaRPr>
          </a:p>
          <a:p>
            <a:pPr marL="742950" lvl="1" indent="-285750">
              <a:spcBef>
                <a:spcPts val="600"/>
              </a:spcBef>
              <a:spcAft>
                <a:spcPct val="0"/>
              </a:spcAft>
              <a:buFont typeface="Arial" panose="020B0604020202020204" pitchFamily="34" charset="0"/>
              <a:buChar char="•"/>
            </a:pPr>
            <a:endParaRPr lang="en-US" sz="1100" b="1" dirty="0">
              <a:solidFill>
                <a:schemeClr val="accent1">
                  <a:lumMod val="50000"/>
                </a:schemeClr>
              </a:solidFill>
              <a:cs typeface="Arial" panose="020B0604020202020204"/>
            </a:endParaRPr>
          </a:p>
        </p:txBody>
      </p:sp>
    </p:spTree>
    <p:extLst>
      <p:ext uri="{BB962C8B-B14F-4D97-AF65-F5344CB8AC3E}">
        <p14:creationId xmlns:p14="http://schemas.microsoft.com/office/powerpoint/2010/main" val="3398949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37DF0E-B009-CE36-4FC2-9B4F67CD6FD6}"/>
              </a:ext>
            </a:extLst>
          </p:cNvPr>
          <p:cNvSpPr/>
          <p:nvPr/>
        </p:nvSpPr>
        <p:spPr>
          <a:xfrm>
            <a:off x="1" y="555462"/>
            <a:ext cx="3680842" cy="6302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a:xfrm>
            <a:off x="9834042" y="6371536"/>
            <a:ext cx="1969451" cy="259715"/>
          </a:xfrm>
        </p:spPr>
        <p:txBody>
          <a:bodyPr/>
          <a:lstStyle/>
          <a:p>
            <a:r>
              <a:rPr lang="en-GB" dirty="0"/>
              <a:t>©2024 Brillio  |  </a:t>
            </a:r>
            <a:fld id="{F1FE5E21-FD07-B44E-90A3-0254BFCDB49A}" type="slidenum">
              <a:rPr smtClean="0"/>
              <a:pPr/>
              <a:t>12</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332509" y="114820"/>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Rahul Patil, Senior Development Lead</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2AABA743-DB29-119C-984C-DC6618BBD0C7}"/>
              </a:ext>
            </a:extLst>
          </p:cNvPr>
          <p:cNvSpPr txBox="1"/>
          <p:nvPr/>
        </p:nvSpPr>
        <p:spPr>
          <a:xfrm>
            <a:off x="205921" y="2228197"/>
            <a:ext cx="3274668" cy="144655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B050"/>
                </a:solidFill>
                <a:effectLst/>
                <a:uLnTx/>
                <a:uFillTx/>
                <a:ea typeface="+mn-ea"/>
                <a:cs typeface="+mn-cs"/>
              </a:rPr>
              <a:t>Core Skill Sets</a:t>
            </a:r>
            <a:endParaRPr lang="en-US" sz="1100" dirty="0">
              <a:solidFill>
                <a:prstClr val="black"/>
              </a:solidFill>
              <a:cs typeface="Calibri"/>
            </a:endParaRPr>
          </a:p>
          <a:p>
            <a:pPr marL="171450" indent="-171450">
              <a:buFont typeface="Arial" panose="020B0604020202020204" pitchFamily="34" charset="0"/>
              <a:buChar char="•"/>
              <a:defRPr/>
            </a:pPr>
            <a:r>
              <a:rPr lang="en-US" sz="1100" dirty="0">
                <a:solidFill>
                  <a:schemeClr val="accent1">
                    <a:lumMod val="50000"/>
                  </a:schemeClr>
                </a:solidFill>
                <a:cs typeface="Calibri"/>
              </a:rPr>
              <a:t>Requirement Gathering, Solution Design and Implementation.</a:t>
            </a:r>
          </a:p>
          <a:p>
            <a:pPr marL="171450" indent="-171450">
              <a:buFont typeface="Arial" panose="020B0604020202020204" pitchFamily="34" charset="0"/>
              <a:buChar char="•"/>
              <a:defRPr/>
            </a:pPr>
            <a:r>
              <a:rPr lang="en-US" sz="1100" dirty="0">
                <a:solidFill>
                  <a:schemeClr val="accent1">
                    <a:lumMod val="50000"/>
                  </a:schemeClr>
                </a:solidFill>
                <a:cs typeface="Calibri"/>
              </a:rPr>
              <a:t>Expertise in developing solutions for Insurance, Telecommunication, MedTech industries.</a:t>
            </a:r>
          </a:p>
          <a:p>
            <a:pPr marL="171450" indent="-171450">
              <a:buFont typeface="Arial" panose="020B0604020202020204" pitchFamily="34" charset="0"/>
              <a:buChar char="•"/>
              <a:defRPr/>
            </a:pPr>
            <a:r>
              <a:rPr lang="en-US" sz="1100" dirty="0">
                <a:solidFill>
                  <a:schemeClr val="accent1">
                    <a:lumMod val="50000"/>
                  </a:schemeClr>
                </a:solidFill>
                <a:cs typeface="Calibri"/>
              </a:rPr>
              <a:t>Proficient in developing LWC, Aura, Apex, Flows, and other Salesforce standard features.</a:t>
            </a:r>
            <a:endParaRPr lang="en-IN" sz="1100" dirty="0">
              <a:solidFill>
                <a:schemeClr val="accent1">
                  <a:lumMod val="50000"/>
                </a:schemeClr>
              </a:solidFill>
            </a:endParaRPr>
          </a:p>
        </p:txBody>
      </p:sp>
      <p:sp>
        <p:nvSpPr>
          <p:cNvPr id="6" name="TextBox 5">
            <a:extLst>
              <a:ext uri="{FF2B5EF4-FFF2-40B4-BE49-F238E27FC236}">
                <a16:creationId xmlns:a16="http://schemas.microsoft.com/office/drawing/2014/main" id="{FAD7D10F-2CA0-B62C-602C-1D44C25427E7}"/>
              </a:ext>
            </a:extLst>
          </p:cNvPr>
          <p:cNvSpPr txBox="1"/>
          <p:nvPr/>
        </p:nvSpPr>
        <p:spPr>
          <a:xfrm>
            <a:off x="3791732" y="549830"/>
            <a:ext cx="7544633" cy="2608406"/>
          </a:xfrm>
          <a:prstGeom prst="rect">
            <a:avLst/>
          </a:prstGeom>
          <a:noFill/>
        </p:spPr>
        <p:txBody>
          <a:bodyPr wrap="square" lIns="91440" tIns="45720" rIns="91440" bIns="45720" rtlCol="0" anchor="t">
            <a:spAutoFit/>
          </a:bodyPr>
          <a:lstStyle/>
          <a:p>
            <a:r>
              <a:rPr lang="en-IN" sz="1200" b="1" dirty="0">
                <a:solidFill>
                  <a:srgbClr val="00B050"/>
                </a:solidFill>
              </a:rPr>
              <a:t>Professional Summary:</a:t>
            </a:r>
          </a:p>
          <a:p>
            <a:endParaRPr lang="en-US" sz="1200" dirty="0">
              <a:solidFill>
                <a:schemeClr val="accent1">
                  <a:lumMod val="50000"/>
                </a:schemeClr>
              </a:solidFill>
            </a:endParaRPr>
          </a:p>
          <a:p>
            <a:pPr marL="171450" indent="-171450">
              <a:spcAft>
                <a:spcPts val="300"/>
              </a:spcAft>
              <a:buFont typeface="Arial"/>
              <a:buChar char="•"/>
            </a:pPr>
            <a:r>
              <a:rPr lang="en-US" sz="1100" dirty="0">
                <a:solidFill>
                  <a:schemeClr val="accent1">
                    <a:lumMod val="50000"/>
                  </a:schemeClr>
                </a:solidFill>
                <a:cs typeface="Arial"/>
              </a:rPr>
              <a:t>Salesforce Technical Lead with 8+ years of hands-on experience in Salesforce  implementation, customization, and support. </a:t>
            </a:r>
            <a:endParaRPr lang="en-IN" sz="1100" dirty="0">
              <a:solidFill>
                <a:schemeClr val="accent1">
                  <a:lumMod val="50000"/>
                </a:schemeClr>
              </a:solidFill>
              <a:cs typeface="Arial"/>
            </a:endParaRPr>
          </a:p>
          <a:p>
            <a:pPr marL="171450" indent="-171450" algn="just">
              <a:spcAft>
                <a:spcPts val="300"/>
              </a:spcAft>
              <a:buFont typeface="Arial"/>
              <a:buChar char="•"/>
            </a:pPr>
            <a:r>
              <a:rPr lang="en-US" sz="1100" dirty="0">
                <a:solidFill>
                  <a:schemeClr val="accent1">
                    <a:lumMod val="50000"/>
                  </a:schemeClr>
                </a:solidFill>
                <a:cs typeface="Arial"/>
              </a:rPr>
              <a:t>Collaborated with stakeholders to gather requirements, analyze business processes, and design scalable solutions tailored to client needs.</a:t>
            </a:r>
            <a:endParaRPr lang="en-IN" sz="1100" dirty="0">
              <a:solidFill>
                <a:schemeClr val="accent1">
                  <a:lumMod val="50000"/>
                </a:schemeClr>
              </a:solidFill>
              <a:cs typeface="Arial"/>
            </a:endParaRPr>
          </a:p>
          <a:p>
            <a:pPr marL="171450" indent="-171450" algn="just">
              <a:spcAft>
                <a:spcPts val="300"/>
              </a:spcAft>
              <a:buFont typeface="Arial"/>
              <a:buChar char="•"/>
            </a:pPr>
            <a:r>
              <a:rPr lang="en-US" sz="1100" dirty="0">
                <a:solidFill>
                  <a:schemeClr val="accent1">
                    <a:lumMod val="50000"/>
                  </a:schemeClr>
                </a:solidFill>
                <a:cs typeface="Arial"/>
              </a:rPr>
              <a:t>Skilled in direct client interaction, requirement gathering, and solution demonstrations. </a:t>
            </a:r>
            <a:endParaRPr lang="en-IN" sz="1100" dirty="0">
              <a:solidFill>
                <a:schemeClr val="accent1">
                  <a:lumMod val="50000"/>
                </a:schemeClr>
              </a:solidFill>
              <a:cs typeface="Arial"/>
            </a:endParaRPr>
          </a:p>
          <a:p>
            <a:pPr marL="171450" indent="-171450" algn="just">
              <a:spcAft>
                <a:spcPts val="300"/>
              </a:spcAft>
              <a:buFont typeface="Arial"/>
              <a:buChar char="•"/>
            </a:pPr>
            <a:r>
              <a:rPr lang="en-US" sz="1100" dirty="0">
                <a:solidFill>
                  <a:schemeClr val="accent1">
                    <a:lumMod val="50000"/>
                  </a:schemeClr>
                </a:solidFill>
                <a:cs typeface="Arial"/>
              </a:rPr>
              <a:t>Proficient in complex customizations, configurations, and enhancements. </a:t>
            </a:r>
            <a:r>
              <a:rPr lang="en-IN" sz="1100" dirty="0">
                <a:solidFill>
                  <a:schemeClr val="accent1">
                    <a:lumMod val="50000"/>
                  </a:schemeClr>
                </a:solidFill>
                <a:cs typeface="Arial"/>
              </a:rPr>
              <a:t>  </a:t>
            </a:r>
            <a:r>
              <a:rPr lang="en-US" sz="1100" dirty="0">
                <a:solidFill>
                  <a:schemeClr val="accent1">
                    <a:lumMod val="50000"/>
                  </a:schemeClr>
                </a:solidFill>
                <a:cs typeface="Arial"/>
              </a:rPr>
              <a:t>.</a:t>
            </a:r>
            <a:endParaRPr lang="en-IN" sz="1100" dirty="0">
              <a:solidFill>
                <a:schemeClr val="accent1">
                  <a:lumMod val="50000"/>
                </a:schemeClr>
              </a:solidFill>
              <a:cs typeface="Arial"/>
            </a:endParaRPr>
          </a:p>
          <a:p>
            <a:pPr marL="171450" indent="-171450" algn="just">
              <a:spcAft>
                <a:spcPts val="300"/>
              </a:spcAft>
              <a:buFont typeface="Arial"/>
              <a:buChar char="•"/>
            </a:pPr>
            <a:r>
              <a:rPr lang="en-US" sz="1100" dirty="0">
                <a:solidFill>
                  <a:schemeClr val="accent1">
                    <a:lumMod val="50000"/>
                  </a:schemeClr>
                </a:solidFill>
                <a:cs typeface="Arial"/>
              </a:rPr>
              <a:t>Managed team with 4-5 members, ensuring seamless delivery.</a:t>
            </a:r>
            <a:endParaRPr lang="en-IN" sz="1100" dirty="0">
              <a:solidFill>
                <a:schemeClr val="accent1">
                  <a:lumMod val="50000"/>
                </a:schemeClr>
              </a:solidFill>
              <a:cs typeface="Arial"/>
            </a:endParaRPr>
          </a:p>
          <a:p>
            <a:pPr marL="171450" indent="-171450" algn="just">
              <a:spcAft>
                <a:spcPts val="300"/>
              </a:spcAft>
              <a:buFont typeface="Arial"/>
              <a:buChar char="•"/>
            </a:pPr>
            <a:r>
              <a:rPr lang="en-US" sz="1100" dirty="0">
                <a:solidFill>
                  <a:schemeClr val="accent1">
                    <a:lumMod val="50000"/>
                  </a:schemeClr>
                </a:solidFill>
                <a:cs typeface="Arial"/>
              </a:rPr>
              <a:t>Extensive knowledge of Lightning Migration Projects with a good understanding of migrating VF pages, JS buttons, building consoles, and knowledge Migration. </a:t>
            </a:r>
            <a:endParaRPr lang="en-IN" sz="1100" dirty="0">
              <a:solidFill>
                <a:schemeClr val="accent1">
                  <a:lumMod val="50000"/>
                </a:schemeClr>
              </a:solidFill>
              <a:cs typeface="Arial"/>
            </a:endParaRPr>
          </a:p>
          <a:p>
            <a:pPr marL="171450" indent="-171450" algn="just">
              <a:spcAft>
                <a:spcPts val="300"/>
              </a:spcAft>
              <a:buFont typeface="Arial"/>
              <a:buChar char="•"/>
            </a:pPr>
            <a:r>
              <a:rPr lang="en-US" sz="1100" dirty="0">
                <a:solidFill>
                  <a:schemeClr val="accent1">
                    <a:lumMod val="50000"/>
                  </a:schemeClr>
                </a:solidFill>
                <a:cs typeface="Arial"/>
              </a:rPr>
              <a:t>Proficient in Salesforce</a:t>
            </a:r>
            <a:r>
              <a:rPr lang="en-IN" sz="1100" dirty="0">
                <a:solidFill>
                  <a:schemeClr val="accent1">
                    <a:lumMod val="50000"/>
                  </a:schemeClr>
                </a:solidFill>
                <a:cs typeface="Arial"/>
              </a:rPr>
              <a:t> Technologies like LWC Framework, Apex (Synchronous and Asynchronous)</a:t>
            </a:r>
          </a:p>
          <a:p>
            <a:endParaRPr lang="en-IN" sz="1200" dirty="0">
              <a:solidFill>
                <a:srgbClr val="201646"/>
              </a:solidFill>
              <a:cs typeface="Arial"/>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3791732" y="2909050"/>
            <a:ext cx="7772813" cy="3462486"/>
          </a:xfrm>
          <a:prstGeom prst="rect">
            <a:avLst/>
          </a:prstGeom>
          <a:noFill/>
        </p:spPr>
        <p:txBody>
          <a:bodyPr wrap="square" lIns="91440" tIns="45720" rIns="91440" bIns="45720" rtlCol="0" anchor="t">
            <a:spAutoFit/>
          </a:bodyPr>
          <a:lstStyle/>
          <a:p>
            <a:r>
              <a:rPr lang="en-IN" sz="1200" b="1" dirty="0">
                <a:solidFill>
                  <a:srgbClr val="00B050"/>
                </a:solidFill>
                <a:cs typeface="Arial"/>
              </a:rPr>
              <a:t>Relevant Project Experience</a:t>
            </a:r>
            <a:endParaRPr lang="en-US" sz="1200" dirty="0"/>
          </a:p>
          <a:p>
            <a:endParaRPr lang="en-US" sz="1200" b="1" dirty="0">
              <a:solidFill>
                <a:schemeClr val="accent1">
                  <a:lumMod val="50000"/>
                </a:schemeClr>
              </a:solidFill>
              <a:cs typeface="Arial"/>
            </a:endParaRPr>
          </a:p>
          <a:p>
            <a:r>
              <a:rPr lang="en-US" sz="1200" b="1" dirty="0">
                <a:solidFill>
                  <a:schemeClr val="accent1">
                    <a:lumMod val="50000"/>
                  </a:schemeClr>
                </a:solidFill>
                <a:cs typeface="Arial"/>
              </a:rPr>
              <a:t>i</a:t>
            </a:r>
            <a:r>
              <a:rPr lang="en-US" sz="1100" b="1" dirty="0">
                <a:solidFill>
                  <a:schemeClr val="accent1">
                    <a:lumMod val="50000"/>
                  </a:schemeClr>
                </a:solidFill>
                <a:cs typeface="Arial"/>
              </a:rPr>
              <a:t>Rhythm Inc –</a:t>
            </a:r>
            <a:r>
              <a:rPr lang="en-US" sz="1100" dirty="0">
                <a:solidFill>
                  <a:schemeClr val="accent1">
                    <a:lumMod val="50000"/>
                  </a:schemeClr>
                </a:solidFill>
                <a:cs typeface="Arial"/>
              </a:rPr>
              <a:t> Managed Services -  Lightning Migration .- Sales and Service Cloud Implementation</a:t>
            </a:r>
          </a:p>
          <a:p>
            <a:pPr marL="171450" indent="-171450">
              <a:spcBef>
                <a:spcPts val="600"/>
              </a:spcBef>
              <a:spcAft>
                <a:spcPct val="0"/>
              </a:spcAft>
              <a:buFont typeface="Arial"/>
              <a:buChar char="•"/>
            </a:pPr>
            <a:r>
              <a:rPr lang="en-US" sz="1100" dirty="0">
                <a:solidFill>
                  <a:schemeClr val="accent1">
                    <a:lumMod val="50000"/>
                  </a:schemeClr>
                </a:solidFill>
                <a:cs typeface="Arial"/>
              </a:rPr>
              <a:t>Entire Salesforce Instance was on Classic with lots of technical debt. Migrated the Entire Instance from salesforce classic to lightning.</a:t>
            </a:r>
          </a:p>
          <a:p>
            <a:pPr marL="171450" indent="-171450">
              <a:spcBef>
                <a:spcPts val="600"/>
              </a:spcBef>
              <a:spcAft>
                <a:spcPct val="0"/>
              </a:spcAft>
              <a:buFont typeface="Arial,Sans-Serif"/>
              <a:buChar char="•"/>
            </a:pPr>
            <a:r>
              <a:rPr lang="en-US" sz="1100" dirty="0">
                <a:solidFill>
                  <a:schemeClr val="accent1">
                    <a:lumMod val="50000"/>
                  </a:schemeClr>
                </a:solidFill>
                <a:cs typeface="Arial"/>
              </a:rPr>
              <a:t>Understanding and analyzing the Business Requirements and working with the client to understand their current business issues and pain points.</a:t>
            </a:r>
          </a:p>
          <a:p>
            <a:pPr marL="171450" indent="-171450">
              <a:spcBef>
                <a:spcPts val="600"/>
              </a:spcBef>
              <a:spcAft>
                <a:spcPct val="0"/>
              </a:spcAft>
              <a:buFont typeface="Arial"/>
              <a:buChar char="•"/>
            </a:pPr>
            <a:r>
              <a:rPr lang="en-US" sz="1100" dirty="0">
                <a:solidFill>
                  <a:schemeClr val="accent1">
                    <a:lumMod val="50000"/>
                  </a:schemeClr>
                </a:solidFill>
                <a:cs typeface="Arial"/>
              </a:rPr>
              <a:t>Assessment of client systems and identifying the desired To-Be process models and solution architecture that will address the issues.</a:t>
            </a:r>
          </a:p>
          <a:p>
            <a:pPr marL="171450" indent="-171450">
              <a:spcBef>
                <a:spcPts val="600"/>
              </a:spcBef>
              <a:spcAft>
                <a:spcPct val="0"/>
              </a:spcAft>
              <a:buFont typeface="Arial"/>
              <a:buChar char="•"/>
            </a:pPr>
            <a:r>
              <a:rPr lang="en-US" sz="1100" dirty="0">
                <a:solidFill>
                  <a:schemeClr val="accent1">
                    <a:lumMod val="50000"/>
                  </a:schemeClr>
                </a:solidFill>
                <a:cs typeface="Arial"/>
              </a:rPr>
              <a:t>Leading a team of 4 members and ensuring a seamless flow of project deliverables by doing code reviews, brainstorming on challenging tasks, and providing necessary knowledge.</a:t>
            </a:r>
          </a:p>
          <a:p>
            <a:pPr marL="171450" indent="-171450">
              <a:spcBef>
                <a:spcPts val="600"/>
              </a:spcBef>
              <a:spcAft>
                <a:spcPct val="0"/>
              </a:spcAft>
              <a:buFont typeface="Arial"/>
              <a:buChar char="•"/>
            </a:pPr>
            <a:r>
              <a:rPr lang="en-US" sz="1100" dirty="0">
                <a:solidFill>
                  <a:schemeClr val="accent1">
                    <a:lumMod val="50000"/>
                  </a:schemeClr>
                </a:solidFill>
                <a:cs typeface="Arial"/>
              </a:rPr>
              <a:t> Migration resulted in 100% Lightning Adoption.</a:t>
            </a:r>
          </a:p>
          <a:p>
            <a:pPr marL="171450" indent="-171450">
              <a:spcBef>
                <a:spcPts val="600"/>
              </a:spcBef>
              <a:spcAft>
                <a:spcPct val="0"/>
              </a:spcAft>
              <a:buFont typeface="Arial"/>
              <a:buChar char="•"/>
            </a:pPr>
            <a:r>
              <a:rPr lang="en-US" sz="1100" dirty="0">
                <a:solidFill>
                  <a:schemeClr val="accent1">
                    <a:lumMod val="50000"/>
                  </a:schemeClr>
                </a:solidFill>
                <a:cs typeface="Arial"/>
              </a:rPr>
              <a:t>Usage of lightning knowledge articles to resolve the cases efficiently.</a:t>
            </a:r>
          </a:p>
          <a:p>
            <a:pPr marL="171450" indent="-171450">
              <a:spcBef>
                <a:spcPts val="600"/>
              </a:spcBef>
              <a:spcAft>
                <a:spcPct val="0"/>
              </a:spcAft>
              <a:buFont typeface="Arial"/>
              <a:buChar char="•"/>
            </a:pPr>
            <a:r>
              <a:rPr lang="en-US" sz="1100" dirty="0">
                <a:solidFill>
                  <a:schemeClr val="accent1">
                    <a:lumMod val="50000"/>
                  </a:schemeClr>
                </a:solidFill>
                <a:cs typeface="Arial"/>
              </a:rPr>
              <a:t>Agent Productivity Increased 2x after implementing lightning service console providing them with 360 degree  of customer information.</a:t>
            </a:r>
          </a:p>
          <a:p>
            <a:pPr marL="171450" indent="-171450">
              <a:spcBef>
                <a:spcPts val="600"/>
              </a:spcBef>
              <a:spcAft>
                <a:spcPct val="0"/>
              </a:spcAft>
              <a:buFont typeface="Arial"/>
              <a:buChar char="•"/>
            </a:pPr>
            <a:r>
              <a:rPr lang="en-US" sz="1100" dirty="0">
                <a:solidFill>
                  <a:schemeClr val="accent1">
                    <a:lumMod val="50000"/>
                  </a:schemeClr>
                </a:solidFill>
                <a:cs typeface="Arial"/>
              </a:rPr>
              <a:t>Manual Intervention reduced almost to zero by implementing service cloud case routing and assignment features.</a:t>
            </a:r>
          </a:p>
        </p:txBody>
      </p:sp>
      <p:sp>
        <p:nvSpPr>
          <p:cNvPr id="9" name="TextBox 8">
            <a:extLst>
              <a:ext uri="{FF2B5EF4-FFF2-40B4-BE49-F238E27FC236}">
                <a16:creationId xmlns:a16="http://schemas.microsoft.com/office/drawing/2014/main" id="{C7EF9A0A-B875-5DE8-200F-ADC5D4D2DD3C}"/>
              </a:ext>
            </a:extLst>
          </p:cNvPr>
          <p:cNvSpPr txBox="1"/>
          <p:nvPr/>
        </p:nvSpPr>
        <p:spPr>
          <a:xfrm>
            <a:off x="205921" y="3715102"/>
            <a:ext cx="3292659" cy="2215991"/>
          </a:xfrm>
          <a:prstGeom prst="rect">
            <a:avLst/>
          </a:prstGeom>
          <a:noFill/>
        </p:spPr>
        <p:txBody>
          <a:bodyPr wrap="square" lIns="91440" tIns="45720" rIns="91440" bIns="45720" rtlCol="0" anchor="t">
            <a:spAutoFit/>
          </a:bodyPr>
          <a:lstStyle/>
          <a:p>
            <a:pPr>
              <a:defRPr/>
            </a:pPr>
            <a:r>
              <a:rPr lang="en-IN" sz="1100" b="1" dirty="0">
                <a:solidFill>
                  <a:srgbClr val="00B050"/>
                </a:solidFill>
              </a:rPr>
              <a:t>Certifications: </a:t>
            </a:r>
            <a:endParaRPr kumimoji="0" lang="en-IN" sz="1050" b="1" i="0" u="none" strike="noStrike" kern="1200" cap="none" spc="0" normalizeH="0" baseline="0" noProof="0" dirty="0">
              <a:ln>
                <a:noFill/>
              </a:ln>
              <a:solidFill>
                <a:prstClr val="black"/>
              </a:solidFill>
              <a:effectLst/>
              <a:uLnTx/>
              <a:uFillTx/>
              <a:ea typeface="+mn-ea"/>
              <a:cs typeface="+mn-cs"/>
            </a:endParaRPr>
          </a:p>
          <a:p>
            <a:pPr marL="171450" indent="-171450">
              <a:buFont typeface="Arial" panose="020B0604020202020204" pitchFamily="34" charset="0"/>
              <a:buChar char="•"/>
              <a:defRPr/>
            </a:pPr>
            <a:r>
              <a:rPr lang="en-US" sz="1050" dirty="0">
                <a:solidFill>
                  <a:prstClr val="black"/>
                </a:solidFill>
                <a:cs typeface="Calibri"/>
              </a:rPr>
              <a:t>Salesforce Data Architect</a:t>
            </a:r>
            <a:endParaRPr lang="en-IN" sz="1050" i="1" dirty="0">
              <a:solidFill>
                <a:prstClr val="black"/>
              </a:solidFill>
              <a:cs typeface="Arial" panose="020B0604020202020204"/>
            </a:endParaRPr>
          </a:p>
          <a:p>
            <a:pPr marL="171450" indent="-171450">
              <a:buFont typeface="Arial" panose="020B0604020202020204" pitchFamily="34" charset="0"/>
              <a:buChar char="•"/>
              <a:defRPr/>
            </a:pPr>
            <a:r>
              <a:rPr lang="en-US" sz="1050" dirty="0">
                <a:solidFill>
                  <a:prstClr val="black"/>
                </a:solidFill>
                <a:cs typeface="Calibri"/>
              </a:rPr>
              <a:t>Salesforce Platform Developer 2</a:t>
            </a:r>
            <a:endParaRPr lang="en-IN" sz="1050" dirty="0">
              <a:solidFill>
                <a:prstClr val="black"/>
              </a:solidFill>
            </a:endParaRPr>
          </a:p>
          <a:p>
            <a:pPr marL="171450" indent="-171450">
              <a:buFont typeface="Arial" panose="020B0604020202020204" pitchFamily="34" charset="0"/>
              <a:buChar char="•"/>
              <a:defRPr/>
            </a:pPr>
            <a:r>
              <a:rPr lang="en-US" sz="1050" dirty="0">
                <a:solidFill>
                  <a:prstClr val="black"/>
                </a:solidFill>
                <a:cs typeface="Calibri"/>
              </a:rPr>
              <a:t>Salesforce JavaScript Developer 1              </a:t>
            </a:r>
            <a:endParaRPr lang="en-IN" sz="1050" dirty="0"/>
          </a:p>
          <a:p>
            <a:pPr marL="171450" indent="-171450">
              <a:buFont typeface="Arial" panose="020B0604020202020204" pitchFamily="34" charset="0"/>
              <a:buChar char="•"/>
              <a:defRPr/>
            </a:pPr>
            <a:r>
              <a:rPr lang="en-US" sz="1050" dirty="0">
                <a:solidFill>
                  <a:prstClr val="black"/>
                </a:solidFill>
                <a:cs typeface="Calibri"/>
              </a:rPr>
              <a:t>Salesforce Platform Developer 1</a:t>
            </a:r>
            <a:endParaRPr lang="en-IN" sz="1050" dirty="0">
              <a:solidFill>
                <a:prstClr val="black"/>
              </a:solidFill>
            </a:endParaRPr>
          </a:p>
          <a:p>
            <a:pPr marL="171450" indent="-171450">
              <a:buFont typeface="Arial" panose="020B0604020202020204" pitchFamily="34" charset="0"/>
              <a:buChar char="•"/>
              <a:defRPr/>
            </a:pPr>
            <a:r>
              <a:rPr lang="en-US" sz="1050" dirty="0">
                <a:solidFill>
                  <a:prstClr val="black"/>
                </a:solidFill>
                <a:cs typeface="Calibri"/>
              </a:rPr>
              <a:t>Salesforce Accredited Health Cloud Professional</a:t>
            </a:r>
            <a:endParaRPr lang="en-IN" sz="1050" dirty="0">
              <a:solidFill>
                <a:prstClr val="black"/>
              </a:solidFill>
            </a:endParaRPr>
          </a:p>
          <a:p>
            <a:pPr marL="171450" indent="-171450">
              <a:buFont typeface="Arial" panose="020B0604020202020204" pitchFamily="34" charset="0"/>
              <a:buChar char="•"/>
              <a:defRPr/>
            </a:pPr>
            <a:r>
              <a:rPr lang="en-US" sz="1050" dirty="0">
                <a:solidFill>
                  <a:prstClr val="black"/>
                </a:solidFill>
                <a:cs typeface="Calibri"/>
              </a:rPr>
              <a:t>Salesforce Field Service Consultant</a:t>
            </a:r>
            <a:endParaRPr lang="en-IN" sz="1050" dirty="0">
              <a:solidFill>
                <a:prstClr val="black"/>
              </a:solidFill>
            </a:endParaRPr>
          </a:p>
          <a:p>
            <a:pPr marL="171450" indent="-171450">
              <a:buFont typeface="Arial" panose="020B0604020202020204" pitchFamily="34" charset="0"/>
              <a:buChar char="•"/>
              <a:defRPr/>
            </a:pPr>
            <a:r>
              <a:rPr lang="en-US" sz="1050" dirty="0">
                <a:solidFill>
                  <a:prstClr val="black"/>
                </a:solidFill>
                <a:cs typeface="Calibri"/>
              </a:rPr>
              <a:t>Salesforce Service Cloud Consultant</a:t>
            </a:r>
            <a:endParaRPr lang="en-IN" sz="1050" dirty="0">
              <a:solidFill>
                <a:prstClr val="black"/>
              </a:solidFill>
            </a:endParaRPr>
          </a:p>
          <a:p>
            <a:pPr marL="171450" indent="-171450">
              <a:buFont typeface="Arial" panose="020B0604020202020204" pitchFamily="34" charset="0"/>
              <a:buChar char="•"/>
              <a:defRPr/>
            </a:pPr>
            <a:r>
              <a:rPr lang="en-US" sz="1050" dirty="0">
                <a:solidFill>
                  <a:prstClr val="black"/>
                </a:solidFill>
                <a:cs typeface="Calibri"/>
              </a:rPr>
              <a:t>Salesforce Experience Cloud Consultant</a:t>
            </a:r>
            <a:endParaRPr lang="en-IN" sz="1050" dirty="0">
              <a:solidFill>
                <a:prstClr val="black"/>
              </a:solidFill>
            </a:endParaRPr>
          </a:p>
          <a:p>
            <a:pPr marL="171450" indent="-171450">
              <a:buFont typeface="Arial" panose="020B0604020202020204" pitchFamily="34" charset="0"/>
              <a:buChar char="•"/>
              <a:defRPr/>
            </a:pPr>
            <a:r>
              <a:rPr lang="en-US" sz="1050" dirty="0">
                <a:solidFill>
                  <a:prstClr val="black"/>
                </a:solidFill>
                <a:cs typeface="Calibri"/>
              </a:rPr>
              <a:t>Salesforce Platform App Builder</a:t>
            </a:r>
            <a:endParaRPr lang="en-IN" sz="1050" dirty="0">
              <a:solidFill>
                <a:prstClr val="black"/>
              </a:solidFill>
            </a:endParaRPr>
          </a:p>
          <a:p>
            <a:pPr marL="171450" indent="-171450">
              <a:buFont typeface="Arial" panose="020B0604020202020204" pitchFamily="34" charset="0"/>
              <a:buChar char="•"/>
              <a:defRPr/>
            </a:pPr>
            <a:r>
              <a:rPr lang="en-US" sz="1050" dirty="0">
                <a:solidFill>
                  <a:prstClr val="black"/>
                </a:solidFill>
                <a:cs typeface="Calibri"/>
              </a:rPr>
              <a:t>Salesforce Admin</a:t>
            </a:r>
            <a:endParaRPr lang="en-IN" sz="1050" dirty="0">
              <a:solidFill>
                <a:prstClr val="black"/>
              </a:solidFill>
            </a:endParaRPr>
          </a:p>
          <a:p>
            <a:pPr marL="285750" lvl="0" indent="-285750">
              <a:buFont typeface="Arial" panose="020B0604020202020204" pitchFamily="34" charset="0"/>
              <a:buChar char="•"/>
              <a:defRPr/>
            </a:pPr>
            <a:endParaRPr lang="en-IN" sz="1100" i="1" dirty="0">
              <a:solidFill>
                <a:prstClr val="black"/>
              </a:solidFill>
              <a:cs typeface="Arial"/>
            </a:endParaRPr>
          </a:p>
          <a:p>
            <a:pPr marL="285750" lvl="0" indent="-285750">
              <a:buFont typeface="Arial" panose="020B0604020202020204" pitchFamily="34" charset="0"/>
              <a:buChar char="•"/>
              <a:defRPr/>
            </a:pPr>
            <a:endParaRPr lang="en-IN" sz="1100" i="1" dirty="0">
              <a:solidFill>
                <a:prstClr val="black"/>
              </a:solidFill>
            </a:endParaRPr>
          </a:p>
        </p:txBody>
      </p:sp>
      <p:cxnSp>
        <p:nvCxnSpPr>
          <p:cNvPr id="10" name="Straight Connector 9">
            <a:extLst>
              <a:ext uri="{FF2B5EF4-FFF2-40B4-BE49-F238E27FC236}">
                <a16:creationId xmlns:a16="http://schemas.microsoft.com/office/drawing/2014/main" id="{9EC7C76D-C97F-A772-876E-CF1BFD86BA7C}"/>
              </a:ext>
            </a:extLst>
          </p:cNvPr>
          <p:cNvCxnSpPr>
            <a:cxnSpLocks/>
          </p:cNvCxnSpPr>
          <p:nvPr/>
        </p:nvCxnSpPr>
        <p:spPr>
          <a:xfrm>
            <a:off x="3678685" y="542725"/>
            <a:ext cx="0" cy="594241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TextBox 12">
            <a:extLst>
              <a:ext uri="{FF2B5EF4-FFF2-40B4-BE49-F238E27FC236}">
                <a16:creationId xmlns:a16="http://schemas.microsoft.com/office/drawing/2014/main" id="{64F2C042-721B-7A4B-4E4A-9CBC8967A8B0}"/>
              </a:ext>
            </a:extLst>
          </p:cNvPr>
          <p:cNvSpPr txBox="1"/>
          <p:nvPr/>
        </p:nvSpPr>
        <p:spPr>
          <a:xfrm>
            <a:off x="1532002" y="981959"/>
            <a:ext cx="2061224" cy="1304268"/>
          </a:xfrm>
          <a:prstGeom prst="rect">
            <a:avLst/>
          </a:prstGeom>
          <a:noFill/>
        </p:spPr>
        <p:txBody>
          <a:bodyPr wrap="square" lIns="91440" tIns="45720" rIns="91440" bIns="45720" rtlCol="0" anchor="t">
            <a:spAutoFit/>
          </a:bodyPr>
          <a:lstStyle/>
          <a:p>
            <a:pPr>
              <a:lnSpc>
                <a:spcPts val="1600"/>
              </a:lnSpc>
              <a:spcBef>
                <a:spcPts val="0"/>
              </a:spcBef>
            </a:pPr>
            <a:r>
              <a:rPr lang="en-US" sz="1100" b="1" dirty="0">
                <a:cs typeface="Arial"/>
              </a:rPr>
              <a:t>rahul.patil@brillio.com</a:t>
            </a:r>
          </a:p>
          <a:p>
            <a:pPr>
              <a:lnSpc>
                <a:spcPts val="1600"/>
              </a:lnSpc>
            </a:pPr>
            <a:r>
              <a:rPr lang="en-US" sz="1100" b="1" dirty="0">
                <a:cs typeface="Arial"/>
              </a:rPr>
              <a:t>Bengaluru, India</a:t>
            </a:r>
          </a:p>
          <a:p>
            <a:pPr>
              <a:lnSpc>
                <a:spcPts val="1600"/>
              </a:lnSpc>
            </a:pPr>
            <a:endParaRPr lang="en-US" sz="1100" b="1" dirty="0">
              <a:cs typeface="Arial"/>
            </a:endParaRPr>
          </a:p>
          <a:p>
            <a:pPr>
              <a:lnSpc>
                <a:spcPts val="1600"/>
              </a:lnSpc>
            </a:pPr>
            <a:r>
              <a:rPr lang="en-US" sz="1100" b="1" dirty="0">
                <a:cs typeface="Arial"/>
              </a:rPr>
              <a:t>Industry Experience: </a:t>
            </a:r>
          </a:p>
          <a:p>
            <a:pPr>
              <a:lnSpc>
                <a:spcPts val="1600"/>
              </a:lnSpc>
            </a:pPr>
            <a:r>
              <a:rPr lang="en-US" sz="1100" dirty="0">
                <a:cs typeface="Arial"/>
              </a:rPr>
              <a:t>Insurance , MedTech and Telecommunication</a:t>
            </a:r>
            <a:endParaRPr lang="en-US" dirty="0"/>
          </a:p>
        </p:txBody>
      </p:sp>
      <p:pic>
        <p:nvPicPr>
          <p:cNvPr id="11" name="Picture 10" descr="A person in a suit&#10;&#10;Description automatically generated">
            <a:extLst>
              <a:ext uri="{FF2B5EF4-FFF2-40B4-BE49-F238E27FC236}">
                <a16:creationId xmlns:a16="http://schemas.microsoft.com/office/drawing/2014/main" id="{01D6FBFE-350F-3F58-71B9-A9800E2FE579}"/>
              </a:ext>
            </a:extLst>
          </p:cNvPr>
          <p:cNvPicPr>
            <a:picLocks/>
          </p:cNvPicPr>
          <p:nvPr/>
        </p:nvPicPr>
        <p:blipFill>
          <a:blip r:embed="rId2"/>
          <a:stretch>
            <a:fillRect/>
          </a:stretch>
        </p:blipFill>
        <p:spPr>
          <a:xfrm>
            <a:off x="65156" y="724802"/>
            <a:ext cx="1463040" cy="1463040"/>
          </a:xfrm>
          <a:prstGeom prst="ellipse">
            <a:avLst/>
          </a:prstGeom>
          <a:ln>
            <a:solidFill>
              <a:srgbClr val="92D050"/>
            </a:solidFill>
          </a:ln>
        </p:spPr>
      </p:pic>
      <p:sp>
        <p:nvSpPr>
          <p:cNvPr id="14" name="TextBox 13">
            <a:extLst>
              <a:ext uri="{FF2B5EF4-FFF2-40B4-BE49-F238E27FC236}">
                <a16:creationId xmlns:a16="http://schemas.microsoft.com/office/drawing/2014/main" id="{07169C57-86F7-C6F8-D496-96F783BCD192}"/>
              </a:ext>
            </a:extLst>
          </p:cNvPr>
          <p:cNvSpPr txBox="1"/>
          <p:nvPr/>
        </p:nvSpPr>
        <p:spPr>
          <a:xfrm>
            <a:off x="205921" y="5607927"/>
            <a:ext cx="6096000" cy="430887"/>
          </a:xfrm>
          <a:prstGeom prst="rect">
            <a:avLst/>
          </a:prstGeom>
          <a:noFill/>
        </p:spPr>
        <p:txBody>
          <a:bodyPr wrap="square">
            <a:spAutoFit/>
          </a:bodyPr>
          <a:lstStyle/>
          <a:p>
            <a:pPr>
              <a:defRPr/>
            </a:pPr>
            <a:r>
              <a:rPr lang="en-IN" sz="1100" b="1" dirty="0">
                <a:solidFill>
                  <a:srgbClr val="00B050"/>
                </a:solidFill>
                <a:cs typeface="Arial"/>
              </a:rPr>
              <a:t>Recent Roles</a:t>
            </a:r>
            <a:endParaRPr lang="en-IN" sz="1100" dirty="0">
              <a:cs typeface="Arial"/>
            </a:endParaRPr>
          </a:p>
          <a:p>
            <a:pPr marL="118745" indent="-118745">
              <a:buFont typeface="Arial"/>
              <a:buChar char="•"/>
              <a:defRPr/>
            </a:pPr>
            <a:r>
              <a:rPr lang="en-US" sz="1100" dirty="0">
                <a:solidFill>
                  <a:schemeClr val="bg2">
                    <a:lumMod val="10000"/>
                  </a:schemeClr>
                </a:solidFill>
                <a:cs typeface="Arial"/>
              </a:rPr>
              <a:t>Technical Architect, Application Architect </a:t>
            </a:r>
            <a:endParaRPr lang="en-IN" sz="1100" dirty="0">
              <a:solidFill>
                <a:schemeClr val="bg2">
                  <a:lumMod val="10000"/>
                </a:schemeClr>
              </a:solidFill>
              <a:cs typeface="Arial" panose="020B0604020202020204"/>
            </a:endParaRPr>
          </a:p>
        </p:txBody>
      </p:sp>
      <p:sp>
        <p:nvSpPr>
          <p:cNvPr id="15" name="TextBox 14">
            <a:extLst>
              <a:ext uri="{FF2B5EF4-FFF2-40B4-BE49-F238E27FC236}">
                <a16:creationId xmlns:a16="http://schemas.microsoft.com/office/drawing/2014/main" id="{459205CB-AEC7-70CF-9A29-04B42484C9BF}"/>
              </a:ext>
            </a:extLst>
          </p:cNvPr>
          <p:cNvSpPr txBox="1"/>
          <p:nvPr/>
        </p:nvSpPr>
        <p:spPr>
          <a:xfrm>
            <a:off x="205921" y="6087094"/>
            <a:ext cx="7544633" cy="430887"/>
          </a:xfrm>
          <a:prstGeom prst="rect">
            <a:avLst/>
          </a:prstGeom>
          <a:noFill/>
        </p:spPr>
        <p:txBody>
          <a:bodyPr wrap="square" rtlCol="0">
            <a:spAutoFit/>
          </a:bodyPr>
          <a:lstStyle/>
          <a:p>
            <a:r>
              <a:rPr lang="en-IN" sz="1100" b="1" dirty="0">
                <a:solidFill>
                  <a:srgbClr val="00B050"/>
                </a:solidFill>
              </a:rPr>
              <a:t>Key Clients</a:t>
            </a:r>
          </a:p>
          <a:p>
            <a:pPr marL="171450" indent="-171450">
              <a:buFont typeface="Arial" panose="020B0604020202020204" pitchFamily="34" charset="0"/>
              <a:buChar char="•"/>
            </a:pPr>
            <a:endParaRPr lang="en-US" sz="1100" dirty="0">
              <a:ea typeface="Calibri" panose="020F0502020204030204" pitchFamily="34" charset="0"/>
              <a:cs typeface="Arial" panose="020B0604020202020204" pitchFamily="34" charset="0"/>
              <a:sym typeface="Wingdings" panose="05000000000000000000" pitchFamily="2" charset="2"/>
            </a:endParaRPr>
          </a:p>
        </p:txBody>
      </p:sp>
      <p:sp>
        <p:nvSpPr>
          <p:cNvPr id="16" name="TextBox 15">
            <a:extLst>
              <a:ext uri="{FF2B5EF4-FFF2-40B4-BE49-F238E27FC236}">
                <a16:creationId xmlns:a16="http://schemas.microsoft.com/office/drawing/2014/main" id="{3589126B-ECB2-6B85-308F-B7BF01737461}"/>
              </a:ext>
            </a:extLst>
          </p:cNvPr>
          <p:cNvSpPr txBox="1"/>
          <p:nvPr/>
        </p:nvSpPr>
        <p:spPr>
          <a:xfrm>
            <a:off x="215312" y="6302538"/>
            <a:ext cx="3124762" cy="553998"/>
          </a:xfrm>
          <a:prstGeom prst="rect">
            <a:avLst/>
          </a:prstGeom>
          <a:noFill/>
        </p:spPr>
        <p:txBody>
          <a:bodyPr wrap="square" numCol="3">
            <a:spAutoFit/>
          </a:bodyPr>
          <a:lstStyle/>
          <a:p>
            <a:pPr marL="171450" indent="-171450">
              <a:buFont typeface="Arial" panose="020B0604020202020204" pitchFamily="34" charset="0"/>
              <a:buChar char="•"/>
            </a:pPr>
            <a:r>
              <a:rPr lang="en-US" sz="1000" dirty="0"/>
              <a:t>iRhythm</a:t>
            </a:r>
          </a:p>
          <a:p>
            <a:pPr marL="171450" indent="-171450">
              <a:buFont typeface="Arial" panose="020B0604020202020204" pitchFamily="34" charset="0"/>
              <a:buChar char="•"/>
            </a:pPr>
            <a:r>
              <a:rPr lang="en-US" sz="1000" dirty="0">
                <a:solidFill>
                  <a:srgbClr val="000000"/>
                </a:solidFill>
                <a:cs typeface="Arial"/>
              </a:rPr>
              <a:t>Sprinklr</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Lexmark</a:t>
            </a:r>
          </a:p>
          <a:p>
            <a:pPr marL="171450" indent="-171450">
              <a:buFont typeface="Arial" panose="020B0604020202020204" pitchFamily="34" charset="0"/>
              <a:buChar char="•"/>
            </a:pPr>
            <a:endParaRPr lang="en-US" sz="1000" dirty="0"/>
          </a:p>
        </p:txBody>
      </p:sp>
    </p:spTree>
    <p:extLst>
      <p:ext uri="{BB962C8B-B14F-4D97-AF65-F5344CB8AC3E}">
        <p14:creationId xmlns:p14="http://schemas.microsoft.com/office/powerpoint/2010/main" val="2698027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p:txBody>
          <a:bodyPr/>
          <a:lstStyle/>
          <a:p>
            <a:r>
              <a:rPr lang="en-GB" dirty="0"/>
              <a:t>©2024 Brillio  |  </a:t>
            </a:r>
            <a:fld id="{F1FE5E21-FD07-B44E-90A3-0254BFCDB49A}" type="slidenum">
              <a:rPr smtClean="0"/>
              <a:pPr/>
              <a:t>13</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365760" y="314325"/>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Rahul Patil, Senior Development Lead</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430005" y="963578"/>
            <a:ext cx="10974749" cy="5109091"/>
          </a:xfrm>
          <a:prstGeom prst="rect">
            <a:avLst/>
          </a:prstGeom>
          <a:noFill/>
        </p:spPr>
        <p:txBody>
          <a:bodyPr wrap="square" lIns="91440" tIns="45720" rIns="91440" bIns="45720" rtlCol="0" anchor="t">
            <a:spAutoFit/>
          </a:bodyPr>
          <a:lstStyle/>
          <a:p>
            <a:r>
              <a:rPr lang="en-US" sz="1100" b="1" dirty="0">
                <a:solidFill>
                  <a:srgbClr val="000000"/>
                </a:solidFill>
                <a:cs typeface="Arial"/>
              </a:rPr>
              <a:t>Sprinklr</a:t>
            </a:r>
            <a:r>
              <a:rPr lang="en-US" sz="1100" b="1" dirty="0">
                <a:cs typeface="Arial"/>
              </a:rPr>
              <a:t>:</a:t>
            </a:r>
            <a:r>
              <a:rPr lang="en-US" sz="1100" dirty="0">
                <a:cs typeface="Arial"/>
              </a:rPr>
              <a:t> </a:t>
            </a:r>
            <a:r>
              <a:rPr lang="en-US" sz="1100" dirty="0">
                <a:solidFill>
                  <a:srgbClr val="000000"/>
                </a:solidFill>
                <a:cs typeface="Arial"/>
              </a:rPr>
              <a:t>App Exchange Product Development and Security Review</a:t>
            </a:r>
            <a:endParaRPr lang="en-US" sz="1100" dirty="0">
              <a:cs typeface="Arial"/>
            </a:endParaRPr>
          </a:p>
          <a:p>
            <a:pPr marL="171450" indent="-171450">
              <a:spcBef>
                <a:spcPts val="600"/>
              </a:spcBef>
              <a:spcAft>
                <a:spcPct val="0"/>
              </a:spcAft>
              <a:buFont typeface="Arial"/>
              <a:buChar char="•"/>
            </a:pPr>
            <a:r>
              <a:rPr lang="en-US" sz="1100" dirty="0">
                <a:solidFill>
                  <a:srgbClr val="000000"/>
                </a:solidFill>
                <a:cs typeface="Arial"/>
              </a:rPr>
              <a:t>Responsible for App listing and Security Review planning.</a:t>
            </a:r>
          </a:p>
          <a:p>
            <a:pPr marL="171450" indent="-171450">
              <a:spcBef>
                <a:spcPts val="600"/>
              </a:spcBef>
              <a:spcAft>
                <a:spcPct val="0"/>
              </a:spcAft>
              <a:buFont typeface="Arial"/>
              <a:buChar char="•"/>
            </a:pPr>
            <a:r>
              <a:rPr lang="en-US" sz="1100" dirty="0">
                <a:solidFill>
                  <a:srgbClr val="000000"/>
                </a:solidFill>
                <a:cs typeface="Arial"/>
              </a:rPr>
              <a:t>Implemented Code changes to make app code salesforce app exchange security complaint.</a:t>
            </a:r>
          </a:p>
          <a:p>
            <a:pPr marL="171450" indent="-171450">
              <a:spcBef>
                <a:spcPts val="600"/>
              </a:spcBef>
              <a:spcAft>
                <a:spcPct val="0"/>
              </a:spcAft>
              <a:buFont typeface="Arial"/>
              <a:buChar char="•"/>
            </a:pPr>
            <a:r>
              <a:rPr lang="en-US" sz="1100" dirty="0">
                <a:solidFill>
                  <a:srgbClr val="000000"/>
                </a:solidFill>
                <a:cs typeface="Arial"/>
              </a:rPr>
              <a:t>Scanning the app using Checkmarx scanner and make necessary adjustments in the app to make it security complaint.</a:t>
            </a:r>
          </a:p>
          <a:p>
            <a:pPr marL="171450" indent="-171450">
              <a:spcBef>
                <a:spcPts val="600"/>
              </a:spcBef>
              <a:spcAft>
                <a:spcPct val="0"/>
              </a:spcAft>
              <a:buFont typeface="Arial"/>
              <a:buChar char="•"/>
            </a:pPr>
            <a:r>
              <a:rPr lang="en-US" sz="1100" dirty="0">
                <a:solidFill>
                  <a:srgbClr val="000000"/>
                </a:solidFill>
                <a:cs typeface="Arial"/>
              </a:rPr>
              <a:t>Post Successful security review by Salesforce the app was hosted in the App exchange resulting in improved revenues for Sprinklr.</a:t>
            </a:r>
          </a:p>
          <a:p>
            <a:pPr lvl="1">
              <a:spcBef>
                <a:spcPts val="600"/>
              </a:spcBef>
              <a:spcAft>
                <a:spcPct val="0"/>
              </a:spcAft>
            </a:pPr>
            <a:endParaRPr lang="en-US" sz="1100" dirty="0">
              <a:solidFill>
                <a:srgbClr val="000000"/>
              </a:solidFill>
              <a:cs typeface="Arial"/>
            </a:endParaRPr>
          </a:p>
          <a:p>
            <a:pPr>
              <a:spcBef>
                <a:spcPts val="600"/>
              </a:spcBef>
              <a:spcAft>
                <a:spcPct val="0"/>
              </a:spcAft>
            </a:pPr>
            <a:r>
              <a:rPr lang="en-US" sz="1100" b="1" dirty="0">
                <a:solidFill>
                  <a:srgbClr val="000000"/>
                </a:solidFill>
                <a:cs typeface="Arial"/>
              </a:rPr>
              <a:t>Allstate</a:t>
            </a:r>
            <a:r>
              <a:rPr lang="en-US" sz="1100" b="1" dirty="0">
                <a:cs typeface="Arial"/>
              </a:rPr>
              <a:t> :</a:t>
            </a:r>
            <a:r>
              <a:rPr lang="en-US" sz="1100" dirty="0">
                <a:cs typeface="Arial"/>
              </a:rPr>
              <a:t> </a:t>
            </a:r>
            <a:r>
              <a:rPr lang="en-US" sz="1100" dirty="0">
                <a:solidFill>
                  <a:srgbClr val="000000"/>
                </a:solidFill>
                <a:cs typeface="Arial"/>
              </a:rPr>
              <a:t>New Agency Onboarding - Sales and Experience Cloud Implementation</a:t>
            </a:r>
          </a:p>
          <a:p>
            <a:pPr marL="171450" indent="-171450">
              <a:spcBef>
                <a:spcPts val="600"/>
              </a:spcBef>
              <a:spcAft>
                <a:spcPct val="0"/>
              </a:spcAft>
              <a:buFont typeface="Arial,Sans-Serif"/>
              <a:buChar char="•"/>
            </a:pPr>
            <a:r>
              <a:rPr lang="en-US" sz="1100" dirty="0">
                <a:solidFill>
                  <a:srgbClr val="000000"/>
                </a:solidFill>
                <a:cs typeface="Arial"/>
              </a:rPr>
              <a:t>Inefficient use of Salesforce to onboard new agencies resulting in 45 days to onboard new agencies.</a:t>
            </a:r>
            <a:endParaRPr lang="en-US" sz="1100" dirty="0">
              <a:solidFill>
                <a:srgbClr val="201646"/>
              </a:solidFill>
              <a:cs typeface="Arial"/>
            </a:endParaRPr>
          </a:p>
          <a:p>
            <a:pPr marL="171450" indent="-171450">
              <a:spcBef>
                <a:spcPts val="600"/>
              </a:spcBef>
              <a:spcAft>
                <a:spcPct val="0"/>
              </a:spcAft>
              <a:buFont typeface="Arial,Sans-Serif"/>
              <a:buChar char="•"/>
            </a:pPr>
            <a:r>
              <a:rPr lang="en-US" sz="1100" dirty="0">
                <a:solidFill>
                  <a:srgbClr val="000000"/>
                </a:solidFill>
                <a:cs typeface="Arial"/>
              </a:rPr>
              <a:t>Development of new Agency Onboarding process using Vlocity Managed App and Sales Cloud..</a:t>
            </a:r>
          </a:p>
          <a:p>
            <a:pPr marL="171450" indent="-171450">
              <a:spcBef>
                <a:spcPts val="600"/>
              </a:spcBef>
              <a:spcAft>
                <a:spcPct val="0"/>
              </a:spcAft>
              <a:buFont typeface="Arial,Sans-Serif"/>
              <a:buChar char="•"/>
            </a:pPr>
            <a:r>
              <a:rPr lang="en-US" sz="1100" dirty="0">
                <a:solidFill>
                  <a:srgbClr val="000000"/>
                </a:solidFill>
                <a:cs typeface="Arial"/>
              </a:rPr>
              <a:t>Worked extensively on Omniscripts and Data raptors as an alternate to Aura/LWC using Vlocity application..</a:t>
            </a:r>
          </a:p>
          <a:p>
            <a:pPr marL="171450" indent="-171450">
              <a:spcBef>
                <a:spcPts val="600"/>
              </a:spcBef>
              <a:spcAft>
                <a:spcPct val="0"/>
              </a:spcAft>
              <a:buFont typeface="Arial,Sans-Serif"/>
              <a:buChar char="•"/>
            </a:pPr>
            <a:r>
              <a:rPr lang="en-US" sz="1100" dirty="0">
                <a:solidFill>
                  <a:srgbClr val="000000"/>
                </a:solidFill>
                <a:cs typeface="Arial"/>
              </a:rPr>
              <a:t>Implemented Partner Community Portal from scratch for the agencies.</a:t>
            </a:r>
          </a:p>
          <a:p>
            <a:pPr marL="171450" indent="-171450">
              <a:spcBef>
                <a:spcPts val="600"/>
              </a:spcBef>
              <a:spcAft>
                <a:spcPct val="0"/>
              </a:spcAft>
              <a:buFont typeface="Arial,Sans-Serif"/>
              <a:buChar char="•"/>
            </a:pPr>
            <a:r>
              <a:rPr lang="en-US" sz="1100" dirty="0">
                <a:solidFill>
                  <a:srgbClr val="000000"/>
                </a:solidFill>
                <a:cs typeface="Arial"/>
              </a:rPr>
              <a:t>This implementation reduced</a:t>
            </a:r>
            <a:r>
              <a:rPr lang="en-US" sz="1100" dirty="0">
                <a:solidFill>
                  <a:srgbClr val="000000"/>
                </a:solidFill>
                <a:ea typeface="+mn-lt"/>
                <a:cs typeface="+mn-lt"/>
              </a:rPr>
              <a:t> Onboarding of an agents to 72 hours from 45 days.</a:t>
            </a:r>
            <a:endParaRPr lang="en-US" sz="1100" dirty="0">
              <a:solidFill>
                <a:srgbClr val="000000"/>
              </a:solidFill>
              <a:cs typeface="Arial"/>
            </a:endParaRPr>
          </a:p>
          <a:p>
            <a:pPr marL="171450" indent="-171450">
              <a:spcBef>
                <a:spcPts val="600"/>
              </a:spcBef>
              <a:spcAft>
                <a:spcPct val="0"/>
              </a:spcAft>
              <a:buFont typeface="Arial,Sans-Serif"/>
              <a:buChar char="•"/>
            </a:pPr>
            <a:r>
              <a:rPr lang="en-US" sz="1100" dirty="0">
                <a:solidFill>
                  <a:srgbClr val="000000"/>
                </a:solidFill>
                <a:cs typeface="Arial"/>
              </a:rPr>
              <a:t>Completely paperless onboarding process after integration with DocuSign avoiding mistakes resulting in delayed onboarding.</a:t>
            </a:r>
          </a:p>
          <a:p>
            <a:pPr>
              <a:spcBef>
                <a:spcPts val="600"/>
              </a:spcBef>
              <a:spcAft>
                <a:spcPct val="0"/>
              </a:spcAft>
            </a:pPr>
            <a:endParaRPr lang="en-US" sz="1100" dirty="0">
              <a:solidFill>
                <a:srgbClr val="000000"/>
              </a:solidFill>
              <a:cs typeface="Arial"/>
            </a:endParaRPr>
          </a:p>
          <a:p>
            <a:pPr>
              <a:spcBef>
                <a:spcPts val="600"/>
              </a:spcBef>
              <a:spcAft>
                <a:spcPct val="0"/>
              </a:spcAft>
            </a:pPr>
            <a:r>
              <a:rPr lang="en-US" sz="1100" b="1" dirty="0">
                <a:solidFill>
                  <a:srgbClr val="000000"/>
                </a:solidFill>
                <a:cs typeface="Arial"/>
              </a:rPr>
              <a:t>Capgemini:  </a:t>
            </a:r>
            <a:r>
              <a:rPr lang="en-US" sz="1100" dirty="0">
                <a:solidFill>
                  <a:srgbClr val="000000"/>
                </a:solidFill>
                <a:cs typeface="Arial"/>
              </a:rPr>
              <a:t>Managed Services</a:t>
            </a:r>
          </a:p>
          <a:p>
            <a:pPr marL="171450" indent="-171450">
              <a:spcBef>
                <a:spcPts val="600"/>
              </a:spcBef>
              <a:spcAft>
                <a:spcPct val="0"/>
              </a:spcAft>
              <a:buFont typeface="Arial"/>
              <a:buChar char="•"/>
            </a:pPr>
            <a:r>
              <a:rPr lang="en-US" sz="1100" dirty="0">
                <a:solidFill>
                  <a:srgbClr val="000000"/>
                </a:solidFill>
                <a:cs typeface="Arial"/>
              </a:rPr>
              <a:t>Analysis of functional Specifications received from the client.</a:t>
            </a:r>
          </a:p>
          <a:p>
            <a:pPr marL="171450" indent="-171450">
              <a:spcBef>
                <a:spcPts val="600"/>
              </a:spcBef>
              <a:spcAft>
                <a:spcPct val="0"/>
              </a:spcAft>
              <a:buFont typeface="Arial"/>
              <a:buChar char="•"/>
            </a:pPr>
            <a:r>
              <a:rPr lang="en-US" sz="1100" dirty="0">
                <a:solidFill>
                  <a:srgbClr val="000000"/>
                </a:solidFill>
                <a:cs typeface="Arial"/>
              </a:rPr>
              <a:t>Implemented Apex Classes &amp; Triggers for complex automation requirements.</a:t>
            </a:r>
          </a:p>
          <a:p>
            <a:pPr marL="171450" indent="-171450">
              <a:spcBef>
                <a:spcPts val="600"/>
              </a:spcBef>
              <a:spcAft>
                <a:spcPct val="0"/>
              </a:spcAft>
              <a:buFont typeface="Arial"/>
              <a:buChar char="•"/>
            </a:pPr>
            <a:r>
              <a:rPr lang="en-US" sz="1100" dirty="0">
                <a:solidFill>
                  <a:srgbClr val="000000"/>
                </a:solidFill>
                <a:cs typeface="Arial"/>
              </a:rPr>
              <a:t>Designing &amp; providing optimal solutions</a:t>
            </a:r>
          </a:p>
          <a:p>
            <a:pPr marL="171450" indent="-171450">
              <a:spcBef>
                <a:spcPts val="600"/>
              </a:spcBef>
              <a:spcAft>
                <a:spcPct val="0"/>
              </a:spcAft>
              <a:buFont typeface="Arial"/>
              <a:buChar char="•"/>
            </a:pPr>
            <a:r>
              <a:rPr lang="en-US" sz="1100" dirty="0">
                <a:solidFill>
                  <a:srgbClr val="000000"/>
                </a:solidFill>
                <a:cs typeface="Arial"/>
              </a:rPr>
              <a:t>Designing Test Case Documents and involved in Functional and Unit Testing.</a:t>
            </a:r>
            <a:endParaRPr lang="en-US" sz="1100" dirty="0">
              <a:solidFill>
                <a:srgbClr val="000000"/>
              </a:solidFill>
              <a:ea typeface="+mn-lt"/>
              <a:cs typeface="+mn-lt"/>
            </a:endParaRPr>
          </a:p>
          <a:p>
            <a:pPr marL="171450" indent="-171450">
              <a:spcBef>
                <a:spcPts val="600"/>
              </a:spcBef>
              <a:spcAft>
                <a:spcPct val="0"/>
              </a:spcAft>
              <a:buFont typeface="Arial"/>
              <a:buChar char="•"/>
            </a:pPr>
            <a:r>
              <a:rPr lang="en-US" sz="1100" dirty="0">
                <a:solidFill>
                  <a:srgbClr val="000000"/>
                </a:solidFill>
                <a:cs typeface="Arial"/>
              </a:rPr>
              <a:t>Worked as a standby support agent during on call hours. </a:t>
            </a:r>
          </a:p>
          <a:p>
            <a:endParaRPr lang="en-IN" sz="1100" b="1" dirty="0">
              <a:cs typeface="Arial"/>
            </a:endParaRPr>
          </a:p>
        </p:txBody>
      </p:sp>
    </p:spTree>
    <p:extLst>
      <p:ext uri="{BB962C8B-B14F-4D97-AF65-F5344CB8AC3E}">
        <p14:creationId xmlns:p14="http://schemas.microsoft.com/office/powerpoint/2010/main" val="3724892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ACFD9C-DD6D-E0D0-D2F7-BB9D24ED1BD4}"/>
              </a:ext>
            </a:extLst>
          </p:cNvPr>
          <p:cNvSpPr>
            <a:spLocks noGrp="1"/>
          </p:cNvSpPr>
          <p:nvPr>
            <p:ph type="ctrTitle"/>
          </p:nvPr>
        </p:nvSpPr>
        <p:spPr/>
        <p:txBody>
          <a:bodyPr>
            <a:normAutofit fontScale="90000"/>
          </a:bodyPr>
          <a:lstStyle/>
          <a:p>
            <a:r>
              <a:rPr lang="en-US" sz="6000" dirty="0"/>
              <a:t>Thank You</a:t>
            </a:r>
            <a:br>
              <a:rPr lang="en-US" dirty="0"/>
            </a:br>
            <a:br>
              <a:rPr lang="en-US" dirty="0"/>
            </a:br>
            <a:r>
              <a:rPr lang="en-US" sz="4000" dirty="0">
                <a:solidFill>
                  <a:srgbClr val="2CC84D"/>
                </a:solidFill>
              </a:rPr>
              <a:t>Let’s create something </a:t>
            </a:r>
            <a:br>
              <a:rPr lang="en-US" sz="4000" dirty="0">
                <a:solidFill>
                  <a:srgbClr val="2CC84D"/>
                </a:solidFill>
              </a:rPr>
            </a:br>
            <a:r>
              <a:rPr lang="en-US" sz="4000" dirty="0">
                <a:solidFill>
                  <a:srgbClr val="2CC84D"/>
                </a:solidFill>
              </a:rPr>
              <a:t>amazing together</a:t>
            </a:r>
            <a:endParaRPr lang="en-IN" dirty="0">
              <a:solidFill>
                <a:srgbClr val="2CC84D"/>
              </a:solidFill>
            </a:endParaRPr>
          </a:p>
        </p:txBody>
      </p:sp>
    </p:spTree>
    <p:extLst>
      <p:ext uri="{BB962C8B-B14F-4D97-AF65-F5344CB8AC3E}">
        <p14:creationId xmlns:p14="http://schemas.microsoft.com/office/powerpoint/2010/main" val="3998851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366FD8E-F5D6-ED46-81F7-E0FA22AB0478}"/>
              </a:ext>
            </a:extLst>
          </p:cNvPr>
          <p:cNvSpPr>
            <a:spLocks noGrp="1"/>
          </p:cNvSpPr>
          <p:nvPr>
            <p:ph type="title"/>
          </p:nvPr>
        </p:nvSpPr>
        <p:spPr>
          <a:xfrm>
            <a:off x="365760" y="381000"/>
            <a:ext cx="7119561" cy="5349875"/>
          </a:xfrm>
        </p:spPr>
        <p:txBody>
          <a:bodyPr/>
          <a:lstStyle/>
          <a:p>
            <a:r>
              <a:rPr lang="en-US" sz="2800" b="1" dirty="0">
                <a:solidFill>
                  <a:srgbClr val="2CC84D"/>
                </a:solidFill>
              </a:rPr>
              <a:t>#1 </a:t>
            </a:r>
            <a:r>
              <a:rPr lang="en-US" sz="2800" dirty="0">
                <a:solidFill>
                  <a:srgbClr val="FFFFFF"/>
                </a:solidFill>
                <a:latin typeface="Arial" panose="020B0604020202020204"/>
                <a:cs typeface="Arial"/>
              </a:rPr>
              <a:t>Practitioners for </a:t>
            </a:r>
            <a:r>
              <a:rPr lang="en-US" sz="2800" b="1" dirty="0">
                <a:solidFill>
                  <a:srgbClr val="2CC84D"/>
                </a:solidFill>
              </a:rPr>
              <a:t>Lending Application </a:t>
            </a:r>
          </a:p>
        </p:txBody>
      </p:sp>
    </p:spTree>
    <p:extLst>
      <p:ext uri="{BB962C8B-B14F-4D97-AF65-F5344CB8AC3E}">
        <p14:creationId xmlns:p14="http://schemas.microsoft.com/office/powerpoint/2010/main" val="754550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92B675D-4BD7-E224-7A56-0D0F19EBDB6C}"/>
              </a:ext>
            </a:extLst>
          </p:cNvPr>
          <p:cNvSpPr/>
          <p:nvPr/>
        </p:nvSpPr>
        <p:spPr>
          <a:xfrm>
            <a:off x="0" y="555462"/>
            <a:ext cx="3825595" cy="6302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p:txBody>
          <a:bodyPr/>
          <a:lstStyle/>
          <a:p>
            <a:r>
              <a:rPr lang="en-GB" dirty="0"/>
              <a:t>©2024 Brillio  |  </a:t>
            </a:r>
            <a:fld id="{F1FE5E21-FD07-B44E-90A3-0254BFCDB49A}" type="slidenum">
              <a:rPr smtClean="0"/>
              <a:pPr/>
              <a:t>3</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140970" y="141654"/>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Asalatha Channamallu, Integration Specialist (Salesforce, iPaaS)</a:t>
            </a:r>
            <a:endParaRPr lang="en-US" sz="2400" b="1" dirty="0"/>
          </a:p>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Arial"/>
                <a:ea typeface="+mj-ea"/>
                <a:cs typeface="Arial"/>
              </a:rPr>
              <a:t> </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2AABA743-DB29-119C-984C-DC6618BBD0C7}"/>
              </a:ext>
            </a:extLst>
          </p:cNvPr>
          <p:cNvSpPr txBox="1"/>
          <p:nvPr/>
        </p:nvSpPr>
        <p:spPr>
          <a:xfrm>
            <a:off x="129749" y="2079273"/>
            <a:ext cx="3657672"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B050"/>
                </a:solidFill>
                <a:effectLst/>
                <a:uLnTx/>
                <a:uFillTx/>
                <a:ea typeface="+mn-ea"/>
                <a:cs typeface="+mn-cs"/>
              </a:rPr>
              <a:t>Core Skill Sets</a:t>
            </a:r>
            <a:endParaRPr kumimoji="0" lang="en-IN" sz="1100" b="0" i="0" u="none" strike="noStrike" kern="1200" cap="none" spc="0" normalizeH="0" baseline="0" noProof="0" dirty="0">
              <a:ln>
                <a:noFill/>
              </a:ln>
              <a:solidFill>
                <a:srgbClr val="00B050"/>
              </a:solidFill>
              <a:effectLst/>
              <a:uLnTx/>
              <a:uFillTx/>
              <a:ea typeface="+mn-ea"/>
              <a:cs typeface="+mn-cs"/>
            </a:endParaRPr>
          </a:p>
          <a:p>
            <a:pPr marL="285750" indent="-285750">
              <a:buFont typeface="Arial" panose="020B0604020202020204" pitchFamily="34" charset="0"/>
              <a:buChar char="•"/>
              <a:defRPr/>
            </a:pPr>
            <a:r>
              <a:rPr lang="en-US" sz="1100" dirty="0">
                <a:cs typeface="Arial" panose="020B0604020202020204" pitchFamily="34" charset="0"/>
              </a:rPr>
              <a:t>Integration Architect, experience in MuleSoft, Boomi, IBM MQ, Kafka, Workato and custom integration development using Spring/Java</a:t>
            </a:r>
          </a:p>
          <a:p>
            <a:pPr marL="285750" indent="-285750">
              <a:buFont typeface="Arial" panose="020B0604020202020204" pitchFamily="34" charset="0"/>
              <a:buChar char="•"/>
              <a:defRPr/>
            </a:pPr>
            <a:r>
              <a:rPr lang="en-US" sz="1100" dirty="0">
                <a:cs typeface="Arial" panose="020B0604020202020204" pitchFamily="34" charset="0"/>
              </a:rPr>
              <a:t>Expertise in Lead-to-Revenue &amp; CPQ integrations with ERP systems like SAP, Workday, NetSuite </a:t>
            </a:r>
          </a:p>
          <a:p>
            <a:pPr marL="285750" indent="-285750">
              <a:buFont typeface="Arial" panose="020B0604020202020204" pitchFamily="34" charset="0"/>
              <a:buChar char="•"/>
              <a:defRPr/>
            </a:pPr>
            <a:r>
              <a:rPr lang="en-US" sz="1100" dirty="0">
                <a:ea typeface="Calibri" panose="020F0502020204030204" pitchFamily="34" charset="0"/>
                <a:cs typeface="Arial" panose="020B0604020202020204" pitchFamily="34" charset="0"/>
              </a:rPr>
              <a:t>Extensive experience in delivering integrations with complex B2B Commerce and  SaaS applications</a:t>
            </a:r>
          </a:p>
          <a:p>
            <a:pPr marL="285750" indent="-285750">
              <a:buFont typeface="Arial" panose="020B0604020202020204" pitchFamily="34" charset="0"/>
              <a:buChar char="•"/>
              <a:defRPr/>
            </a:pPr>
            <a:r>
              <a:rPr lang="en-US" sz="1100" dirty="0">
                <a:ea typeface="Calibri" panose="020F0502020204030204" pitchFamily="34" charset="0"/>
                <a:cs typeface="Arial" panose="020B0604020202020204" pitchFamily="34" charset="0"/>
              </a:rPr>
              <a:t>Extensive experience on data engineering and data lake implementations using cloud stack (Azure)</a:t>
            </a:r>
          </a:p>
          <a:p>
            <a:pPr marL="285750" indent="-285750">
              <a:buFont typeface="Arial" panose="020B0604020202020204" pitchFamily="34" charset="0"/>
              <a:buChar char="•"/>
              <a:defRPr/>
            </a:pPr>
            <a:r>
              <a:rPr lang="en-US" sz="1100" dirty="0">
                <a:ea typeface="Calibri" panose="020F0502020204030204" pitchFamily="34" charset="0"/>
                <a:cs typeface="Arial" panose="020B0604020202020204" pitchFamily="34" charset="0"/>
              </a:rPr>
              <a:t>Experience with data integration using tools like Talend, Airflow and custom ETL implementations</a:t>
            </a:r>
          </a:p>
          <a:p>
            <a:pPr>
              <a:defRPr/>
            </a:pPr>
            <a:endParaRPr lang="en-US" sz="1100" dirty="0">
              <a:ea typeface="Calibri" panose="020F0502020204030204" pitchFamily="34" charset="0"/>
              <a:cs typeface="Arial" panose="020B0604020202020204" pitchFamily="34" charset="0"/>
            </a:endParaRPr>
          </a:p>
          <a:p>
            <a:pPr marL="285750" indent="-285750">
              <a:buFont typeface="Arial" panose="020B0604020202020204" pitchFamily="34" charset="0"/>
              <a:buChar char="•"/>
              <a:defRPr/>
            </a:pPr>
            <a:endParaRPr lang="en-US" sz="1100" dirty="0">
              <a:cs typeface="Arial" panose="020B0604020202020204" pitchFamily="34" charset="0"/>
            </a:endParaRPr>
          </a:p>
          <a:p>
            <a:pPr marL="285750" indent="-285750">
              <a:buFont typeface="Arial" panose="020B0604020202020204" pitchFamily="34" charset="0"/>
              <a:buChar char="•"/>
              <a:defRPr/>
            </a:pPr>
            <a:endParaRPr lang="en-US" sz="1100" dirty="0">
              <a:cs typeface="Arial" panose="020B0604020202020204" pitchFamily="34" charset="0"/>
            </a:endParaRPr>
          </a:p>
          <a:p>
            <a:pPr marL="285750" lvl="0" indent="-285750">
              <a:buFont typeface="Arial" panose="020B0604020202020204" pitchFamily="34" charset="0"/>
              <a:buChar char="•"/>
              <a:defRPr/>
            </a:pPr>
            <a:endParaRPr lang="en-IN" sz="1100" i="1" dirty="0">
              <a:solidFill>
                <a:schemeClr val="tx1">
                  <a:lumMod val="50000"/>
                  <a:lumOff val="50000"/>
                </a:schemeClr>
              </a:solidFill>
            </a:endParaRPr>
          </a:p>
        </p:txBody>
      </p:sp>
      <p:sp>
        <p:nvSpPr>
          <p:cNvPr id="6" name="TextBox 5">
            <a:extLst>
              <a:ext uri="{FF2B5EF4-FFF2-40B4-BE49-F238E27FC236}">
                <a16:creationId xmlns:a16="http://schemas.microsoft.com/office/drawing/2014/main" id="{FAD7D10F-2CA0-B62C-602C-1D44C25427E7}"/>
              </a:ext>
            </a:extLst>
          </p:cNvPr>
          <p:cNvSpPr txBox="1"/>
          <p:nvPr/>
        </p:nvSpPr>
        <p:spPr>
          <a:xfrm>
            <a:off x="3825595" y="621532"/>
            <a:ext cx="7544633" cy="1223412"/>
          </a:xfrm>
          <a:prstGeom prst="rect">
            <a:avLst/>
          </a:prstGeom>
          <a:noFill/>
        </p:spPr>
        <p:txBody>
          <a:bodyPr wrap="square" lIns="91440" tIns="45720" rIns="91440" bIns="45720" rtlCol="0" anchor="t">
            <a:spAutoFit/>
          </a:bodyPr>
          <a:lstStyle/>
          <a:p>
            <a:r>
              <a:rPr lang="en-IN" sz="1100" b="1" dirty="0">
                <a:solidFill>
                  <a:srgbClr val="00B050"/>
                </a:solidFill>
              </a:rPr>
              <a:t>Professional Summary </a:t>
            </a:r>
            <a:endParaRPr lang="en-US" dirty="0"/>
          </a:p>
          <a:p>
            <a:pPr marL="171450" indent="-171450">
              <a:spcBef>
                <a:spcPts val="300"/>
              </a:spcBef>
              <a:buFont typeface="Arial" panose="020B0604020202020204" pitchFamily="34" charset="0"/>
              <a:buChar char="•"/>
            </a:pPr>
            <a:r>
              <a:rPr lang="en-US" sz="1100" dirty="0">
                <a:cs typeface="Arial"/>
              </a:rPr>
              <a:t>20+ years of experience in IT industry playing the role of a Technical Architect, COE Lead for integrations</a:t>
            </a:r>
          </a:p>
          <a:p>
            <a:pPr marL="171450" indent="-171450">
              <a:spcBef>
                <a:spcPts val="300"/>
              </a:spcBef>
              <a:buFont typeface="Arial" panose="020B0604020202020204" pitchFamily="34" charset="0"/>
              <a:buChar char="•"/>
            </a:pPr>
            <a:r>
              <a:rPr lang="en-US" sz="1100" dirty="0"/>
              <a:t>Seasoned experienced Integration Specialist and delivered large complex enterprise level end-to-end integration solution in Salesforce eco-system. She is recognized leader in integration space.</a:t>
            </a:r>
            <a:endParaRPr lang="en-US" sz="1100" dirty="0">
              <a:ea typeface="Calibri" panose="020F0502020204030204" pitchFamily="34" charset="0"/>
              <a:cs typeface="Arial" panose="020B0604020202020204" pitchFamily="34" charset="0"/>
            </a:endParaRPr>
          </a:p>
          <a:p>
            <a:pPr marL="171450" indent="-171450">
              <a:spcBef>
                <a:spcPts val="300"/>
              </a:spcBef>
              <a:buFont typeface="Arial" panose="020B0604020202020204" pitchFamily="34" charset="0"/>
              <a:buChar char="•"/>
            </a:pPr>
            <a:r>
              <a:rPr lang="en-US" sz="1100" dirty="0">
                <a:ea typeface="Calibri"/>
                <a:cs typeface="Arial"/>
              </a:rPr>
              <a:t>Prior Experiences </a:t>
            </a:r>
            <a:r>
              <a:rPr lang="en-US" sz="1100" dirty="0">
                <a:ea typeface="Calibri"/>
                <a:cs typeface="Arial"/>
                <a:sym typeface="Wingdings" panose="05000000000000000000" pitchFamily="2" charset="2"/>
              </a:rPr>
              <a:t> Worked as Engineering Director at Standav  Worked as a Technical Architect at LiquidHub (currently Capgemini)</a:t>
            </a:r>
            <a:endParaRPr lang="en-US" sz="1100" dirty="0">
              <a:ea typeface="Calibri"/>
              <a:cs typeface="Arial"/>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3796811" y="1938736"/>
            <a:ext cx="7804639" cy="4485843"/>
          </a:xfrm>
          <a:prstGeom prst="rect">
            <a:avLst/>
          </a:prstGeom>
          <a:noFill/>
        </p:spPr>
        <p:txBody>
          <a:bodyPr wrap="square" lIns="91440" tIns="45720" rIns="91440" bIns="45720" rtlCol="0" anchor="t">
            <a:spAutoFit/>
          </a:bodyPr>
          <a:lstStyle/>
          <a:p>
            <a:r>
              <a:rPr lang="en-IN" sz="1100" b="1" dirty="0">
                <a:solidFill>
                  <a:srgbClr val="00B050"/>
                </a:solidFill>
              </a:rPr>
              <a:t>Relevant Project Experience</a:t>
            </a:r>
          </a:p>
          <a:p>
            <a:endParaRPr lang="en-IN" sz="1100" dirty="0"/>
          </a:p>
          <a:p>
            <a:r>
              <a:rPr lang="en-US" sz="1100" b="1" dirty="0"/>
              <a:t>Client: McAfee, Integration Architect </a:t>
            </a:r>
          </a:p>
          <a:p>
            <a:pPr>
              <a:spcBef>
                <a:spcPts val="300"/>
              </a:spcBef>
            </a:pPr>
            <a:r>
              <a:rPr lang="en-US" sz="1100" dirty="0"/>
              <a:t>Led design and discovery for the McAfee’s FDT project which involved setting up their MDM Strategy, Event driven integration architecture for their B2B Partner portal. </a:t>
            </a:r>
          </a:p>
          <a:p>
            <a:pPr marL="171450" indent="-171450">
              <a:spcBef>
                <a:spcPts val="300"/>
              </a:spcBef>
              <a:buFont typeface="Arial" panose="020B0604020202020204" pitchFamily="34" charset="0"/>
              <a:buChar char="•"/>
            </a:pPr>
            <a:r>
              <a:rPr lang="en-US" sz="1100" dirty="0"/>
              <a:t>As integration Architect responsible for defining the integrations strategy </a:t>
            </a:r>
          </a:p>
          <a:p>
            <a:pPr marL="171450" indent="-171450">
              <a:spcBef>
                <a:spcPts val="300"/>
              </a:spcBef>
              <a:buFont typeface="Arial" panose="020B0604020202020204" pitchFamily="34" charset="0"/>
              <a:buChar char="•"/>
            </a:pPr>
            <a:r>
              <a:rPr lang="en-US" sz="1100" dirty="0"/>
              <a:t>Responsible for providing integration solution for B2B integrations </a:t>
            </a:r>
          </a:p>
          <a:p>
            <a:pPr marL="171450" indent="-171450">
              <a:spcBef>
                <a:spcPts val="300"/>
              </a:spcBef>
              <a:buFont typeface="Arial" panose="020B0604020202020204" pitchFamily="34" charset="0"/>
              <a:buChar char="•"/>
            </a:pPr>
            <a:r>
              <a:rPr lang="en-US" sz="1100" dirty="0"/>
              <a:t>Responsible for setting up MDM Strategy with practices </a:t>
            </a:r>
          </a:p>
          <a:p>
            <a:pPr marL="171450" indent="-171450">
              <a:spcBef>
                <a:spcPts val="300"/>
              </a:spcBef>
              <a:buFont typeface="Arial" panose="020B0604020202020204" pitchFamily="34" charset="0"/>
              <a:buChar char="•"/>
            </a:pPr>
            <a:r>
              <a:rPr lang="en-US" sz="1100" dirty="0"/>
              <a:t>Responsible for overall integration development and delivery along with release management </a:t>
            </a:r>
          </a:p>
          <a:p>
            <a:pPr lvl="1"/>
            <a:endParaRPr lang="en-US" sz="1100" dirty="0"/>
          </a:p>
          <a:p>
            <a:pPr marL="0" marR="0">
              <a:spcBef>
                <a:spcPts val="0"/>
              </a:spcBef>
              <a:spcAft>
                <a:spcPts val="0"/>
              </a:spcAft>
            </a:pPr>
            <a:r>
              <a:rPr lang="en-US" sz="1100" b="1" dirty="0"/>
              <a:t>Client: DoorDash, Integration Architect </a:t>
            </a:r>
          </a:p>
          <a:p>
            <a:pPr marR="0" lvl="0">
              <a:spcBef>
                <a:spcPts val="300"/>
              </a:spcBef>
              <a:spcAft>
                <a:spcPts val="0"/>
              </a:spcAft>
            </a:pPr>
            <a:r>
              <a:rPr lang="en-US" sz="1100" dirty="0"/>
              <a:t>Designed and developed APIs to support HR processes with in DoorDash organization. Supported integrations of systems like Workday, Charles Schwab, Pactsafe, Google Drive and NetSuite using Mulesoft. Responsible for designing the API’s and implementing in Mulesoft </a:t>
            </a:r>
          </a:p>
          <a:p>
            <a:pPr marL="171450" indent="-171450">
              <a:spcBef>
                <a:spcPts val="300"/>
              </a:spcBef>
              <a:buFont typeface="Arial" panose="020B0604020202020204" pitchFamily="34" charset="0"/>
              <a:buChar char="•"/>
            </a:pPr>
            <a:r>
              <a:rPr lang="en-US" sz="1100" dirty="0"/>
              <a:t>Worked closely with various stake holders to understand requirements and limitations of the systems that needs to be integrated.</a:t>
            </a:r>
          </a:p>
          <a:p>
            <a:pPr marL="171450" indent="-171450">
              <a:spcBef>
                <a:spcPts val="300"/>
              </a:spcBef>
              <a:buFont typeface="Arial" panose="020B0604020202020204" pitchFamily="34" charset="0"/>
              <a:buChar char="•"/>
            </a:pPr>
            <a:r>
              <a:rPr lang="en-US" sz="1100" dirty="0"/>
              <a:t>Responsible for producing architectural documents.</a:t>
            </a:r>
          </a:p>
          <a:p>
            <a:pPr marL="171450" indent="-171450">
              <a:spcBef>
                <a:spcPts val="300"/>
              </a:spcBef>
              <a:buFont typeface="Arial" panose="020B0604020202020204" pitchFamily="34" charset="0"/>
              <a:buChar char="•"/>
            </a:pPr>
            <a:r>
              <a:rPr lang="en-US" sz="1100" dirty="0"/>
              <a:t>Supported existing Mulesoft applications by providing production support, implementing enhancements and bug fixes.</a:t>
            </a:r>
          </a:p>
          <a:p>
            <a:pPr marL="171450" indent="-171450">
              <a:spcBef>
                <a:spcPts val="300"/>
              </a:spcBef>
              <a:buFont typeface="Arial" panose="020B0604020202020204" pitchFamily="34" charset="0"/>
              <a:buChar char="•"/>
            </a:pPr>
            <a:r>
              <a:rPr lang="en-US" sz="1100" dirty="0"/>
              <a:t>Integrated various end systems like Pactsafe, Google Drive, Workday and NetSuite with MuleSoft Anypoint Platform. </a:t>
            </a:r>
          </a:p>
          <a:p>
            <a:pPr marL="171450" indent="-171450">
              <a:spcBef>
                <a:spcPts val="300"/>
              </a:spcBef>
              <a:buFont typeface="Arial" panose="020B0604020202020204" pitchFamily="34" charset="0"/>
              <a:buChar char="•"/>
            </a:pPr>
            <a:r>
              <a:rPr lang="en-US" sz="1100" dirty="0"/>
              <a:t>Developed RESTful Services in Mule ESB based on SOA Architecture. </a:t>
            </a:r>
          </a:p>
          <a:p>
            <a:pPr marL="171450" indent="-171450">
              <a:spcBef>
                <a:spcPts val="300"/>
              </a:spcBef>
              <a:buFont typeface="Arial" panose="020B0604020202020204" pitchFamily="34" charset="0"/>
              <a:buChar char="•"/>
            </a:pPr>
            <a:r>
              <a:rPr lang="en-US" sz="1100" dirty="0"/>
              <a:t>Implemented Security mechanisms like Encryption, Decryption the passwords, Client ID Enforcement, CORS Policy, OAuth Authentication &amp; Authorization using Access Token. </a:t>
            </a:r>
          </a:p>
          <a:p>
            <a:pPr marL="171450" indent="-171450">
              <a:spcBef>
                <a:spcPts val="300"/>
              </a:spcBef>
              <a:buFont typeface="Arial" panose="020B0604020202020204" pitchFamily="34" charset="0"/>
              <a:buChar char="•"/>
            </a:pPr>
            <a:r>
              <a:rPr lang="en-US" sz="1100" dirty="0"/>
              <a:t>Involved in configuration and release management process on CloudHub using Jenkins, Maven, Git. </a:t>
            </a:r>
          </a:p>
        </p:txBody>
      </p:sp>
      <p:sp>
        <p:nvSpPr>
          <p:cNvPr id="9" name="TextBox 8">
            <a:extLst>
              <a:ext uri="{FF2B5EF4-FFF2-40B4-BE49-F238E27FC236}">
                <a16:creationId xmlns:a16="http://schemas.microsoft.com/office/drawing/2014/main" id="{C7EF9A0A-B875-5DE8-200F-ADC5D4D2DD3C}"/>
              </a:ext>
            </a:extLst>
          </p:cNvPr>
          <p:cNvSpPr txBox="1"/>
          <p:nvPr/>
        </p:nvSpPr>
        <p:spPr>
          <a:xfrm>
            <a:off x="139138" y="4263712"/>
            <a:ext cx="3317240" cy="600164"/>
          </a:xfrm>
          <a:prstGeom prst="rect">
            <a:avLst/>
          </a:prstGeom>
          <a:noFill/>
        </p:spPr>
        <p:txBody>
          <a:bodyPr wrap="square" rtlCol="0">
            <a:spAutoFit/>
          </a:bodyPr>
          <a:lstStyle/>
          <a:p>
            <a:pPr>
              <a:defRPr/>
            </a:pPr>
            <a:r>
              <a:rPr lang="en-IN" sz="1100" b="1" dirty="0">
                <a:solidFill>
                  <a:srgbClr val="00B050"/>
                </a:solidFill>
              </a:rPr>
              <a:t>Certifications</a:t>
            </a:r>
            <a:endParaRPr kumimoji="0" lang="en-IN" sz="1100" b="0" i="0" u="none" strike="noStrike" kern="1200" cap="none" spc="0" normalizeH="0" baseline="0" noProof="0" dirty="0">
              <a:ln>
                <a:noFill/>
              </a:ln>
              <a:solidFill>
                <a:srgbClr val="00B050"/>
              </a:solidFill>
              <a:effectLst/>
              <a:uLnTx/>
              <a:uFillTx/>
              <a:ea typeface="+mn-ea"/>
              <a:cs typeface="+mn-cs"/>
            </a:endParaRP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Certified MuleSoft Professional</a:t>
            </a: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Certified Java Professional</a:t>
            </a:r>
          </a:p>
        </p:txBody>
      </p:sp>
      <p:cxnSp>
        <p:nvCxnSpPr>
          <p:cNvPr id="10" name="Straight Connector 9">
            <a:extLst>
              <a:ext uri="{FF2B5EF4-FFF2-40B4-BE49-F238E27FC236}">
                <a16:creationId xmlns:a16="http://schemas.microsoft.com/office/drawing/2014/main" id="{9EC7C76D-C97F-A772-876E-CF1BFD86BA7C}"/>
              </a:ext>
            </a:extLst>
          </p:cNvPr>
          <p:cNvCxnSpPr/>
          <p:nvPr/>
        </p:nvCxnSpPr>
        <p:spPr>
          <a:xfrm>
            <a:off x="3809022" y="555462"/>
            <a:ext cx="0" cy="5764427"/>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FBD439F3-52F1-6FDC-026D-3C90CE3FE831}"/>
              </a:ext>
            </a:extLst>
          </p:cNvPr>
          <p:cNvSpPr txBox="1"/>
          <p:nvPr/>
        </p:nvSpPr>
        <p:spPr>
          <a:xfrm>
            <a:off x="1574821" y="752943"/>
            <a:ext cx="2240771" cy="1304268"/>
          </a:xfrm>
          <a:prstGeom prst="rect">
            <a:avLst/>
          </a:prstGeom>
          <a:noFill/>
        </p:spPr>
        <p:txBody>
          <a:bodyPr wrap="square" rtlCol="0">
            <a:spAutoFit/>
          </a:bodyPr>
          <a:lstStyle/>
          <a:p>
            <a:pPr>
              <a:lnSpc>
                <a:spcPts val="1600"/>
              </a:lnSpc>
              <a:spcBef>
                <a:spcPts val="0"/>
              </a:spcBef>
            </a:pPr>
            <a:r>
              <a:rPr lang="en-US" sz="1100" b="1" dirty="0"/>
              <a:t>asa.channamallu@brillio.com</a:t>
            </a:r>
          </a:p>
          <a:p>
            <a:pPr>
              <a:lnSpc>
                <a:spcPts val="1600"/>
              </a:lnSpc>
            </a:pPr>
            <a:r>
              <a:rPr lang="en-US" sz="1100" b="1" dirty="0"/>
              <a:t>Dallas, Texas</a:t>
            </a:r>
          </a:p>
          <a:p>
            <a:pPr>
              <a:lnSpc>
                <a:spcPts val="1600"/>
              </a:lnSpc>
              <a:spcBef>
                <a:spcPts val="0"/>
              </a:spcBef>
            </a:pPr>
            <a:endParaRPr lang="en-US" sz="1100" b="1" dirty="0"/>
          </a:p>
          <a:p>
            <a:pPr>
              <a:lnSpc>
                <a:spcPts val="1600"/>
              </a:lnSpc>
              <a:spcBef>
                <a:spcPts val="0"/>
              </a:spcBef>
            </a:pPr>
            <a:r>
              <a:rPr lang="en-US" sz="1100" b="1" dirty="0"/>
              <a:t>Industry Experience: </a:t>
            </a:r>
          </a:p>
          <a:p>
            <a:pPr>
              <a:lnSpc>
                <a:spcPts val="1600"/>
              </a:lnSpc>
              <a:spcBef>
                <a:spcPts val="0"/>
              </a:spcBef>
            </a:pPr>
            <a:r>
              <a:rPr lang="en-US" sz="1100" dirty="0"/>
              <a:t>High-Tech,  Finance and Commercial</a:t>
            </a:r>
          </a:p>
        </p:txBody>
      </p:sp>
      <p:pic>
        <p:nvPicPr>
          <p:cNvPr id="3" name="Picture 2">
            <a:extLst>
              <a:ext uri="{FF2B5EF4-FFF2-40B4-BE49-F238E27FC236}">
                <a16:creationId xmlns:a16="http://schemas.microsoft.com/office/drawing/2014/main" id="{1DC1DDAE-246C-C519-08A1-E667F87D292A}"/>
              </a:ext>
            </a:extLst>
          </p:cNvPr>
          <p:cNvPicPr>
            <a:picLocks/>
          </p:cNvPicPr>
          <p:nvPr/>
        </p:nvPicPr>
        <p:blipFill>
          <a:blip r:embed="rId2"/>
          <a:stretch>
            <a:fillRect/>
          </a:stretch>
        </p:blipFill>
        <p:spPr>
          <a:xfrm>
            <a:off x="139138" y="621532"/>
            <a:ext cx="1435679" cy="1435679"/>
          </a:xfrm>
          <a:prstGeom prst="ellipse">
            <a:avLst/>
          </a:prstGeom>
          <a:ln>
            <a:solidFill>
              <a:srgbClr val="92D050"/>
            </a:solidFill>
          </a:ln>
        </p:spPr>
      </p:pic>
      <p:sp>
        <p:nvSpPr>
          <p:cNvPr id="8" name="TextBox 7">
            <a:extLst>
              <a:ext uri="{FF2B5EF4-FFF2-40B4-BE49-F238E27FC236}">
                <a16:creationId xmlns:a16="http://schemas.microsoft.com/office/drawing/2014/main" id="{A958AA3C-E07F-1131-A565-A07F2231C22D}"/>
              </a:ext>
            </a:extLst>
          </p:cNvPr>
          <p:cNvSpPr txBox="1"/>
          <p:nvPr/>
        </p:nvSpPr>
        <p:spPr>
          <a:xfrm>
            <a:off x="129749" y="4909127"/>
            <a:ext cx="3317240" cy="769441"/>
          </a:xfrm>
          <a:prstGeom prst="rect">
            <a:avLst/>
          </a:prstGeom>
          <a:noFill/>
        </p:spPr>
        <p:txBody>
          <a:bodyPr wrap="square" rtlCol="0">
            <a:spAutoFit/>
          </a:bodyPr>
          <a:lstStyle/>
          <a:p>
            <a:pPr>
              <a:defRPr/>
            </a:pPr>
            <a:r>
              <a:rPr lang="en-IN" sz="1100" b="1" dirty="0">
                <a:solidFill>
                  <a:srgbClr val="00B050"/>
                </a:solidFill>
              </a:rPr>
              <a:t>Recent Roles</a:t>
            </a:r>
            <a:endParaRPr kumimoji="0" lang="en-IN" sz="1100" b="0" i="0" u="none" strike="noStrike" kern="1200" cap="none" spc="0" normalizeH="0" baseline="0" noProof="0" dirty="0">
              <a:ln>
                <a:noFill/>
              </a:ln>
              <a:solidFill>
                <a:srgbClr val="00B050"/>
              </a:solidFill>
              <a:effectLst/>
              <a:uLnTx/>
              <a:uFillTx/>
              <a:ea typeface="+mn-ea"/>
              <a:cs typeface="+mn-cs"/>
            </a:endParaRP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Solution Architect</a:t>
            </a: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Integration and Salesforce Lead</a:t>
            </a: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Integration CoE Leader</a:t>
            </a:r>
          </a:p>
        </p:txBody>
      </p:sp>
      <p:sp>
        <p:nvSpPr>
          <p:cNvPr id="12" name="TextBox 11">
            <a:extLst>
              <a:ext uri="{FF2B5EF4-FFF2-40B4-BE49-F238E27FC236}">
                <a16:creationId xmlns:a16="http://schemas.microsoft.com/office/drawing/2014/main" id="{3403677D-B42B-F044-A33E-EB63A7AD24BE}"/>
              </a:ext>
            </a:extLst>
          </p:cNvPr>
          <p:cNvSpPr txBox="1"/>
          <p:nvPr/>
        </p:nvSpPr>
        <p:spPr>
          <a:xfrm>
            <a:off x="129749" y="5749774"/>
            <a:ext cx="7544633" cy="430887"/>
          </a:xfrm>
          <a:prstGeom prst="rect">
            <a:avLst/>
          </a:prstGeom>
          <a:noFill/>
        </p:spPr>
        <p:txBody>
          <a:bodyPr wrap="square" rtlCol="0">
            <a:spAutoFit/>
          </a:bodyPr>
          <a:lstStyle/>
          <a:p>
            <a:r>
              <a:rPr lang="en-IN" sz="1100" b="1" dirty="0">
                <a:solidFill>
                  <a:srgbClr val="00B050"/>
                </a:solidFill>
              </a:rPr>
              <a:t>Key Clients</a:t>
            </a:r>
          </a:p>
          <a:p>
            <a:pPr marL="171450" indent="-171450">
              <a:buFont typeface="Arial" panose="020B0604020202020204" pitchFamily="34" charset="0"/>
              <a:buChar char="•"/>
            </a:pPr>
            <a:endParaRPr lang="en-US" sz="1100" dirty="0">
              <a:ea typeface="Calibri" panose="020F0502020204030204" pitchFamily="34" charset="0"/>
              <a:cs typeface="Arial" panose="020B0604020202020204" pitchFamily="34" charset="0"/>
              <a:sym typeface="Wingdings" panose="05000000000000000000" pitchFamily="2" charset="2"/>
            </a:endParaRPr>
          </a:p>
        </p:txBody>
      </p:sp>
      <p:sp>
        <p:nvSpPr>
          <p:cNvPr id="14" name="TextBox 13">
            <a:extLst>
              <a:ext uri="{FF2B5EF4-FFF2-40B4-BE49-F238E27FC236}">
                <a16:creationId xmlns:a16="http://schemas.microsoft.com/office/drawing/2014/main" id="{4F6582C8-7A61-34C1-9AA7-875ECB27D344}"/>
              </a:ext>
            </a:extLst>
          </p:cNvPr>
          <p:cNvSpPr txBox="1"/>
          <p:nvPr/>
        </p:nvSpPr>
        <p:spPr>
          <a:xfrm>
            <a:off x="139140" y="5965218"/>
            <a:ext cx="3124762" cy="553998"/>
          </a:xfrm>
          <a:prstGeom prst="rect">
            <a:avLst/>
          </a:prstGeom>
          <a:noFill/>
        </p:spPr>
        <p:txBody>
          <a:bodyPr wrap="square" numCol="3">
            <a:spAutoFit/>
          </a:bodyPr>
          <a:lstStyle/>
          <a:p>
            <a:pPr marL="171450" indent="-171450">
              <a:buFont typeface="Arial" panose="020B0604020202020204" pitchFamily="34" charset="0"/>
              <a:buChar char="•"/>
            </a:pPr>
            <a:r>
              <a:rPr lang="en-US" sz="1000" dirty="0"/>
              <a:t>McAfee</a:t>
            </a:r>
          </a:p>
          <a:p>
            <a:pPr marL="171450" indent="-171450">
              <a:buFont typeface="Arial" panose="020B0604020202020204" pitchFamily="34" charset="0"/>
              <a:buChar char="•"/>
            </a:pPr>
            <a:r>
              <a:rPr lang="en-US" sz="1000" dirty="0"/>
              <a:t>DoorDash</a:t>
            </a:r>
          </a:p>
          <a:p>
            <a:pPr marL="171450" indent="-171450">
              <a:buFont typeface="Arial" panose="020B0604020202020204" pitchFamily="34" charset="0"/>
              <a:buChar char="•"/>
            </a:pPr>
            <a:r>
              <a:rPr lang="en-US" sz="1000" dirty="0"/>
              <a:t>EmeraldX</a:t>
            </a:r>
          </a:p>
          <a:p>
            <a:pPr marL="171450" indent="-171450">
              <a:buFont typeface="Arial" panose="020B0604020202020204" pitchFamily="34" charset="0"/>
              <a:buChar char="•"/>
            </a:pPr>
            <a:r>
              <a:rPr lang="en-US" sz="1000" dirty="0"/>
              <a:t>Ecolab</a:t>
            </a:r>
          </a:p>
          <a:p>
            <a:pPr marL="171450" indent="-171450">
              <a:buFont typeface="Arial" panose="020B0604020202020204" pitchFamily="34" charset="0"/>
              <a:buChar char="•"/>
            </a:pPr>
            <a:r>
              <a:rPr lang="en-US" sz="1000" dirty="0"/>
              <a:t>Toast</a:t>
            </a:r>
          </a:p>
          <a:p>
            <a:pPr marL="171450" indent="-171450">
              <a:buFont typeface="Arial" panose="020B0604020202020204" pitchFamily="34" charset="0"/>
              <a:buChar char="•"/>
            </a:pPr>
            <a:r>
              <a:rPr lang="en-US" sz="1000" dirty="0"/>
              <a:t>Ciena</a:t>
            </a:r>
          </a:p>
          <a:p>
            <a:pPr marL="171450" indent="-171450">
              <a:buFont typeface="Arial" panose="020B0604020202020204" pitchFamily="34" charset="0"/>
              <a:buChar char="•"/>
            </a:pPr>
            <a:r>
              <a:rPr lang="en-US" sz="1000" dirty="0"/>
              <a:t>Zendesk	</a:t>
            </a:r>
          </a:p>
          <a:p>
            <a:pPr marL="171450" indent="-171450">
              <a:buFont typeface="Arial" panose="020B0604020202020204" pitchFamily="34" charset="0"/>
              <a:buChar char="•"/>
            </a:pPr>
            <a:endParaRPr lang="en-US" sz="1000" b="1" dirty="0"/>
          </a:p>
        </p:txBody>
      </p:sp>
    </p:spTree>
    <p:extLst>
      <p:ext uri="{BB962C8B-B14F-4D97-AF65-F5344CB8AC3E}">
        <p14:creationId xmlns:p14="http://schemas.microsoft.com/office/powerpoint/2010/main" val="34290234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p:txBody>
          <a:bodyPr/>
          <a:lstStyle/>
          <a:p>
            <a:r>
              <a:rPr lang="en-GB" dirty="0"/>
              <a:t>©2024 Brillio  |  </a:t>
            </a:r>
            <a:fld id="{F1FE5E21-FD07-B44E-90A3-0254BFCDB49A}" type="slidenum">
              <a:rPr smtClean="0"/>
              <a:pPr/>
              <a:t>4</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195452" y="214727"/>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Asalatha Channamallu, Integration Specialist (Salesforce, iPaaS)</a:t>
            </a:r>
            <a:endParaRPr lang="en-US" sz="2400" b="1" dirty="0"/>
          </a:p>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Arial"/>
                <a:ea typeface="+mj-ea"/>
                <a:cs typeface="Arial"/>
              </a:rPr>
              <a:t> </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438318" y="830575"/>
            <a:ext cx="10974749" cy="4847481"/>
          </a:xfrm>
          <a:prstGeom prst="rect">
            <a:avLst/>
          </a:prstGeom>
          <a:noFill/>
        </p:spPr>
        <p:txBody>
          <a:bodyPr wrap="square" lIns="91440" tIns="45720" rIns="91440" bIns="45720" rtlCol="0" anchor="t">
            <a:spAutoFit/>
          </a:bodyPr>
          <a:lstStyle/>
          <a:p>
            <a:r>
              <a:rPr lang="en-US" sz="1100" b="1" dirty="0"/>
              <a:t>Client: EmeraldX, Integration Architect </a:t>
            </a:r>
          </a:p>
          <a:p>
            <a:pPr marL="171450" indent="-171450">
              <a:spcBef>
                <a:spcPts val="300"/>
              </a:spcBef>
              <a:buFont typeface="Arial" panose="020B0604020202020204" pitchFamily="34" charset="0"/>
              <a:buChar char="•"/>
            </a:pPr>
            <a:r>
              <a:rPr lang="en-US" sz="1100" dirty="0"/>
              <a:t>Designed and delivered integrations for CPQ with systems like Salesforce, NetSuite and databases. </a:t>
            </a:r>
          </a:p>
          <a:p>
            <a:pPr marL="171450" indent="-171450">
              <a:spcBef>
                <a:spcPts val="300"/>
              </a:spcBef>
              <a:buFont typeface="Arial" panose="020B0604020202020204" pitchFamily="34" charset="0"/>
              <a:buChar char="•"/>
            </a:pPr>
            <a:r>
              <a:rPr lang="en-US" sz="1100" dirty="0"/>
              <a:t>As integration Architect responsible for defining the integrations strategy, APIs portal &amp; Discovery, CI/CD setup etc.. </a:t>
            </a:r>
          </a:p>
          <a:p>
            <a:pPr marL="171450" indent="-171450">
              <a:spcBef>
                <a:spcPts val="300"/>
              </a:spcBef>
              <a:buFont typeface="Arial" panose="020B0604020202020204" pitchFamily="34" charset="0"/>
              <a:buChar char="•"/>
            </a:pPr>
            <a:r>
              <a:rPr lang="en-US" sz="1100" dirty="0"/>
              <a:t>Responsible for setting up MuleSoft integration platform, defining the security strategies and best practices </a:t>
            </a:r>
          </a:p>
          <a:p>
            <a:pPr marL="171450" indent="-171450">
              <a:spcBef>
                <a:spcPts val="300"/>
              </a:spcBef>
              <a:buFont typeface="Arial" panose="020B0604020202020204" pitchFamily="34" charset="0"/>
              <a:buChar char="•"/>
            </a:pPr>
            <a:r>
              <a:rPr lang="en-US" sz="1100" dirty="0"/>
              <a:t>Responsible for overall integration development and delivery along with release management </a:t>
            </a:r>
          </a:p>
          <a:p>
            <a:pPr marL="628650" lvl="1" indent="-171450">
              <a:spcBef>
                <a:spcPts val="300"/>
              </a:spcBef>
              <a:buFont typeface="Arial" panose="020B0604020202020204" pitchFamily="34" charset="0"/>
              <a:buChar char="•"/>
            </a:pPr>
            <a:endParaRPr lang="en-US" sz="1100" dirty="0"/>
          </a:p>
          <a:p>
            <a:pPr lvl="1"/>
            <a:endParaRPr lang="en-US" sz="1100" dirty="0"/>
          </a:p>
          <a:p>
            <a:pPr marL="0" marR="0">
              <a:spcBef>
                <a:spcPts val="0"/>
              </a:spcBef>
              <a:spcAft>
                <a:spcPts val="0"/>
              </a:spcAft>
            </a:pPr>
            <a:r>
              <a:rPr lang="en-US" sz="1100" b="1" dirty="0"/>
              <a:t>Client: Ecolab Inc., </a:t>
            </a:r>
            <a:r>
              <a:rPr lang="en-US" sz="1100" b="1" dirty="0">
                <a:latin typeface="Tahoma" panose="020B0604030504040204" pitchFamily="34" charset="0"/>
                <a:cs typeface="Times New Roman" panose="02020603050405020304" pitchFamily="18" charset="0"/>
              </a:rPr>
              <a:t> </a:t>
            </a:r>
            <a:r>
              <a:rPr lang="en-US" sz="1100" b="1" dirty="0"/>
              <a:t>Integration Architect </a:t>
            </a:r>
          </a:p>
          <a:p>
            <a:pPr marL="0" marR="0">
              <a:spcBef>
                <a:spcPts val="0"/>
              </a:spcBef>
              <a:spcAft>
                <a:spcPts val="0"/>
              </a:spcAft>
            </a:pPr>
            <a:r>
              <a:rPr lang="en-US" sz="1100" dirty="0"/>
              <a:t>Designed and developed APIs for Supply Chain Integration to provide real time order status (Mobile App-Self Service),  Tracking (Web App) and customer service by integrating SAP, Salesforce, SQL Server and Logistics aggregator 4KITES. </a:t>
            </a:r>
          </a:p>
          <a:p>
            <a:pPr marL="171450" indent="-171450">
              <a:spcBef>
                <a:spcPts val="300"/>
              </a:spcBef>
              <a:buFont typeface="Arial" panose="020B0604020202020204" pitchFamily="34" charset="0"/>
              <a:buChar char="•"/>
            </a:pPr>
            <a:r>
              <a:rPr lang="en-US" sz="1100" dirty="0"/>
              <a:t>Led the team responsible for creating Microservices based application </a:t>
            </a:r>
          </a:p>
          <a:p>
            <a:pPr marL="171450" indent="-171450">
              <a:spcBef>
                <a:spcPts val="300"/>
              </a:spcBef>
              <a:buFont typeface="Arial" panose="020B0604020202020204" pitchFamily="34" charset="0"/>
              <a:buChar char="•"/>
            </a:pPr>
            <a:r>
              <a:rPr lang="en-US" sz="1100" dirty="0"/>
              <a:t>Led the discovery &amp; design sessions for Business requirements gathering, analysis and client interviews. </a:t>
            </a:r>
          </a:p>
          <a:p>
            <a:pPr marL="171450" indent="-171450">
              <a:spcBef>
                <a:spcPts val="300"/>
              </a:spcBef>
              <a:buFont typeface="Arial" panose="020B0604020202020204" pitchFamily="34" charset="0"/>
              <a:buChar char="•"/>
            </a:pPr>
            <a:r>
              <a:rPr lang="en-US" sz="1100" dirty="0"/>
              <a:t>Responsible Designing data integration flow to store data in the customer domain and document the design for development. </a:t>
            </a:r>
          </a:p>
          <a:p>
            <a:pPr marL="171450" indent="-171450">
              <a:spcBef>
                <a:spcPts val="300"/>
              </a:spcBef>
              <a:buFont typeface="Arial" panose="020B0604020202020204" pitchFamily="34" charset="0"/>
              <a:buChar char="•"/>
            </a:pPr>
            <a:r>
              <a:rPr lang="en-US" sz="1100" dirty="0"/>
              <a:t>Developed APIS integrating SAP and 4KITES processing IDOCS, transform and send the information to 4Kites aggregator. </a:t>
            </a:r>
          </a:p>
          <a:p>
            <a:pPr marL="171450" indent="-171450">
              <a:spcBef>
                <a:spcPts val="300"/>
              </a:spcBef>
              <a:buFont typeface="Arial" panose="020B0604020202020204" pitchFamily="34" charset="0"/>
              <a:buChar char="•"/>
            </a:pPr>
            <a:r>
              <a:rPr lang="en-US" sz="1100" dirty="0"/>
              <a:t>Developed Order Status API consuming SAP BAPI, Order Status Mobile and Web APP and customer service APP in Salesforce. </a:t>
            </a:r>
          </a:p>
          <a:p>
            <a:pPr marL="171450" indent="-171450">
              <a:spcBef>
                <a:spcPts val="300"/>
              </a:spcBef>
              <a:buFont typeface="Arial" panose="020B0604020202020204" pitchFamily="34" charset="0"/>
              <a:buChar char="•"/>
            </a:pPr>
            <a:r>
              <a:rPr lang="en-US" sz="1100" dirty="0"/>
              <a:t>Integrated various end systems like SAP, SQL Server and other vendors applications such as 4kites with MuleSoft Anypoint Platform. </a:t>
            </a:r>
          </a:p>
          <a:p>
            <a:pPr marL="171450" indent="-171450">
              <a:spcBef>
                <a:spcPts val="300"/>
              </a:spcBef>
              <a:buFont typeface="Arial" panose="020B0604020202020204" pitchFamily="34" charset="0"/>
              <a:buChar char="•"/>
            </a:pPr>
            <a:r>
              <a:rPr lang="en-US" sz="1100" dirty="0"/>
              <a:t>Worked with Data Modeling team to design the data service APIs to store the logistics shipping information n SQL server. </a:t>
            </a:r>
          </a:p>
          <a:p>
            <a:pPr marL="171450" indent="-171450">
              <a:spcBef>
                <a:spcPts val="300"/>
              </a:spcBef>
              <a:buFont typeface="Arial" panose="020B0604020202020204" pitchFamily="34" charset="0"/>
              <a:buChar char="•"/>
            </a:pPr>
            <a:r>
              <a:rPr lang="en-US" sz="1100" dirty="0"/>
              <a:t>Developed RESTful Services in Mule ESB based on Microservice Architecture. </a:t>
            </a:r>
          </a:p>
          <a:p>
            <a:pPr marL="171450" indent="-171450">
              <a:spcBef>
                <a:spcPts val="300"/>
              </a:spcBef>
              <a:buFont typeface="Arial" panose="020B0604020202020204" pitchFamily="34" charset="0"/>
              <a:buChar char="•"/>
            </a:pPr>
            <a:r>
              <a:rPr lang="en-US" sz="1100" dirty="0"/>
              <a:t>Worked with Data Modeling team to design the data service APIs to store the logistics shipping information in SQL server. </a:t>
            </a:r>
          </a:p>
          <a:p>
            <a:pPr marL="171450" indent="-171450">
              <a:spcBef>
                <a:spcPts val="300"/>
              </a:spcBef>
              <a:buFont typeface="Arial" panose="020B0604020202020204" pitchFamily="34" charset="0"/>
              <a:buChar char="•"/>
            </a:pPr>
            <a:r>
              <a:rPr lang="en-US" sz="1100" dirty="0"/>
              <a:t>Implemented Security mechanisms like Encryption, Decryption the passwords, Client ID Enforcement, CORS Policy, OAuth Authentication &amp; Authorization using Access Token. </a:t>
            </a:r>
          </a:p>
          <a:p>
            <a:pPr marL="171450" indent="-171450">
              <a:spcBef>
                <a:spcPts val="300"/>
              </a:spcBef>
              <a:buFont typeface="Arial" panose="020B0604020202020204" pitchFamily="34" charset="0"/>
              <a:buChar char="•"/>
            </a:pPr>
            <a:r>
              <a:rPr lang="en-US" sz="1100" dirty="0"/>
              <a:t>Worked closely with SAP Team in building integrations with SAP Enterprise services through SAP Adapter nodes and web services. </a:t>
            </a:r>
          </a:p>
          <a:p>
            <a:pPr marL="171450" indent="-171450">
              <a:spcBef>
                <a:spcPts val="300"/>
              </a:spcBef>
              <a:buFont typeface="Arial" panose="020B0604020202020204" pitchFamily="34" charset="0"/>
              <a:buChar char="•"/>
            </a:pPr>
            <a:r>
              <a:rPr lang="en-US" sz="1100" dirty="0"/>
              <a:t>Responsible for setting up release management process on CloudHub using Jenkins, Maven, Git. </a:t>
            </a:r>
          </a:p>
          <a:p>
            <a:pPr marL="171450" indent="-171450">
              <a:spcBef>
                <a:spcPts val="300"/>
              </a:spcBef>
              <a:buFont typeface="Arial" panose="020B0604020202020204" pitchFamily="34" charset="0"/>
              <a:buChar char="•"/>
            </a:pPr>
            <a:r>
              <a:rPr lang="en-US" sz="1100" dirty="0"/>
              <a:t>Defined the common frameworks (Routing, Logging, Exception handling).  </a:t>
            </a:r>
          </a:p>
        </p:txBody>
      </p:sp>
    </p:spTree>
    <p:extLst>
      <p:ext uri="{BB962C8B-B14F-4D97-AF65-F5344CB8AC3E}">
        <p14:creationId xmlns:p14="http://schemas.microsoft.com/office/powerpoint/2010/main" val="2708140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86168E-909C-D218-2A5D-AE7A4D5962E1}"/>
              </a:ext>
            </a:extLst>
          </p:cNvPr>
          <p:cNvSpPr/>
          <p:nvPr/>
        </p:nvSpPr>
        <p:spPr>
          <a:xfrm>
            <a:off x="0" y="555462"/>
            <a:ext cx="3825595" cy="6302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defPPr>
              <a:defRPr lang="en-US"/>
            </a:defPPr>
            <a:lvl1pPr marL="0" algn="r" defTabSz="914400"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2024 Brillio  |  </a:t>
            </a:r>
            <a:fld id="{F1FE5E21-FD07-B44E-90A3-0254BFCDB49A}" type="slidenum">
              <a:rPr smtClean="0"/>
              <a:pPr/>
              <a:t>5</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365760" y="124208"/>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Praveen Sadineni, Technology Specialist (Salesforce, Integrations)</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2AABA743-DB29-119C-984C-DC6618BBD0C7}"/>
              </a:ext>
            </a:extLst>
          </p:cNvPr>
          <p:cNvSpPr txBox="1"/>
          <p:nvPr/>
        </p:nvSpPr>
        <p:spPr>
          <a:xfrm>
            <a:off x="322299" y="2287500"/>
            <a:ext cx="3360701" cy="21082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B050"/>
                </a:solidFill>
                <a:effectLst/>
                <a:uLnTx/>
                <a:uFillTx/>
                <a:ea typeface="+mn-ea"/>
                <a:cs typeface="+mn-cs"/>
              </a:rPr>
              <a:t>Core Skill Sets</a:t>
            </a:r>
            <a:endParaRPr kumimoji="0" lang="en-IN" sz="1200" b="0" i="0" u="none" strike="noStrike" kern="1200" cap="none" spc="0" normalizeH="0" baseline="0" noProof="0" dirty="0">
              <a:ln>
                <a:noFill/>
              </a:ln>
              <a:solidFill>
                <a:srgbClr val="00B050"/>
              </a:solidFill>
              <a:effectLst/>
              <a:uLnTx/>
              <a:uFillTx/>
              <a:ea typeface="+mn-ea"/>
              <a:cs typeface="+mn-cs"/>
            </a:endParaRPr>
          </a:p>
          <a:p>
            <a:pPr marL="171450" lvl="0" indent="-171450">
              <a:buFont typeface="Arial" panose="020B0604020202020204" pitchFamily="34" charset="0"/>
              <a:buChar char="•"/>
              <a:defRPr/>
            </a:pPr>
            <a:r>
              <a:rPr lang="en-IN" sz="1100" dirty="0">
                <a:solidFill>
                  <a:schemeClr val="accent1">
                    <a:lumMod val="50000"/>
                  </a:schemeClr>
                </a:solidFill>
                <a:cs typeface="Arial"/>
              </a:rPr>
              <a:t>Experienced in building Scalable Enterprise Solutions on Force.com platform.</a:t>
            </a:r>
          </a:p>
          <a:p>
            <a:pPr marL="171450" lvl="0" indent="-171450">
              <a:buFont typeface="Arial" panose="020B0604020202020204" pitchFamily="34" charset="0"/>
              <a:buChar char="•"/>
              <a:defRPr/>
            </a:pPr>
            <a:r>
              <a:rPr lang="en-IN" sz="1100" dirty="0">
                <a:solidFill>
                  <a:schemeClr val="accent1">
                    <a:lumMod val="50000"/>
                  </a:schemeClr>
                </a:solidFill>
                <a:cs typeface="Arial"/>
              </a:rPr>
              <a:t>Extensive experience with Analysis, Design, Development, Customization, and Implementation of CRM Applications.</a:t>
            </a:r>
          </a:p>
          <a:p>
            <a:pPr marL="171450" lvl="0" indent="-171450">
              <a:buFont typeface="Arial" panose="020B0604020202020204" pitchFamily="34" charset="0"/>
              <a:buChar char="•"/>
              <a:defRPr/>
            </a:pPr>
            <a:r>
              <a:rPr lang="en-IN" sz="1100" dirty="0">
                <a:solidFill>
                  <a:schemeClr val="accent1">
                    <a:lumMod val="50000"/>
                  </a:schemeClr>
                </a:solidFill>
                <a:cs typeface="Arial"/>
              </a:rPr>
              <a:t>Experienced in working across various SFDC implementations  covering Sales, Service, Marketing, Automotive Clouds.</a:t>
            </a:r>
          </a:p>
          <a:p>
            <a:pPr marL="171450" lvl="0" indent="-171450">
              <a:buFont typeface="Arial" panose="020B0604020202020204" pitchFamily="34" charset="0"/>
              <a:buChar char="•"/>
              <a:defRPr/>
            </a:pPr>
            <a:r>
              <a:rPr lang="en-IN" sz="1100" dirty="0">
                <a:solidFill>
                  <a:schemeClr val="accent1">
                    <a:lumMod val="50000"/>
                  </a:schemeClr>
                </a:solidFill>
                <a:cs typeface="Arial"/>
              </a:rPr>
              <a:t>In Depth Experience in Conga and Salesforce CPQ.</a:t>
            </a:r>
            <a:endParaRPr lang="en-IN" sz="1100" i="1" dirty="0">
              <a:solidFill>
                <a:schemeClr val="tx1">
                  <a:lumMod val="50000"/>
                  <a:lumOff val="50000"/>
                </a:schemeClr>
              </a:solidFill>
            </a:endParaRPr>
          </a:p>
          <a:p>
            <a:pPr marL="285750" lvl="0" indent="-285750">
              <a:buFont typeface="Arial" panose="020B0604020202020204" pitchFamily="34" charset="0"/>
              <a:buChar char="•"/>
              <a:defRPr/>
            </a:pPr>
            <a:endParaRPr kumimoji="0" lang="en-IN" sz="900" b="0" i="1" u="none" strike="noStrike" kern="1200" cap="none" spc="0" normalizeH="0" baseline="0" noProof="0" dirty="0">
              <a:ln>
                <a:noFill/>
              </a:ln>
              <a:solidFill>
                <a:prstClr val="black"/>
              </a:solidFill>
              <a:effectLst/>
              <a:highlight>
                <a:srgbClr val="FFFF00"/>
              </a:highlight>
              <a:uLnTx/>
              <a:uFillTx/>
              <a:ea typeface="+mn-ea"/>
              <a:cs typeface="+mn-cs"/>
            </a:endParaRPr>
          </a:p>
        </p:txBody>
      </p:sp>
      <p:sp>
        <p:nvSpPr>
          <p:cNvPr id="6" name="TextBox 5">
            <a:extLst>
              <a:ext uri="{FF2B5EF4-FFF2-40B4-BE49-F238E27FC236}">
                <a16:creationId xmlns:a16="http://schemas.microsoft.com/office/drawing/2014/main" id="{FAD7D10F-2CA0-B62C-602C-1D44C25427E7}"/>
              </a:ext>
            </a:extLst>
          </p:cNvPr>
          <p:cNvSpPr txBox="1"/>
          <p:nvPr/>
        </p:nvSpPr>
        <p:spPr>
          <a:xfrm>
            <a:off x="3824983" y="722404"/>
            <a:ext cx="7544633" cy="3323987"/>
          </a:xfrm>
          <a:prstGeom prst="rect">
            <a:avLst/>
          </a:prstGeom>
          <a:noFill/>
        </p:spPr>
        <p:txBody>
          <a:bodyPr wrap="square" lIns="91440" tIns="45720" rIns="91440" bIns="45720" rtlCol="0" anchor="t">
            <a:spAutoFit/>
          </a:bodyPr>
          <a:lstStyle/>
          <a:p>
            <a:r>
              <a:rPr lang="en-IN" sz="1100" b="1" dirty="0">
                <a:solidFill>
                  <a:srgbClr val="00B050"/>
                </a:solidFill>
              </a:rPr>
              <a:t>Professional Summary </a:t>
            </a:r>
            <a:endParaRPr lang="en-US" sz="1100" b="1" dirty="0">
              <a:solidFill>
                <a:srgbClr val="00B050"/>
              </a:solidFill>
            </a:endParaRPr>
          </a:p>
          <a:p>
            <a:pPr marL="171450" indent="-171450">
              <a:spcAft>
                <a:spcPts val="300"/>
              </a:spcAft>
              <a:buFont typeface="Arial" panose="020B0604020202020204" pitchFamily="34" charset="0"/>
              <a:buChar char="•"/>
            </a:pPr>
            <a:r>
              <a:rPr lang="en-IN" sz="1100" dirty="0"/>
              <a:t>Technology leader with over 13+ years of experience in the Salesforce Ecosystem.  </a:t>
            </a:r>
          </a:p>
          <a:p>
            <a:pPr marL="171450" indent="-171450">
              <a:spcAft>
                <a:spcPts val="300"/>
              </a:spcAft>
              <a:buFont typeface="Arial" panose="020B0604020202020204" pitchFamily="34" charset="0"/>
              <a:buChar char="•"/>
            </a:pPr>
            <a:r>
              <a:rPr lang="en-IN" sz="1100" dirty="0"/>
              <a:t>Experienced in spearheading end-to-end technical programs and thrives on bridging the gap between business needs and technical solutions.</a:t>
            </a:r>
          </a:p>
          <a:p>
            <a:pPr marL="171450" indent="-171450">
              <a:spcAft>
                <a:spcPts val="300"/>
              </a:spcAft>
              <a:buFont typeface="Arial" panose="020B0604020202020204" pitchFamily="34" charset="0"/>
              <a:buChar char="•"/>
            </a:pPr>
            <a:r>
              <a:rPr lang="en-US" sz="1100" dirty="0">
                <a:latin typeface="Arial" panose="020B0604020202020204" pitchFamily="34" charset="0"/>
              </a:rPr>
              <a:t>E</a:t>
            </a:r>
            <a:r>
              <a:rPr lang="en-US" sz="1100" b="0" i="0" u="none" strike="noStrike" dirty="0">
                <a:effectLst/>
                <a:latin typeface="Arial" panose="020B0604020202020204" pitchFamily="34" charset="0"/>
              </a:rPr>
              <a:t>xpertise spanning across diverse industry domains, including Retail, High-Tech and Public Sector. </a:t>
            </a:r>
          </a:p>
          <a:p>
            <a:pPr marL="171450" indent="-171450">
              <a:spcAft>
                <a:spcPts val="300"/>
              </a:spcAft>
              <a:buFont typeface="Arial" panose="020B0604020202020204" pitchFamily="34" charset="0"/>
              <a:buChar char="•"/>
            </a:pPr>
            <a:r>
              <a:rPr lang="en-US" sz="1100" dirty="0">
                <a:latin typeface="Arial" panose="020B0604020202020204" pitchFamily="34" charset="0"/>
              </a:rPr>
              <a:t>S</a:t>
            </a:r>
            <a:r>
              <a:rPr lang="en-US" sz="1100" b="0" i="0" u="none" strike="noStrike" dirty="0">
                <a:effectLst/>
                <a:latin typeface="Arial" panose="020B0604020202020204" pitchFamily="34" charset="0"/>
              </a:rPr>
              <a:t>uccessfully built, and nurtured high-performing teams dedicated to achieving shared business objectives. </a:t>
            </a:r>
          </a:p>
          <a:p>
            <a:pPr marL="171450" indent="-171450">
              <a:spcAft>
                <a:spcPts val="300"/>
              </a:spcAft>
              <a:buFont typeface="Arial" panose="020B0604020202020204" pitchFamily="34" charset="0"/>
              <a:buChar char="•"/>
            </a:pPr>
            <a:r>
              <a:rPr lang="en-US" sz="1100" dirty="0">
                <a:latin typeface="Arial" panose="020B0604020202020204" pitchFamily="34" charset="0"/>
              </a:rPr>
              <a:t>Highly Experienced in event driven architecture in building scalable enterprise level applications.</a:t>
            </a:r>
          </a:p>
          <a:p>
            <a:pPr marL="171450" indent="-171450">
              <a:spcAft>
                <a:spcPts val="300"/>
              </a:spcAft>
              <a:buFont typeface="Arial" panose="020B0604020202020204" pitchFamily="34" charset="0"/>
              <a:buChar char="•"/>
            </a:pPr>
            <a:r>
              <a:rPr lang="en-US" sz="1100" dirty="0">
                <a:latin typeface="Arial" panose="020B0604020202020204" pitchFamily="34" charset="0"/>
              </a:rPr>
              <a:t>Hands on experience with LWC components, Apex classes, triggers, Visual flows and configuration-based development.</a:t>
            </a:r>
          </a:p>
          <a:p>
            <a:pPr lvl="1"/>
            <a:endParaRPr lang="en-US" sz="1200" dirty="0">
              <a:latin typeface="Arial" panose="020B0604020202020204" pitchFamily="34" charset="0"/>
            </a:endParaRPr>
          </a:p>
          <a:p>
            <a:pPr marL="628650" lvl="1" indent="-171450">
              <a:buFont typeface="Arial" panose="020B0604020202020204" pitchFamily="34" charset="0"/>
              <a:buChar char="•"/>
            </a:pPr>
            <a:endParaRPr lang="en-US" sz="1200" b="0" i="0" u="none" strike="noStrike" dirty="0">
              <a:effectLst/>
              <a:latin typeface="Arial" panose="020B0604020202020204" pitchFamily="34" charset="0"/>
            </a:endParaRPr>
          </a:p>
          <a:p>
            <a:pPr marL="628650" lvl="1" indent="-171450">
              <a:buFont typeface="Arial" panose="020B0604020202020204" pitchFamily="34" charset="0"/>
              <a:buChar char="•"/>
            </a:pPr>
            <a:endParaRPr lang="en-US" sz="1200" b="0" i="0" u="none" strike="noStrike" dirty="0">
              <a:effectLst/>
              <a:latin typeface="Arial" panose="020B0604020202020204" pitchFamily="34" charset="0"/>
            </a:endParaRPr>
          </a:p>
          <a:p>
            <a:pPr marL="628650" lvl="1" indent="-171450">
              <a:buFont typeface="Arial" panose="020B0604020202020204" pitchFamily="34" charset="0"/>
              <a:buChar char="•"/>
            </a:pPr>
            <a:endParaRPr lang="en-US" sz="1200" b="0" i="0" u="none" strike="noStrike" dirty="0">
              <a:effectLst/>
              <a:latin typeface="Arial" panose="020B0604020202020204" pitchFamily="34" charset="0"/>
            </a:endParaRPr>
          </a:p>
          <a:p>
            <a:pPr marL="628650" lvl="1" indent="-171450">
              <a:buFont typeface="Arial" panose="020B0604020202020204" pitchFamily="34" charset="0"/>
              <a:buChar char="•"/>
            </a:pPr>
            <a:endParaRPr lang="en-US" sz="1200" b="0" i="0" u="none" strike="noStrike" dirty="0">
              <a:effectLst/>
              <a:latin typeface="Arial" panose="020B0604020202020204" pitchFamily="34" charset="0"/>
            </a:endParaRPr>
          </a:p>
          <a:p>
            <a:pPr marL="628650" lvl="1" indent="-171450">
              <a:buFont typeface="Arial" panose="020B0604020202020204" pitchFamily="34" charset="0"/>
              <a:buChar char="•"/>
            </a:pPr>
            <a:endParaRPr lang="en-IN" sz="1200" dirty="0"/>
          </a:p>
          <a:p>
            <a:pPr marL="628650" lvl="1" indent="-171450">
              <a:buFont typeface="Arial" panose="020B0604020202020204" pitchFamily="34" charset="0"/>
              <a:buChar char="•"/>
            </a:pPr>
            <a:endParaRPr lang="en-IN" sz="1200" dirty="0"/>
          </a:p>
          <a:p>
            <a:pPr marL="628650" lvl="1" indent="-171450">
              <a:buFont typeface="Arial" panose="020B0604020202020204" pitchFamily="34" charset="0"/>
              <a:buChar char="•"/>
            </a:pPr>
            <a:endParaRPr lang="en-IN" sz="1200" dirty="0"/>
          </a:p>
        </p:txBody>
      </p:sp>
      <p:sp>
        <p:nvSpPr>
          <p:cNvPr id="7" name="TextBox 6">
            <a:extLst>
              <a:ext uri="{FF2B5EF4-FFF2-40B4-BE49-F238E27FC236}">
                <a16:creationId xmlns:a16="http://schemas.microsoft.com/office/drawing/2014/main" id="{3CE32142-2528-2B0A-5C30-1322F229ACC6}"/>
              </a:ext>
            </a:extLst>
          </p:cNvPr>
          <p:cNvSpPr txBox="1"/>
          <p:nvPr/>
        </p:nvSpPr>
        <p:spPr>
          <a:xfrm>
            <a:off x="3823589" y="2628897"/>
            <a:ext cx="7544631" cy="3354765"/>
          </a:xfrm>
          <a:prstGeom prst="rect">
            <a:avLst/>
          </a:prstGeom>
          <a:noFill/>
        </p:spPr>
        <p:txBody>
          <a:bodyPr wrap="square" lIns="91440" tIns="45720" rIns="91440" bIns="45720" rtlCol="0" anchor="t">
            <a:spAutoFit/>
          </a:bodyPr>
          <a:lstStyle/>
          <a:p>
            <a:r>
              <a:rPr lang="en-IN" sz="1100" b="1" dirty="0">
                <a:solidFill>
                  <a:srgbClr val="00B050"/>
                </a:solidFill>
              </a:rPr>
              <a:t>Project Experience</a:t>
            </a:r>
          </a:p>
          <a:p>
            <a:pPr eaLnBrk="0" fontAlgn="base" hangingPunct="0">
              <a:spcBef>
                <a:spcPts val="600"/>
              </a:spcBef>
              <a:spcAft>
                <a:spcPct val="0"/>
              </a:spcAft>
            </a:pPr>
            <a:r>
              <a:rPr lang="en-US" sz="1200" b="1" dirty="0"/>
              <a:t>Ciena / Blue Planet: Vulnerability Tracking tool, Service Cloud, CPQ Implementation.</a:t>
            </a:r>
          </a:p>
          <a:p>
            <a:pPr marL="285750" indent="-285750" eaLnBrk="0" fontAlgn="base" hangingPunct="0">
              <a:spcBef>
                <a:spcPts val="600"/>
              </a:spcBef>
              <a:spcAft>
                <a:spcPct val="0"/>
              </a:spcAft>
              <a:buFont typeface="Arial" panose="020B0604020202020204" pitchFamily="34" charset="0"/>
              <a:buChar char="•"/>
            </a:pPr>
            <a:r>
              <a:rPr lang="en-US" sz="1100" dirty="0"/>
              <a:t>Public Facing Vulnerability Application with versioning ,sensitive data implications. Migrate from In house Entitlement tracker to Service Cloud Entitlements. CPQ Implementation with complex product and pricing structure.</a:t>
            </a:r>
          </a:p>
          <a:p>
            <a:pPr marL="285750" indent="-285750" eaLnBrk="0" fontAlgn="base" hangingPunct="0">
              <a:spcBef>
                <a:spcPts val="600"/>
              </a:spcBef>
              <a:spcAft>
                <a:spcPct val="0"/>
              </a:spcAft>
              <a:buFont typeface="Arial" panose="020B0604020202020204" pitchFamily="34" charset="0"/>
              <a:buChar char="•"/>
            </a:pPr>
            <a:r>
              <a:rPr lang="en-US" sz="1100" dirty="0"/>
              <a:t>Designed to Leverage Lightning Knowledge, OTB Entitlement with additional customizations. Salesforce CPQ with Pricing Integrations and OTB Product Rules.</a:t>
            </a:r>
          </a:p>
          <a:p>
            <a:pPr marL="285750" indent="-285750" eaLnBrk="0" fontAlgn="base" hangingPunct="0">
              <a:spcBef>
                <a:spcPts val="600"/>
              </a:spcBef>
              <a:spcAft>
                <a:spcPct val="0"/>
              </a:spcAft>
              <a:buFont typeface="Arial" panose="020B0604020202020204" pitchFamily="34" charset="0"/>
              <a:buChar char="•"/>
            </a:pPr>
            <a:r>
              <a:rPr lang="en-US" sz="1100" dirty="0"/>
              <a:t>Improved Case turnaround time, 2x improvement in Quoting efficiency. Faster vulnerability tracking and customer notifications.</a:t>
            </a:r>
          </a:p>
          <a:p>
            <a:pPr marL="285750" indent="-285750" eaLnBrk="0" fontAlgn="base" hangingPunct="0">
              <a:spcBef>
                <a:spcPts val="600"/>
              </a:spcBef>
              <a:spcAft>
                <a:spcPct val="0"/>
              </a:spcAft>
              <a:buFont typeface="Arial" panose="020B0604020202020204" pitchFamily="34" charset="0"/>
              <a:buChar char="•"/>
            </a:pPr>
            <a:endParaRPr lang="en-US" sz="1100" dirty="0"/>
          </a:p>
          <a:p>
            <a:pPr eaLnBrk="0" fontAlgn="base" hangingPunct="0">
              <a:spcBef>
                <a:spcPts val="600"/>
              </a:spcBef>
              <a:spcAft>
                <a:spcPct val="0"/>
              </a:spcAft>
            </a:pPr>
            <a:r>
              <a:rPr lang="en-US" sz="1200" b="1" dirty="0"/>
              <a:t>Box Inc: CPQ Implementation, ORG Optimization.</a:t>
            </a:r>
          </a:p>
          <a:p>
            <a:pPr marL="285750" indent="-285750" eaLnBrk="0" fontAlgn="base" hangingPunct="0">
              <a:spcBef>
                <a:spcPts val="600"/>
              </a:spcBef>
              <a:spcAft>
                <a:spcPct val="0"/>
              </a:spcAft>
              <a:buFont typeface="Arial" panose="020B0604020202020204" pitchFamily="34" charset="0"/>
              <a:buChar char="•"/>
            </a:pPr>
            <a:r>
              <a:rPr lang="en-US" sz="1100" dirty="0"/>
              <a:t>CPQ Implementation with Complex Product Bundle Structure and Related Pricing Requirements. Renewal Redesign and Online Sales Re-architecture.</a:t>
            </a:r>
          </a:p>
          <a:p>
            <a:pPr marL="285750" indent="-285750" eaLnBrk="0" fontAlgn="base" hangingPunct="0">
              <a:spcBef>
                <a:spcPts val="600"/>
              </a:spcBef>
              <a:spcAft>
                <a:spcPct val="0"/>
              </a:spcAft>
              <a:buFont typeface="Arial" panose="020B0604020202020204" pitchFamily="34" charset="0"/>
              <a:buChar char="•"/>
            </a:pPr>
            <a:r>
              <a:rPr lang="en-US" sz="1100" dirty="0"/>
              <a:t>Challenges around complex pricing model, large Quotes, completely custom renewal requirements.</a:t>
            </a:r>
          </a:p>
          <a:p>
            <a:pPr marL="285750" indent="-285750" eaLnBrk="0" fontAlgn="base" hangingPunct="0">
              <a:spcBef>
                <a:spcPts val="600"/>
              </a:spcBef>
              <a:spcAft>
                <a:spcPct val="0"/>
              </a:spcAft>
              <a:buFont typeface="Arial" panose="020B0604020202020204" pitchFamily="34" charset="0"/>
              <a:buChar char="•"/>
            </a:pPr>
            <a:r>
              <a:rPr lang="en-US" sz="1100" dirty="0"/>
              <a:t>Reduced Pricing time by half. Ability to handle complex renewal scenarios.</a:t>
            </a:r>
          </a:p>
        </p:txBody>
      </p:sp>
      <p:sp>
        <p:nvSpPr>
          <p:cNvPr id="9" name="TextBox 8">
            <a:extLst>
              <a:ext uri="{FF2B5EF4-FFF2-40B4-BE49-F238E27FC236}">
                <a16:creationId xmlns:a16="http://schemas.microsoft.com/office/drawing/2014/main" id="{C7EF9A0A-B875-5DE8-200F-ADC5D4D2DD3C}"/>
              </a:ext>
            </a:extLst>
          </p:cNvPr>
          <p:cNvSpPr txBox="1"/>
          <p:nvPr/>
        </p:nvSpPr>
        <p:spPr>
          <a:xfrm>
            <a:off x="324406" y="4240646"/>
            <a:ext cx="3429585" cy="1277273"/>
          </a:xfrm>
          <a:prstGeom prst="rect">
            <a:avLst/>
          </a:prstGeom>
          <a:noFill/>
        </p:spPr>
        <p:txBody>
          <a:bodyPr wrap="square" lIns="91440" tIns="45720" rIns="91440" bIns="45720" rtlCol="0" anchor="t">
            <a:spAutoFit/>
          </a:bodyPr>
          <a:lstStyle/>
          <a:p>
            <a:pPr>
              <a:defRPr/>
            </a:pPr>
            <a:r>
              <a:rPr lang="en-IN" sz="1100" b="1" dirty="0">
                <a:solidFill>
                  <a:srgbClr val="00B050"/>
                </a:solidFill>
              </a:rPr>
              <a:t>Certifications</a:t>
            </a:r>
          </a:p>
          <a:p>
            <a:pPr lvl="0" indent="-285750">
              <a:buFont typeface="Arial" panose="020B0604020202020204" pitchFamily="34" charset="0"/>
              <a:buChar char="•"/>
              <a:defRPr/>
            </a:pPr>
            <a:r>
              <a:rPr lang="en-IN" sz="1100" dirty="0">
                <a:solidFill>
                  <a:srgbClr val="000000"/>
                </a:solidFill>
              </a:rPr>
              <a:t>Salesforce Certified CPQ Specialist</a:t>
            </a:r>
          </a:p>
          <a:p>
            <a:pPr lvl="0" indent="-285750">
              <a:buFont typeface="Arial" panose="020B0604020202020204" pitchFamily="34" charset="0"/>
              <a:buChar char="•"/>
              <a:defRPr/>
            </a:pPr>
            <a:r>
              <a:rPr lang="en-IN" sz="1100" dirty="0">
                <a:solidFill>
                  <a:srgbClr val="000000"/>
                </a:solidFill>
              </a:rPr>
              <a:t>Salesforce Certified Platform Developer</a:t>
            </a:r>
          </a:p>
          <a:p>
            <a:pPr lvl="0" indent="-285750">
              <a:buFont typeface="Arial" panose="020B0604020202020204" pitchFamily="34" charset="0"/>
              <a:buChar char="•"/>
              <a:defRPr/>
            </a:pPr>
            <a:r>
              <a:rPr lang="en-IN" sz="1100" dirty="0">
                <a:solidFill>
                  <a:srgbClr val="000000"/>
                </a:solidFill>
              </a:rPr>
              <a:t>Salesforce Certified Data Cloud Consultant</a:t>
            </a:r>
          </a:p>
          <a:p>
            <a:pPr lvl="0" indent="-285750">
              <a:buFont typeface="Arial" panose="020B0604020202020204" pitchFamily="34" charset="0"/>
              <a:buChar char="•"/>
              <a:defRPr/>
            </a:pPr>
            <a:r>
              <a:rPr lang="en-IN" sz="1100" dirty="0">
                <a:solidFill>
                  <a:srgbClr val="000000"/>
                </a:solidFill>
              </a:rPr>
              <a:t>Salesforce Certified AI Associate</a:t>
            </a:r>
          </a:p>
          <a:p>
            <a:pPr marL="285750" lvl="0" indent="-285750">
              <a:buFont typeface="Arial" panose="020B0604020202020204" pitchFamily="34" charset="0"/>
              <a:buChar char="•"/>
              <a:defRPr/>
            </a:pPr>
            <a:endParaRPr lang="en-IN" sz="1100" i="1" dirty="0">
              <a:solidFill>
                <a:prstClr val="black"/>
              </a:solidFill>
            </a:endParaRPr>
          </a:p>
          <a:p>
            <a:pPr marL="285750" lvl="0" indent="-285750">
              <a:buFont typeface="Arial" panose="020B0604020202020204" pitchFamily="34" charset="0"/>
              <a:buChar char="•"/>
              <a:defRPr/>
            </a:pPr>
            <a:endParaRPr lang="en-IN" sz="1100" i="1" dirty="0">
              <a:solidFill>
                <a:prstClr val="black"/>
              </a:solidFill>
            </a:endParaRPr>
          </a:p>
        </p:txBody>
      </p:sp>
      <p:cxnSp>
        <p:nvCxnSpPr>
          <p:cNvPr id="10" name="Straight Connector 9">
            <a:extLst>
              <a:ext uri="{FF2B5EF4-FFF2-40B4-BE49-F238E27FC236}">
                <a16:creationId xmlns:a16="http://schemas.microsoft.com/office/drawing/2014/main" id="{9EC7C76D-C97F-A772-876E-CF1BFD86BA7C}"/>
              </a:ext>
            </a:extLst>
          </p:cNvPr>
          <p:cNvCxnSpPr/>
          <p:nvPr/>
        </p:nvCxnSpPr>
        <p:spPr>
          <a:xfrm>
            <a:off x="3823589" y="585626"/>
            <a:ext cx="0" cy="5764427"/>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FBD439F3-52F1-6FDC-026D-3C90CE3FE831}"/>
              </a:ext>
            </a:extLst>
          </p:cNvPr>
          <p:cNvSpPr txBox="1"/>
          <p:nvPr/>
        </p:nvSpPr>
        <p:spPr>
          <a:xfrm>
            <a:off x="1577082" y="1093151"/>
            <a:ext cx="2218263" cy="1099083"/>
          </a:xfrm>
          <a:prstGeom prst="rect">
            <a:avLst/>
          </a:prstGeom>
          <a:noFill/>
        </p:spPr>
        <p:txBody>
          <a:bodyPr wrap="square" rtlCol="0">
            <a:spAutoFit/>
          </a:bodyPr>
          <a:lstStyle/>
          <a:p>
            <a:pPr>
              <a:lnSpc>
                <a:spcPts val="1600"/>
              </a:lnSpc>
              <a:spcBef>
                <a:spcPts val="0"/>
              </a:spcBef>
            </a:pPr>
            <a:r>
              <a:rPr lang="en-US" sz="1100" b="1" dirty="0"/>
              <a:t>praveen.sadineni@brillio.com</a:t>
            </a:r>
          </a:p>
          <a:p>
            <a:pPr>
              <a:lnSpc>
                <a:spcPts val="1600"/>
              </a:lnSpc>
              <a:spcBef>
                <a:spcPts val="0"/>
              </a:spcBef>
            </a:pPr>
            <a:r>
              <a:rPr lang="en-US" sz="1100" b="1" dirty="0">
                <a:solidFill>
                  <a:srgbClr val="201646"/>
                </a:solidFill>
                <a:latin typeface="Arial"/>
                <a:ea typeface="+mj-ea"/>
                <a:cs typeface="Arial"/>
              </a:rPr>
              <a:t>Austin,TX</a:t>
            </a:r>
          </a:p>
          <a:p>
            <a:pPr>
              <a:lnSpc>
                <a:spcPts val="1600"/>
              </a:lnSpc>
              <a:spcBef>
                <a:spcPts val="0"/>
              </a:spcBef>
            </a:pPr>
            <a:endParaRPr lang="en-US" sz="1100" b="1" dirty="0">
              <a:solidFill>
                <a:srgbClr val="201646"/>
              </a:solidFill>
              <a:latin typeface="Arial"/>
              <a:ea typeface="+mj-ea"/>
              <a:cs typeface="Arial"/>
            </a:endParaRPr>
          </a:p>
          <a:p>
            <a:pPr>
              <a:lnSpc>
                <a:spcPts val="1600"/>
              </a:lnSpc>
            </a:pPr>
            <a:r>
              <a:rPr lang="en-US" sz="1100" b="1" dirty="0"/>
              <a:t>Industry Experience: </a:t>
            </a:r>
          </a:p>
          <a:p>
            <a:pPr>
              <a:lnSpc>
                <a:spcPts val="1600"/>
              </a:lnSpc>
            </a:pPr>
            <a:r>
              <a:rPr lang="en-US" sz="1100" dirty="0"/>
              <a:t>High-Tech, Retail</a:t>
            </a:r>
          </a:p>
        </p:txBody>
      </p:sp>
      <p:pic>
        <p:nvPicPr>
          <p:cNvPr id="14" name="Picture 13" descr="A person wearing glasses and a blue shirt&#10;&#10;Description automatically generated">
            <a:extLst>
              <a:ext uri="{FF2B5EF4-FFF2-40B4-BE49-F238E27FC236}">
                <a16:creationId xmlns:a16="http://schemas.microsoft.com/office/drawing/2014/main" id="{D57D189A-E8C3-9E27-4281-2714BCE77773}"/>
              </a:ext>
            </a:extLst>
          </p:cNvPr>
          <p:cNvPicPr>
            <a:picLocks/>
          </p:cNvPicPr>
          <p:nvPr/>
        </p:nvPicPr>
        <p:blipFill>
          <a:blip r:embed="rId2"/>
          <a:stretch>
            <a:fillRect/>
          </a:stretch>
        </p:blipFill>
        <p:spPr>
          <a:xfrm>
            <a:off x="322298" y="720012"/>
            <a:ext cx="1249727" cy="1303267"/>
          </a:xfrm>
          <a:prstGeom prst="ellipse">
            <a:avLst/>
          </a:prstGeom>
          <a:ln>
            <a:solidFill>
              <a:srgbClr val="92D050"/>
            </a:solidFill>
          </a:ln>
        </p:spPr>
      </p:pic>
      <p:sp>
        <p:nvSpPr>
          <p:cNvPr id="12" name="TextBox 11">
            <a:extLst>
              <a:ext uri="{FF2B5EF4-FFF2-40B4-BE49-F238E27FC236}">
                <a16:creationId xmlns:a16="http://schemas.microsoft.com/office/drawing/2014/main" id="{40CD802B-7C99-AFD1-E060-8A89BC9A3C94}"/>
              </a:ext>
            </a:extLst>
          </p:cNvPr>
          <p:cNvSpPr txBox="1"/>
          <p:nvPr/>
        </p:nvSpPr>
        <p:spPr>
          <a:xfrm>
            <a:off x="322298" y="5185695"/>
            <a:ext cx="3317240" cy="769441"/>
          </a:xfrm>
          <a:prstGeom prst="rect">
            <a:avLst/>
          </a:prstGeom>
          <a:noFill/>
        </p:spPr>
        <p:txBody>
          <a:bodyPr wrap="square" rtlCol="0">
            <a:spAutoFit/>
          </a:bodyPr>
          <a:lstStyle/>
          <a:p>
            <a:pPr>
              <a:defRPr/>
            </a:pPr>
            <a:r>
              <a:rPr lang="en-IN" sz="1100" b="1" dirty="0">
                <a:solidFill>
                  <a:srgbClr val="00B050"/>
                </a:solidFill>
              </a:rPr>
              <a:t>Recent Roles</a:t>
            </a:r>
            <a:endParaRPr kumimoji="0" lang="en-IN" sz="1100" b="0" i="0" u="none" strike="noStrike" kern="1200" cap="none" spc="0" normalizeH="0" baseline="0" noProof="0" dirty="0">
              <a:ln>
                <a:noFill/>
              </a:ln>
              <a:solidFill>
                <a:srgbClr val="00B050"/>
              </a:solidFill>
              <a:effectLst/>
              <a:uLnTx/>
              <a:uFillTx/>
              <a:ea typeface="+mn-ea"/>
              <a:cs typeface="+mn-cs"/>
            </a:endParaRP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Salesforce Technical Architect</a:t>
            </a: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Salesforce CPQ Architect.</a:t>
            </a: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Salesforce Lead Developer.</a:t>
            </a:r>
          </a:p>
        </p:txBody>
      </p:sp>
      <p:sp>
        <p:nvSpPr>
          <p:cNvPr id="13" name="TextBox 12">
            <a:extLst>
              <a:ext uri="{FF2B5EF4-FFF2-40B4-BE49-F238E27FC236}">
                <a16:creationId xmlns:a16="http://schemas.microsoft.com/office/drawing/2014/main" id="{ECCA8424-32D1-6C00-7864-E66F2C14A223}"/>
              </a:ext>
            </a:extLst>
          </p:cNvPr>
          <p:cNvSpPr txBox="1"/>
          <p:nvPr/>
        </p:nvSpPr>
        <p:spPr>
          <a:xfrm>
            <a:off x="322298" y="5949330"/>
            <a:ext cx="7544633" cy="430887"/>
          </a:xfrm>
          <a:prstGeom prst="rect">
            <a:avLst/>
          </a:prstGeom>
          <a:noFill/>
        </p:spPr>
        <p:txBody>
          <a:bodyPr wrap="square" rtlCol="0">
            <a:spAutoFit/>
          </a:bodyPr>
          <a:lstStyle/>
          <a:p>
            <a:r>
              <a:rPr lang="en-IN" sz="1100" b="1" dirty="0">
                <a:solidFill>
                  <a:srgbClr val="00B050"/>
                </a:solidFill>
              </a:rPr>
              <a:t>Key Clients</a:t>
            </a:r>
          </a:p>
          <a:p>
            <a:pPr marL="171450" indent="-171450">
              <a:buFont typeface="Arial" panose="020B0604020202020204" pitchFamily="34" charset="0"/>
              <a:buChar char="•"/>
            </a:pPr>
            <a:endParaRPr lang="en-US" sz="1100" dirty="0">
              <a:ea typeface="Calibri" panose="020F0502020204030204" pitchFamily="34" charset="0"/>
              <a:cs typeface="Arial" panose="020B0604020202020204" pitchFamily="34" charset="0"/>
              <a:sym typeface="Wingdings" panose="05000000000000000000" pitchFamily="2" charset="2"/>
            </a:endParaRPr>
          </a:p>
        </p:txBody>
      </p:sp>
      <p:sp>
        <p:nvSpPr>
          <p:cNvPr id="15" name="TextBox 14">
            <a:extLst>
              <a:ext uri="{FF2B5EF4-FFF2-40B4-BE49-F238E27FC236}">
                <a16:creationId xmlns:a16="http://schemas.microsoft.com/office/drawing/2014/main" id="{6B53A665-C3C5-5087-0EC4-1758F27F3F9E}"/>
              </a:ext>
            </a:extLst>
          </p:cNvPr>
          <p:cNvSpPr txBox="1"/>
          <p:nvPr/>
        </p:nvSpPr>
        <p:spPr>
          <a:xfrm>
            <a:off x="331689" y="6164774"/>
            <a:ext cx="3124762" cy="553998"/>
          </a:xfrm>
          <a:prstGeom prst="rect">
            <a:avLst/>
          </a:prstGeom>
          <a:noFill/>
        </p:spPr>
        <p:txBody>
          <a:bodyPr wrap="square" numCol="3">
            <a:spAutoFit/>
          </a:bodyPr>
          <a:lstStyle/>
          <a:p>
            <a:pPr marL="171450" indent="-171450">
              <a:buFont typeface="Arial" panose="020B0604020202020204" pitchFamily="34" charset="0"/>
              <a:buChar char="•"/>
            </a:pPr>
            <a:r>
              <a:rPr lang="en-US" sz="1000" dirty="0"/>
              <a:t>Ciena</a:t>
            </a:r>
          </a:p>
          <a:p>
            <a:pPr marL="171450" indent="-171450">
              <a:buFont typeface="Arial" panose="020B0604020202020204" pitchFamily="34" charset="0"/>
              <a:buChar char="•"/>
            </a:pPr>
            <a:r>
              <a:rPr lang="en-US" sz="1000" dirty="0"/>
              <a:t>Box</a:t>
            </a:r>
          </a:p>
          <a:p>
            <a:pPr marL="171450" indent="-171450">
              <a:buFont typeface="Arial" panose="020B0604020202020204" pitchFamily="34" charset="0"/>
              <a:buChar char="•"/>
            </a:pPr>
            <a:r>
              <a:rPr lang="en-US" sz="1000" dirty="0"/>
              <a:t>Lexmark</a:t>
            </a:r>
          </a:p>
          <a:p>
            <a:pPr marL="171450" indent="-171450">
              <a:buFont typeface="Arial" panose="020B0604020202020204" pitchFamily="34" charset="0"/>
              <a:buChar char="•"/>
            </a:pPr>
            <a:r>
              <a:rPr lang="en-US" sz="1000" dirty="0"/>
              <a:t>Draiver</a:t>
            </a:r>
          </a:p>
          <a:p>
            <a:pPr marL="171450" indent="-171450">
              <a:buFont typeface="Arial" panose="020B0604020202020204" pitchFamily="34" charset="0"/>
              <a:buChar char="•"/>
            </a:pPr>
            <a:r>
              <a:rPr lang="en-US" sz="1000" dirty="0"/>
              <a:t>State of Kentucky</a:t>
            </a:r>
          </a:p>
          <a:p>
            <a:pPr marL="171450" indent="-171450">
              <a:buFont typeface="Arial" panose="020B0604020202020204" pitchFamily="34" charset="0"/>
              <a:buChar char="•"/>
            </a:pPr>
            <a:r>
              <a:rPr lang="en-US" sz="1000" dirty="0"/>
              <a:t>Schneider Electric 	</a:t>
            </a:r>
          </a:p>
          <a:p>
            <a:pPr marL="171450" indent="-171450">
              <a:buFont typeface="Arial" panose="020B0604020202020204" pitchFamily="34" charset="0"/>
              <a:buChar char="•"/>
            </a:pPr>
            <a:endParaRPr lang="en-US" sz="1000" dirty="0"/>
          </a:p>
        </p:txBody>
      </p:sp>
    </p:spTree>
    <p:extLst>
      <p:ext uri="{BB962C8B-B14F-4D97-AF65-F5344CB8AC3E}">
        <p14:creationId xmlns:p14="http://schemas.microsoft.com/office/powerpoint/2010/main" val="14210216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a:xfrm>
            <a:off x="9856788" y="6212312"/>
            <a:ext cx="1969451" cy="259715"/>
          </a:xfrm>
          <a:prstGeom prst="rect">
            <a:avLst/>
          </a:prstGeom>
        </p:spPr>
        <p:txBody>
          <a:bodyPr vert="horz" lIns="0" tIns="0" rIns="0" bIns="0" rtlCol="0" anchor="b"/>
          <a:lstStyle>
            <a:defPPr>
              <a:defRPr lang="en-US"/>
            </a:defPPr>
            <a:lvl1pPr marL="0" algn="r" defTabSz="914400"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2024 Brillio  |  </a:t>
            </a:r>
            <a:fld id="{F1FE5E21-FD07-B44E-90A3-0254BFCDB49A}" type="slidenum">
              <a:rPr smtClean="0"/>
              <a:pPr/>
              <a:t>6</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365760" y="314325"/>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Praveen Sadineni, Technology Specialist (Salesforce, Integrations)</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438318" y="830575"/>
            <a:ext cx="10974749" cy="4862870"/>
          </a:xfrm>
          <a:prstGeom prst="rect">
            <a:avLst/>
          </a:prstGeom>
          <a:noFill/>
        </p:spPr>
        <p:txBody>
          <a:bodyPr wrap="square" lIns="91440" tIns="45720" rIns="91440" bIns="45720" rtlCol="0" anchor="t">
            <a:spAutoFit/>
          </a:bodyPr>
          <a:lstStyle/>
          <a:p>
            <a:pPr eaLnBrk="0" fontAlgn="base" hangingPunct="0">
              <a:spcBef>
                <a:spcPts val="600"/>
              </a:spcBef>
              <a:spcAft>
                <a:spcPct val="0"/>
              </a:spcAft>
            </a:pPr>
            <a:r>
              <a:rPr lang="en-US" sz="1100" b="1" dirty="0"/>
              <a:t>Draiver: Integration Framework, Handling Vehicle Telemetric data, POC’s on Heroku , Salesforce platforms</a:t>
            </a:r>
          </a:p>
          <a:p>
            <a:pPr marL="285750" indent="-285750" eaLnBrk="0" fontAlgn="base" hangingPunct="0">
              <a:spcBef>
                <a:spcPts val="600"/>
              </a:spcBef>
              <a:spcAft>
                <a:spcPct val="0"/>
              </a:spcAft>
              <a:buFont typeface="Arial" panose="020B0604020202020204" pitchFamily="34" charset="0"/>
              <a:buChar char="•"/>
            </a:pPr>
            <a:r>
              <a:rPr lang="en-US" sz="1100" dirty="0"/>
              <a:t>Migrate Various Compute Intensive applications which consume lot of Salesforce Platform Limits to Heroku platform. Needed Robust Messaging Integration.</a:t>
            </a:r>
          </a:p>
          <a:p>
            <a:pPr marL="285750" indent="-285750" eaLnBrk="0" fontAlgn="base" hangingPunct="0">
              <a:spcBef>
                <a:spcPts val="600"/>
              </a:spcBef>
              <a:spcAft>
                <a:spcPct val="0"/>
              </a:spcAft>
              <a:buFont typeface="Arial" panose="020B0604020202020204" pitchFamily="34" charset="0"/>
              <a:buChar char="•"/>
            </a:pPr>
            <a:r>
              <a:rPr lang="en-US" sz="1100" dirty="0"/>
              <a:t>Performed various POC’s to migrate some high process intensive apps to Heroku Platform. Provided Enterprise Level Messaging capability through Heroku and Firebase. Integrations to parse high complex telemetric data and document API’s on Swagger Hub.</a:t>
            </a:r>
          </a:p>
          <a:p>
            <a:pPr marL="285750" indent="-285750" eaLnBrk="0" fontAlgn="base" hangingPunct="0">
              <a:spcBef>
                <a:spcPts val="600"/>
              </a:spcBef>
              <a:spcAft>
                <a:spcPct val="0"/>
              </a:spcAft>
              <a:buFont typeface="Arial" panose="020B0604020202020204" pitchFamily="34" charset="0"/>
              <a:buChar char="•"/>
            </a:pPr>
            <a:r>
              <a:rPr lang="en-US" sz="1100" dirty="0"/>
              <a:t>Performance Improvements, Reduce Limit related Errors.</a:t>
            </a:r>
          </a:p>
          <a:p>
            <a:pPr marL="742950" lvl="1" indent="-285750" eaLnBrk="0" fontAlgn="base" hangingPunct="0">
              <a:spcBef>
                <a:spcPts val="600"/>
              </a:spcBef>
              <a:spcAft>
                <a:spcPct val="0"/>
              </a:spcAft>
              <a:buFont typeface="Arial" panose="020B0604020202020204" pitchFamily="34" charset="0"/>
              <a:buChar char="•"/>
            </a:pPr>
            <a:endParaRPr lang="en-US" sz="1100" b="1" dirty="0">
              <a:highlight>
                <a:srgbClr val="FFFF00"/>
              </a:highlight>
            </a:endParaRPr>
          </a:p>
          <a:p>
            <a:pPr eaLnBrk="0" fontAlgn="base" hangingPunct="0">
              <a:spcBef>
                <a:spcPts val="600"/>
              </a:spcBef>
              <a:spcAft>
                <a:spcPct val="0"/>
              </a:spcAft>
            </a:pPr>
            <a:r>
              <a:rPr lang="en-US" sz="1100" b="1" dirty="0"/>
              <a:t>State of Kentucky: Citizen Portals, Workforce Portals, Multi ORG Strategy. </a:t>
            </a:r>
            <a:endParaRPr lang="en-US" sz="1100" dirty="0"/>
          </a:p>
          <a:p>
            <a:pPr marL="285750" indent="-285750" eaLnBrk="0" fontAlgn="base" hangingPunct="0">
              <a:spcBef>
                <a:spcPts val="600"/>
              </a:spcBef>
              <a:spcAft>
                <a:spcPct val="0"/>
              </a:spcAft>
              <a:buFont typeface="Arial" panose="020B0604020202020204" pitchFamily="34" charset="0"/>
              <a:buChar char="•"/>
            </a:pPr>
            <a:r>
              <a:rPr lang="en-US" sz="1100" dirty="0"/>
              <a:t>Challenges with Multiple ORG’s. Security and Compliance requirements for various citizen facing portals.</a:t>
            </a:r>
          </a:p>
          <a:p>
            <a:pPr marL="285750" indent="-285750" eaLnBrk="0" fontAlgn="base" hangingPunct="0">
              <a:spcBef>
                <a:spcPts val="600"/>
              </a:spcBef>
              <a:spcAft>
                <a:spcPct val="0"/>
              </a:spcAft>
              <a:buFont typeface="Arial" panose="020B0604020202020204" pitchFamily="34" charset="0"/>
              <a:buChar char="•"/>
            </a:pPr>
            <a:r>
              <a:rPr lang="en-US" sz="1100" dirty="0"/>
              <a:t>Established overall best practices for Salesforce Platform Across All State of Kentucky Org’s.</a:t>
            </a:r>
          </a:p>
          <a:p>
            <a:pPr marL="285750" indent="-285750" eaLnBrk="0" fontAlgn="base" hangingPunct="0">
              <a:spcBef>
                <a:spcPts val="600"/>
              </a:spcBef>
              <a:spcAft>
                <a:spcPct val="0"/>
              </a:spcAft>
              <a:buFont typeface="Arial" panose="020B0604020202020204" pitchFamily="34" charset="0"/>
              <a:buChar char="•"/>
            </a:pPr>
            <a:r>
              <a:rPr lang="en-US" sz="1100" dirty="0"/>
              <a:t>Promoted Component based development and event driven architecture and code sharing between multiple orgs.</a:t>
            </a:r>
          </a:p>
          <a:p>
            <a:pPr marL="285750" indent="-285750" eaLnBrk="0" fontAlgn="base" hangingPunct="0">
              <a:spcBef>
                <a:spcPts val="600"/>
              </a:spcBef>
              <a:spcAft>
                <a:spcPct val="0"/>
              </a:spcAft>
              <a:buFont typeface="Arial" panose="020B0604020202020204" pitchFamily="34" charset="0"/>
              <a:buChar char="•"/>
            </a:pPr>
            <a:r>
              <a:rPr lang="en-US" sz="1100" dirty="0"/>
              <a:t>2x Improvement in Development time with vast array of reusable components. Improved Compliance with State and federal regulations.</a:t>
            </a:r>
          </a:p>
          <a:p>
            <a:pPr lvl="1" eaLnBrk="0" fontAlgn="base" hangingPunct="0">
              <a:spcBef>
                <a:spcPts val="600"/>
              </a:spcBef>
              <a:spcAft>
                <a:spcPct val="0"/>
              </a:spcAft>
            </a:pPr>
            <a:endParaRPr lang="en-US" sz="1100" b="1" dirty="0">
              <a:highlight>
                <a:srgbClr val="FFFF00"/>
              </a:highlight>
            </a:endParaRPr>
          </a:p>
          <a:p>
            <a:pPr eaLnBrk="0" fontAlgn="base" hangingPunct="0">
              <a:spcBef>
                <a:spcPts val="600"/>
              </a:spcBef>
              <a:spcAft>
                <a:spcPct val="0"/>
              </a:spcAft>
            </a:pPr>
            <a:r>
              <a:rPr lang="en-US" sz="1100" b="1" dirty="0"/>
              <a:t>Schneider Electric: Custom CPQ Implementation on Force.com platform.</a:t>
            </a:r>
          </a:p>
          <a:p>
            <a:pPr marL="285750" indent="-285750" eaLnBrk="0" fontAlgn="base" hangingPunct="0">
              <a:spcBef>
                <a:spcPts val="600"/>
              </a:spcBef>
              <a:spcAft>
                <a:spcPct val="0"/>
              </a:spcAft>
              <a:buFont typeface="Arial" panose="020B0604020202020204" pitchFamily="34" charset="0"/>
              <a:buChar char="•"/>
            </a:pPr>
            <a:r>
              <a:rPr lang="en-US" sz="1100" dirty="0"/>
              <a:t>Develop a Custom Scalable CPQ Solution that can Integrate with Azure based Product Configurator. Implement configurable Product, pricing rules from scratch.</a:t>
            </a:r>
          </a:p>
          <a:p>
            <a:pPr marL="285750" indent="-285750" eaLnBrk="0" fontAlgn="base" hangingPunct="0">
              <a:spcBef>
                <a:spcPts val="600"/>
              </a:spcBef>
              <a:spcAft>
                <a:spcPct val="0"/>
              </a:spcAft>
              <a:buFont typeface="Arial" panose="020B0604020202020204" pitchFamily="34" charset="0"/>
              <a:buChar char="•"/>
            </a:pPr>
            <a:r>
              <a:rPr lang="en-US" sz="1100" dirty="0"/>
              <a:t>Involved in Architecture, Design and Development. Delivered Scalable Solution entirely on Force.com within limitations of the platform.</a:t>
            </a:r>
          </a:p>
          <a:p>
            <a:pPr marL="285750" indent="-285750" eaLnBrk="0" fontAlgn="base" hangingPunct="0">
              <a:spcBef>
                <a:spcPts val="600"/>
              </a:spcBef>
              <a:spcAft>
                <a:spcPct val="0"/>
              </a:spcAft>
              <a:buFont typeface="Arial" panose="020B0604020202020204" pitchFamily="34" charset="0"/>
              <a:buChar char="•"/>
            </a:pPr>
            <a:r>
              <a:rPr lang="en-US" sz="1100" dirty="0"/>
              <a:t>Managed team of 30+ Developers and standardized development practices and established development and deployment pipelines.</a:t>
            </a:r>
          </a:p>
          <a:p>
            <a:pPr lvl="1" eaLnBrk="0" fontAlgn="base" hangingPunct="0">
              <a:spcBef>
                <a:spcPts val="600"/>
              </a:spcBef>
              <a:spcAft>
                <a:spcPct val="0"/>
              </a:spcAft>
            </a:pPr>
            <a:endParaRPr lang="en-US" sz="1100" b="1" dirty="0">
              <a:highlight>
                <a:srgbClr val="FFFF00"/>
              </a:highlight>
            </a:endParaRPr>
          </a:p>
          <a:p>
            <a:pPr eaLnBrk="0" fontAlgn="base" hangingPunct="0">
              <a:spcBef>
                <a:spcPts val="600"/>
              </a:spcBef>
              <a:spcAft>
                <a:spcPct val="0"/>
              </a:spcAft>
            </a:pPr>
            <a:r>
              <a:rPr lang="en-US" sz="1100" b="1" dirty="0"/>
              <a:t>Lexmark / Perceptive Software: Sales , Service cloud implementation.</a:t>
            </a:r>
            <a:endParaRPr lang="en-US" sz="1100" dirty="0"/>
          </a:p>
          <a:p>
            <a:pPr marL="285750" indent="-285750" eaLnBrk="0" fontAlgn="base" hangingPunct="0">
              <a:spcBef>
                <a:spcPts val="600"/>
              </a:spcBef>
              <a:spcAft>
                <a:spcPct val="0"/>
              </a:spcAft>
              <a:buFont typeface="Arial" panose="020B0604020202020204" pitchFamily="34" charset="0"/>
              <a:buChar char="•"/>
            </a:pPr>
            <a:r>
              <a:rPr lang="en-US" sz="1100" dirty="0"/>
              <a:t>Handle Acquisitions and ORG Merges. Reduce Partner Portal License costs, High Volume Data Migrations. Sales and Service Cloud Implementation.</a:t>
            </a:r>
          </a:p>
          <a:p>
            <a:pPr marL="285750" indent="-285750" eaLnBrk="0" fontAlgn="base" hangingPunct="0">
              <a:spcBef>
                <a:spcPts val="600"/>
              </a:spcBef>
              <a:spcAft>
                <a:spcPct val="0"/>
              </a:spcAft>
              <a:buFont typeface="Arial" panose="020B0604020202020204" pitchFamily="34" charset="0"/>
              <a:buChar char="•"/>
            </a:pPr>
            <a:r>
              <a:rPr lang="en-US" sz="1100" dirty="0"/>
              <a:t>Implemented Partner Sharing Framework on Customer Portal for License Cost Reduction. Introduced DbAmp to establish data load pipelines and reusable scripts.</a:t>
            </a:r>
          </a:p>
        </p:txBody>
      </p:sp>
    </p:spTree>
    <p:extLst>
      <p:ext uri="{BB962C8B-B14F-4D97-AF65-F5344CB8AC3E}">
        <p14:creationId xmlns:p14="http://schemas.microsoft.com/office/powerpoint/2010/main" val="3923116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366FD8E-F5D6-ED46-81F7-E0FA22AB0478}"/>
              </a:ext>
            </a:extLst>
          </p:cNvPr>
          <p:cNvSpPr>
            <a:spLocks noGrp="1"/>
          </p:cNvSpPr>
          <p:nvPr>
            <p:ph type="title"/>
          </p:nvPr>
        </p:nvSpPr>
        <p:spPr>
          <a:xfrm>
            <a:off x="365760" y="381000"/>
            <a:ext cx="7677858" cy="5349875"/>
          </a:xfrm>
        </p:spPr>
        <p:txBody>
          <a:bodyPr/>
          <a:lstStyle/>
          <a:p>
            <a:r>
              <a:rPr lang="en-US" sz="2800" b="1" dirty="0">
                <a:solidFill>
                  <a:srgbClr val="2CC84D"/>
                </a:solidFill>
              </a:rPr>
              <a:t>#2 </a:t>
            </a:r>
            <a:r>
              <a:rPr lang="en-US" sz="2800" dirty="0">
                <a:solidFill>
                  <a:srgbClr val="FFFFFF"/>
                </a:solidFill>
                <a:latin typeface="Arial" panose="020B0604020202020204"/>
                <a:cs typeface="Arial"/>
              </a:rPr>
              <a:t>Practitioners for </a:t>
            </a:r>
            <a:r>
              <a:rPr lang="en-US" sz="2800" b="1" dirty="0">
                <a:solidFill>
                  <a:srgbClr val="2CC84D"/>
                </a:solidFill>
              </a:rPr>
              <a:t>Bankruptcy Mgmt App </a:t>
            </a:r>
          </a:p>
        </p:txBody>
      </p:sp>
    </p:spTree>
    <p:extLst>
      <p:ext uri="{BB962C8B-B14F-4D97-AF65-F5344CB8AC3E}">
        <p14:creationId xmlns:p14="http://schemas.microsoft.com/office/powerpoint/2010/main" val="6640764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D69648-AD6D-ED44-989A-7E0D8739CA5E}"/>
              </a:ext>
            </a:extLst>
          </p:cNvPr>
          <p:cNvSpPr/>
          <p:nvPr/>
        </p:nvSpPr>
        <p:spPr>
          <a:xfrm>
            <a:off x="0" y="555462"/>
            <a:ext cx="3825595" cy="6302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p:txBody>
          <a:bodyPr/>
          <a:lstStyle/>
          <a:p>
            <a:r>
              <a:rPr lang="en-GB" dirty="0"/>
              <a:t>©2024 Brillio  |  </a:t>
            </a:r>
            <a:fld id="{F1FE5E21-FD07-B44E-90A3-0254BFCDB49A}" type="slidenum">
              <a:rPr smtClean="0"/>
              <a:pPr/>
              <a:t>8</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47718" y="82840"/>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Aditya Ghadigaonkar, Salesforce Solutions Architect</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2AABA743-DB29-119C-984C-DC6618BBD0C7}"/>
              </a:ext>
            </a:extLst>
          </p:cNvPr>
          <p:cNvSpPr txBox="1"/>
          <p:nvPr/>
        </p:nvSpPr>
        <p:spPr>
          <a:xfrm>
            <a:off x="47718" y="2213708"/>
            <a:ext cx="3752586" cy="178510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B050"/>
                </a:solidFill>
                <a:effectLst/>
                <a:uLnTx/>
                <a:uFillTx/>
                <a:ea typeface="+mn-ea"/>
                <a:cs typeface="+mn-cs"/>
              </a:rPr>
              <a:t>Core Skill Sets</a:t>
            </a:r>
            <a:endParaRPr kumimoji="0" lang="en-IN" sz="1100" b="0" i="0" u="none" strike="noStrike" kern="1200" cap="none" spc="0" normalizeH="0" baseline="0" noProof="0" dirty="0">
              <a:ln>
                <a:noFill/>
              </a:ln>
              <a:solidFill>
                <a:prstClr val="black"/>
              </a:solidFill>
              <a:effectLst/>
              <a:uLnTx/>
              <a:uFillTx/>
              <a:ea typeface="+mn-ea"/>
              <a:cs typeface="+mn-cs"/>
            </a:endParaRPr>
          </a:p>
          <a:p>
            <a:pPr marL="285750" lvl="0" indent="-285750">
              <a:buFont typeface="Arial" panose="020B0604020202020204" pitchFamily="34" charset="0"/>
              <a:buChar char="•"/>
              <a:defRPr/>
            </a:pPr>
            <a:r>
              <a:rPr kumimoji="0" lang="en-IN" sz="1100" b="0" u="none" strike="noStrike" kern="1200" cap="none" spc="0" normalizeH="0" baseline="0" noProof="0" dirty="0">
                <a:ln>
                  <a:noFill/>
                </a:ln>
                <a:solidFill>
                  <a:srgbClr val="241B47"/>
                </a:solidFill>
                <a:effectLst/>
                <a:uLnTx/>
                <a:uFillTx/>
                <a:ea typeface="+mn-ea"/>
                <a:cs typeface="+mn-cs"/>
              </a:rPr>
              <a:t>Extensive experience in delivering digital transformation implementation for Salesforce platform and </a:t>
            </a:r>
            <a:r>
              <a:rPr lang="en-IN" sz="1100" dirty="0">
                <a:solidFill>
                  <a:srgbClr val="241B47"/>
                </a:solidFill>
              </a:rPr>
              <a:t>e</a:t>
            </a:r>
            <a:r>
              <a:rPr kumimoji="0" lang="en-IN" sz="1100" b="0" u="none" strike="noStrike" kern="1200" cap="none" spc="0" normalizeH="0" baseline="0" noProof="0" dirty="0">
                <a:ln>
                  <a:noFill/>
                </a:ln>
                <a:solidFill>
                  <a:srgbClr val="241B47"/>
                </a:solidFill>
                <a:effectLst/>
                <a:uLnTx/>
                <a:uFillTx/>
                <a:ea typeface="+mn-ea"/>
                <a:cs typeface="+mn-cs"/>
              </a:rPr>
              <a:t>co-systems</a:t>
            </a:r>
            <a:endParaRPr lang="en-IN" sz="1100" b="0" u="none" strike="noStrike" kern="1200" cap="none" spc="0" normalizeH="0" baseline="0" noProof="0" dirty="0">
              <a:ln>
                <a:noFill/>
              </a:ln>
              <a:solidFill>
                <a:srgbClr val="241B47"/>
              </a:solidFill>
              <a:effectLst/>
              <a:uLnTx/>
              <a:uFillTx/>
              <a:cs typeface="Arial"/>
            </a:endParaRPr>
          </a:p>
          <a:p>
            <a:pPr marL="285750" lvl="0" indent="-285750">
              <a:buFont typeface="Arial" panose="020B0604020202020204" pitchFamily="34" charset="0"/>
              <a:buChar char="•"/>
              <a:defRPr/>
            </a:pPr>
            <a:r>
              <a:rPr lang="en-IN" sz="1100" dirty="0">
                <a:solidFill>
                  <a:srgbClr val="241B47"/>
                </a:solidFill>
              </a:rPr>
              <a:t>Experienced in delivering Sales, Service, Experience, Financial Service cloud implementation for B2B and B2C solutions </a:t>
            </a:r>
            <a:r>
              <a:rPr kumimoji="0" lang="en-IN" sz="1100" b="0" u="none" strike="noStrike" kern="1200" cap="none" spc="0" normalizeH="0" baseline="0" noProof="0" dirty="0">
                <a:ln>
                  <a:noFill/>
                </a:ln>
                <a:solidFill>
                  <a:srgbClr val="241B47"/>
                </a:solidFill>
                <a:effectLst/>
                <a:uLnTx/>
                <a:uFillTx/>
                <a:ea typeface="+mn-ea"/>
                <a:cs typeface="+mn-cs"/>
              </a:rPr>
              <a:t>Expertise with PRM and Channel Management solutions</a:t>
            </a:r>
            <a:endParaRPr lang="en-IN" sz="1100" b="0" u="none" strike="noStrike" kern="1200" cap="none" spc="0" normalizeH="0" baseline="0" noProof="0" dirty="0">
              <a:ln>
                <a:noFill/>
              </a:ln>
              <a:solidFill>
                <a:srgbClr val="241B47"/>
              </a:solidFill>
              <a:effectLst/>
              <a:uLnTx/>
              <a:uFillTx/>
              <a:cs typeface="Arial"/>
            </a:endParaRPr>
          </a:p>
          <a:p>
            <a:pPr marL="285750" lvl="0" indent="-285750">
              <a:buFont typeface="Arial" panose="020B0604020202020204" pitchFamily="34" charset="0"/>
              <a:buChar char="•"/>
              <a:defRPr/>
            </a:pPr>
            <a:r>
              <a:rPr kumimoji="0" lang="en-IN" sz="1100" b="0" u="none" strike="noStrike" kern="1200" cap="none" spc="0" normalizeH="0" baseline="0" noProof="0" dirty="0">
                <a:ln>
                  <a:noFill/>
                </a:ln>
                <a:solidFill>
                  <a:srgbClr val="241B47"/>
                </a:solidFill>
                <a:effectLst/>
                <a:uLnTx/>
                <a:uFillTx/>
                <a:ea typeface="+mn-ea"/>
                <a:cs typeface="+mn-cs"/>
              </a:rPr>
              <a:t>Extensive experience with conducting in-depth workshops for Analysis and Design</a:t>
            </a:r>
            <a:endParaRPr lang="en-IN" sz="1100" b="0" u="none" strike="noStrike" kern="1200" cap="none" spc="0" normalizeH="0" baseline="0" noProof="0" dirty="0">
              <a:ln>
                <a:noFill/>
              </a:ln>
              <a:solidFill>
                <a:srgbClr val="241B47"/>
              </a:solidFill>
              <a:effectLst/>
              <a:uLnTx/>
              <a:uFillTx/>
              <a:cs typeface="Arial"/>
            </a:endParaRPr>
          </a:p>
        </p:txBody>
      </p:sp>
      <p:sp>
        <p:nvSpPr>
          <p:cNvPr id="6" name="TextBox 5">
            <a:extLst>
              <a:ext uri="{FF2B5EF4-FFF2-40B4-BE49-F238E27FC236}">
                <a16:creationId xmlns:a16="http://schemas.microsoft.com/office/drawing/2014/main" id="{FAD7D10F-2CA0-B62C-602C-1D44C25427E7}"/>
              </a:ext>
            </a:extLst>
          </p:cNvPr>
          <p:cNvSpPr txBox="1"/>
          <p:nvPr/>
        </p:nvSpPr>
        <p:spPr>
          <a:xfrm>
            <a:off x="3825595" y="711484"/>
            <a:ext cx="7544633" cy="1123384"/>
          </a:xfrm>
          <a:prstGeom prst="rect">
            <a:avLst/>
          </a:prstGeom>
          <a:noFill/>
        </p:spPr>
        <p:txBody>
          <a:bodyPr wrap="square" lIns="91440" tIns="45720" rIns="91440" bIns="45720" rtlCol="0" anchor="t">
            <a:spAutoFit/>
          </a:bodyPr>
          <a:lstStyle/>
          <a:p>
            <a:r>
              <a:rPr lang="en-IN" sz="1200" b="1" dirty="0">
                <a:solidFill>
                  <a:srgbClr val="00B050"/>
                </a:solidFill>
              </a:rPr>
              <a:t>Professional Summary </a:t>
            </a:r>
          </a:p>
          <a:p>
            <a:endParaRPr lang="en-IN" sz="1100" b="1" dirty="0"/>
          </a:p>
          <a:p>
            <a:pPr marL="285750" indent="-285750">
              <a:buFont typeface="Arial" panose="020B0604020202020204" pitchFamily="34" charset="0"/>
              <a:buChar char="•"/>
            </a:pPr>
            <a:r>
              <a:rPr lang="en-IN" sz="1100" dirty="0"/>
              <a:t>13+ years of consulting experience in Salesforce and ecosystem with 20 + end to end implementations.</a:t>
            </a:r>
            <a:endParaRPr lang="en-IN" sz="1100" dirty="0">
              <a:cs typeface="Arial"/>
            </a:endParaRPr>
          </a:p>
          <a:p>
            <a:pPr marL="285750" indent="-285750">
              <a:buFont typeface="Arial" panose="020B0604020202020204" pitchFamily="34" charset="0"/>
              <a:buChar char="•"/>
            </a:pPr>
            <a:r>
              <a:rPr lang="en-IN" sz="1100" dirty="0"/>
              <a:t>Extensive experience implementation B2B and B2C solutions for High-tech, BFSI, Healthcare industry domains.</a:t>
            </a:r>
          </a:p>
          <a:p>
            <a:pPr marL="285750" indent="-285750">
              <a:buFont typeface="Arial" panose="020B0604020202020204" pitchFamily="34" charset="0"/>
              <a:buChar char="•"/>
            </a:pPr>
            <a:r>
              <a:rPr lang="en-IN" sz="1100" dirty="0">
                <a:cs typeface="Arial"/>
              </a:rPr>
              <a:t>SME for PRM and Channel Ops management</a:t>
            </a:r>
          </a:p>
          <a:p>
            <a:pPr marL="285750" indent="-285750">
              <a:buFont typeface="Arial" panose="020B0604020202020204" pitchFamily="34" charset="0"/>
              <a:buChar char="•"/>
            </a:pPr>
            <a:endParaRPr lang="en-IN" sz="1100" dirty="0">
              <a:cs typeface="Arial"/>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3881255" y="1917152"/>
            <a:ext cx="7544631" cy="4677627"/>
          </a:xfrm>
          <a:prstGeom prst="rect">
            <a:avLst/>
          </a:prstGeom>
          <a:noFill/>
        </p:spPr>
        <p:txBody>
          <a:bodyPr wrap="square" lIns="91440" tIns="45720" rIns="91440" bIns="45720" rtlCol="0" anchor="t">
            <a:spAutoFit/>
          </a:bodyPr>
          <a:lstStyle/>
          <a:p>
            <a:r>
              <a:rPr lang="en-IN" sz="1200" b="1" dirty="0">
                <a:solidFill>
                  <a:srgbClr val="00B050"/>
                </a:solidFill>
              </a:rPr>
              <a:t>Relevant Project Experience</a:t>
            </a:r>
          </a:p>
          <a:p>
            <a:endParaRPr lang="en-IN" sz="1100" b="1" dirty="0">
              <a:solidFill>
                <a:srgbClr val="00B050"/>
              </a:solidFill>
            </a:endParaRPr>
          </a:p>
          <a:p>
            <a:r>
              <a:rPr lang="en-US" sz="1100" b="1" dirty="0"/>
              <a:t>Ivanti: CPQ enablement for Partner</a:t>
            </a:r>
            <a:endParaRPr lang="en-US" sz="1100" dirty="0">
              <a:cs typeface="Arial"/>
            </a:endParaRPr>
          </a:p>
          <a:p>
            <a:pPr marL="285750" indent="-285750" eaLnBrk="0" fontAlgn="base" hangingPunct="0">
              <a:spcBef>
                <a:spcPts val="600"/>
              </a:spcBef>
              <a:spcAft>
                <a:spcPct val="0"/>
              </a:spcAft>
              <a:buFont typeface="Arial" panose="020B0604020202020204" pitchFamily="34" charset="0"/>
              <a:buChar char="•"/>
            </a:pPr>
            <a:r>
              <a:rPr lang="en-US" sz="1100" dirty="0"/>
              <a:t>Experience cloud implementation with integration to multiple tools to give partners a holistic view of their pipeline, quotes and orders. Complex product and pricing structure to cater partner products and quoting journey</a:t>
            </a:r>
          </a:p>
          <a:p>
            <a:pPr marL="285750" indent="-285750" eaLnBrk="0" fontAlgn="base" hangingPunct="0">
              <a:spcBef>
                <a:spcPts val="600"/>
              </a:spcBef>
              <a:spcAft>
                <a:spcPct val="0"/>
              </a:spcAft>
              <a:buFont typeface="Arial" panose="020B0604020202020204" pitchFamily="34" charset="0"/>
              <a:buChar char="•"/>
            </a:pPr>
            <a:r>
              <a:rPr lang="en-US" sz="1100" dirty="0"/>
              <a:t>Reduced Admin task by more than 40%</a:t>
            </a:r>
          </a:p>
          <a:p>
            <a:pPr marL="285750" indent="-285750" eaLnBrk="0" fontAlgn="base" hangingPunct="0">
              <a:spcBef>
                <a:spcPts val="600"/>
              </a:spcBef>
              <a:spcAft>
                <a:spcPct val="0"/>
              </a:spcAft>
              <a:buFont typeface="Arial" panose="020B0604020202020204" pitchFamily="34" charset="0"/>
              <a:buChar char="•"/>
            </a:pPr>
            <a:r>
              <a:rPr lang="en-US" sz="1100" dirty="0"/>
              <a:t>Improved deal registration and quoting experienced and closer of deal by 3x.</a:t>
            </a:r>
          </a:p>
          <a:p>
            <a:pPr marL="285750" indent="-285750" eaLnBrk="0" fontAlgn="base" hangingPunct="0">
              <a:spcBef>
                <a:spcPts val="600"/>
              </a:spcBef>
              <a:spcAft>
                <a:spcPct val="0"/>
              </a:spcAft>
              <a:buFont typeface="Arial" panose="020B0604020202020204" pitchFamily="34" charset="0"/>
              <a:buChar char="•"/>
            </a:pPr>
            <a:r>
              <a:rPr lang="en-US" sz="1100" dirty="0"/>
              <a:t>Aligned the design to follow the OOTB approach for complex product structure needs.</a:t>
            </a:r>
          </a:p>
          <a:p>
            <a:pPr marL="285750" indent="-285750" eaLnBrk="0" fontAlgn="base" hangingPunct="0">
              <a:spcBef>
                <a:spcPts val="600"/>
              </a:spcBef>
              <a:spcAft>
                <a:spcPct val="0"/>
              </a:spcAft>
              <a:buFont typeface="Arial" panose="020B0604020202020204" pitchFamily="34" charset="0"/>
              <a:buChar char="•"/>
            </a:pPr>
            <a:r>
              <a:rPr lang="en-US" sz="1100" dirty="0"/>
              <a:t>Automated admin activities to streamline the process and auto trigger business approvals with minimum human interventions.</a:t>
            </a:r>
          </a:p>
          <a:p>
            <a:pPr marL="285750" indent="-285750" eaLnBrk="0" fontAlgn="base" hangingPunct="0">
              <a:spcBef>
                <a:spcPts val="600"/>
              </a:spcBef>
              <a:spcAft>
                <a:spcPct val="0"/>
              </a:spcAft>
              <a:buFont typeface="Arial" panose="020B0604020202020204" pitchFamily="34" charset="0"/>
              <a:buChar char="•"/>
            </a:pPr>
            <a:endParaRPr lang="en-US" sz="1100" dirty="0"/>
          </a:p>
          <a:p>
            <a:pPr eaLnBrk="0" fontAlgn="base" hangingPunct="0">
              <a:spcBef>
                <a:spcPts val="600"/>
              </a:spcBef>
              <a:spcAft>
                <a:spcPct val="0"/>
              </a:spcAft>
            </a:pPr>
            <a:r>
              <a:rPr lang="en-US" sz="1100" b="1" dirty="0"/>
              <a:t>Nokia : Partner Portal and Market place implementation </a:t>
            </a:r>
            <a:endParaRPr lang="en-US" sz="1100" b="1" dirty="0">
              <a:cs typeface="Arial"/>
            </a:endParaRPr>
          </a:p>
          <a:p>
            <a:pPr marL="171450" indent="-171450">
              <a:lnSpc>
                <a:spcPct val="150000"/>
              </a:lnSpc>
              <a:buFont typeface="Arial" panose="020B0604020202020204" pitchFamily="34" charset="0"/>
              <a:buChar char="•"/>
            </a:pPr>
            <a:r>
              <a:rPr lang="en-US" sz="1100" dirty="0">
                <a:solidFill>
                  <a:schemeClr val="accent3">
                    <a:lumMod val="75000"/>
                  </a:schemeClr>
                </a:solidFill>
                <a:latin typeface="Arial"/>
                <a:ea typeface="Open Sans Light"/>
                <a:cs typeface="Open Sans Light"/>
              </a:rPr>
              <a:t>Outdated partner portal was resulting in low partner engagement and limited capabilities. Partner Sales Manager’s 25% time spent on administrative task. </a:t>
            </a:r>
            <a:r>
              <a:rPr lang="en-US" sz="1100" b="0" i="0" u="none" strike="noStrike" noProof="0" dirty="0">
                <a:solidFill>
                  <a:schemeClr val="accent3">
                    <a:lumMod val="75000"/>
                  </a:schemeClr>
                </a:solidFill>
                <a:latin typeface="Arial"/>
              </a:rPr>
              <a:t>High turn-around-time in maintenance due to customization in Salesforce</a:t>
            </a:r>
            <a:r>
              <a:rPr lang="en-US" sz="1100" b="0" i="0" u="none" strike="noStrike" noProof="0" dirty="0">
                <a:solidFill>
                  <a:schemeClr val="accent3">
                    <a:lumMod val="75000"/>
                  </a:schemeClr>
                </a:solidFill>
                <a:latin typeface="Arial"/>
                <a:ea typeface="Open Sans Light"/>
                <a:cs typeface="Open Sans Light"/>
              </a:rPr>
              <a:t>. </a:t>
            </a:r>
            <a:r>
              <a:rPr lang="en-US" sz="1100" dirty="0">
                <a:solidFill>
                  <a:schemeClr val="accent3">
                    <a:lumMod val="75000"/>
                  </a:schemeClr>
                </a:solidFill>
                <a:latin typeface="Arial"/>
                <a:ea typeface="Open Sans Light"/>
                <a:cs typeface="Open Sans Light"/>
              </a:rPr>
              <a:t>Lack of Partner locator site resulting in low deal registration and low visibility to customers looking for partners</a:t>
            </a:r>
          </a:p>
          <a:p>
            <a:pPr marL="171450" indent="-171450">
              <a:lnSpc>
                <a:spcPct val="150000"/>
              </a:lnSpc>
              <a:buFont typeface="Arial" panose="020B0604020202020204" pitchFamily="34" charset="0"/>
              <a:buChar char="•"/>
            </a:pPr>
            <a:r>
              <a:rPr lang="en-US" sz="1100" dirty="0">
                <a:solidFill>
                  <a:schemeClr val="accent3">
                    <a:lumMod val="75000"/>
                  </a:schemeClr>
                </a:solidFill>
                <a:latin typeface="Arial"/>
                <a:ea typeface="Open Sans Light"/>
                <a:cs typeface="Open Sans Light"/>
              </a:rPr>
              <a:t>Implemented partner portal with latest UI designs to match Nokia branding. Introduced intuitive UX designs and Journey builder as a guided path and learning for using the new tool. Which increased the user adoption and engagement by 40%.</a:t>
            </a:r>
          </a:p>
          <a:p>
            <a:pPr marL="171450" indent="-171450">
              <a:lnSpc>
                <a:spcPct val="150000"/>
              </a:lnSpc>
              <a:buFont typeface="Arial" panose="020B0604020202020204" pitchFamily="34" charset="0"/>
              <a:buChar char="•"/>
            </a:pPr>
            <a:r>
              <a:rPr lang="en-US" sz="1100" dirty="0">
                <a:solidFill>
                  <a:schemeClr val="accent3">
                    <a:lumMod val="75000"/>
                  </a:schemeClr>
                </a:solidFill>
                <a:latin typeface="Arial"/>
                <a:ea typeface="Open Sans Light"/>
                <a:cs typeface="Open Sans Light"/>
              </a:rPr>
              <a:t>Implemented Partner locator / Marketplace to match potential customers with partners. Increased deal registration by 30%</a:t>
            </a:r>
          </a:p>
        </p:txBody>
      </p:sp>
      <p:sp>
        <p:nvSpPr>
          <p:cNvPr id="9" name="TextBox 8">
            <a:extLst>
              <a:ext uri="{FF2B5EF4-FFF2-40B4-BE49-F238E27FC236}">
                <a16:creationId xmlns:a16="http://schemas.microsoft.com/office/drawing/2014/main" id="{C7EF9A0A-B875-5DE8-200F-ADC5D4D2DD3C}"/>
              </a:ext>
            </a:extLst>
          </p:cNvPr>
          <p:cNvSpPr txBox="1"/>
          <p:nvPr/>
        </p:nvSpPr>
        <p:spPr>
          <a:xfrm>
            <a:off x="-1" y="3888397"/>
            <a:ext cx="3959345" cy="1716239"/>
          </a:xfrm>
          <a:prstGeom prst="rect">
            <a:avLst/>
          </a:prstGeom>
          <a:noFill/>
        </p:spPr>
        <p:txBody>
          <a:bodyPr wrap="square" lIns="91440" tIns="45720" rIns="91440" bIns="45720" rtlCol="0" anchor="t">
            <a:spAutoFit/>
          </a:bodyPr>
          <a:lstStyle/>
          <a:p>
            <a:pPr>
              <a:defRPr/>
            </a:pPr>
            <a:r>
              <a:rPr lang="en-IN" sz="1050" b="1" dirty="0">
                <a:solidFill>
                  <a:srgbClr val="00B050"/>
                </a:solidFill>
              </a:rPr>
              <a:t>Certifications</a:t>
            </a:r>
            <a:endParaRPr lang="en-IN" sz="1050" b="0" i="0" u="none" strike="noStrike" kern="1200" cap="none" spc="0" normalizeH="0" baseline="0" noProof="0" dirty="0">
              <a:ln>
                <a:noFill/>
              </a:ln>
              <a:solidFill>
                <a:srgbClr val="00B050"/>
              </a:solidFill>
              <a:effectLst/>
              <a:uLnTx/>
              <a:uFillTx/>
              <a:cs typeface="Arial"/>
            </a:endParaRPr>
          </a:p>
          <a:p>
            <a:pPr marL="342900" indent="-342900">
              <a:lnSpc>
                <a:spcPct val="115000"/>
              </a:lnSpc>
              <a:buFont typeface="Symbol" pitchFamily="2" charset="2"/>
              <a:buChar char=""/>
            </a:pPr>
            <a:r>
              <a:rPr lang="en-US" sz="1050" dirty="0">
                <a:solidFill>
                  <a:schemeClr val="accent1">
                    <a:lumMod val="50000"/>
                  </a:schemeClr>
                </a:solidFill>
                <a:effectLst/>
                <a:ea typeface="Calibri"/>
              </a:rPr>
              <a:t>Salesforce Certified Application Architect</a:t>
            </a:r>
            <a:r>
              <a:rPr lang="en-US" sz="1050" dirty="0">
                <a:solidFill>
                  <a:schemeClr val="accent1">
                    <a:lumMod val="50000"/>
                  </a:schemeClr>
                </a:solidFill>
                <a:ea typeface="Calibri"/>
              </a:rPr>
              <a:t> </a:t>
            </a:r>
            <a:endParaRPr lang="en-US" sz="1050" dirty="0">
              <a:solidFill>
                <a:schemeClr val="accent1">
                  <a:lumMod val="50000"/>
                </a:schemeClr>
              </a:solidFill>
              <a:effectLst/>
              <a:ea typeface="Calibri" panose="020F0502020204030204" pitchFamily="34" charset="0"/>
              <a:cs typeface="Arial"/>
            </a:endParaRPr>
          </a:p>
          <a:p>
            <a:pPr marL="342900" marR="0" lvl="0" indent="-342900">
              <a:lnSpc>
                <a:spcPct val="115000"/>
              </a:lnSpc>
              <a:spcBef>
                <a:spcPts val="0"/>
              </a:spcBef>
              <a:spcAft>
                <a:spcPts val="0"/>
              </a:spcAft>
              <a:buFont typeface="Symbol" pitchFamily="2" charset="2"/>
              <a:buChar char=""/>
            </a:pPr>
            <a:r>
              <a:rPr lang="en-US" sz="1050" dirty="0">
                <a:solidFill>
                  <a:schemeClr val="accent1">
                    <a:lumMod val="50000"/>
                  </a:schemeClr>
                </a:solidFill>
                <a:effectLst/>
                <a:ea typeface="Calibri"/>
              </a:rPr>
              <a:t>Salesforce Data Architecture and Management Designer</a:t>
            </a:r>
            <a:endParaRPr lang="en-US" sz="1050" dirty="0">
              <a:solidFill>
                <a:schemeClr val="accent1">
                  <a:lumMod val="50000"/>
                </a:schemeClr>
              </a:solidFill>
              <a:effectLst/>
              <a:ea typeface="Calibri"/>
              <a:cs typeface="Arial"/>
            </a:endParaRPr>
          </a:p>
          <a:p>
            <a:pPr marL="342900" indent="-342900">
              <a:lnSpc>
                <a:spcPct val="115000"/>
              </a:lnSpc>
              <a:buFont typeface="Symbol" pitchFamily="2" charset="2"/>
              <a:buChar char=""/>
            </a:pPr>
            <a:r>
              <a:rPr lang="en-US" sz="1050" dirty="0">
                <a:solidFill>
                  <a:schemeClr val="accent1">
                    <a:lumMod val="50000"/>
                  </a:schemeClr>
                </a:solidFill>
                <a:effectLst/>
                <a:ea typeface="Calibri"/>
              </a:rPr>
              <a:t>Salesforce Sharing And Visibility Designer</a:t>
            </a:r>
            <a:r>
              <a:rPr lang="en-US" sz="1050" dirty="0">
                <a:solidFill>
                  <a:schemeClr val="accent1">
                    <a:lumMod val="50000"/>
                  </a:schemeClr>
                </a:solidFill>
                <a:ea typeface="Calibri"/>
              </a:rPr>
              <a:t> </a:t>
            </a:r>
            <a:endParaRPr lang="en-US" sz="1050" dirty="0">
              <a:solidFill>
                <a:schemeClr val="accent1">
                  <a:lumMod val="50000"/>
                </a:schemeClr>
              </a:solidFill>
              <a:effectLst/>
              <a:ea typeface="Calibri" panose="020F0502020204030204" pitchFamily="34" charset="0"/>
              <a:cs typeface="Arial"/>
            </a:endParaRPr>
          </a:p>
          <a:p>
            <a:pPr marL="342900" indent="-342900">
              <a:lnSpc>
                <a:spcPct val="115000"/>
              </a:lnSpc>
              <a:buFont typeface="Symbol" pitchFamily="2" charset="2"/>
              <a:buChar char=""/>
            </a:pPr>
            <a:r>
              <a:rPr lang="en-US" sz="1050" dirty="0">
                <a:solidFill>
                  <a:schemeClr val="accent1">
                    <a:lumMod val="50000"/>
                  </a:schemeClr>
                </a:solidFill>
                <a:effectLst/>
                <a:ea typeface="Calibri"/>
              </a:rPr>
              <a:t>Salesforce Certified Community Cloud Consultant</a:t>
            </a:r>
            <a:r>
              <a:rPr lang="en-US" sz="1050" dirty="0">
                <a:solidFill>
                  <a:schemeClr val="accent1">
                    <a:lumMod val="50000"/>
                  </a:schemeClr>
                </a:solidFill>
                <a:ea typeface="Calibri"/>
              </a:rPr>
              <a:t> </a:t>
            </a:r>
            <a:endParaRPr lang="en-US" sz="1050" dirty="0">
              <a:solidFill>
                <a:schemeClr val="accent1">
                  <a:lumMod val="50000"/>
                </a:schemeClr>
              </a:solidFill>
              <a:effectLst/>
              <a:ea typeface="Calibri" panose="020F0502020204030204" pitchFamily="34" charset="0"/>
              <a:cs typeface="Arial"/>
            </a:endParaRPr>
          </a:p>
          <a:p>
            <a:pPr marL="342900" marR="0" lvl="0" indent="-342900">
              <a:lnSpc>
                <a:spcPct val="115000"/>
              </a:lnSpc>
              <a:spcBef>
                <a:spcPts val="0"/>
              </a:spcBef>
              <a:spcAft>
                <a:spcPts val="0"/>
              </a:spcAft>
              <a:buFont typeface="Symbol" pitchFamily="2" charset="2"/>
              <a:buChar char=""/>
            </a:pPr>
            <a:r>
              <a:rPr lang="en-US" sz="1050" dirty="0">
                <a:solidFill>
                  <a:schemeClr val="accent1">
                    <a:lumMod val="50000"/>
                  </a:schemeClr>
                </a:solidFill>
                <a:effectLst/>
                <a:ea typeface="Calibri"/>
              </a:rPr>
              <a:t>Salesforce Certified Advanced Administrator Salesforce Certified Service Cloud Consultant</a:t>
            </a:r>
            <a:endParaRPr lang="en-US" sz="1050" dirty="0">
              <a:solidFill>
                <a:schemeClr val="accent1">
                  <a:lumMod val="50000"/>
                </a:schemeClr>
              </a:solidFill>
              <a:effectLst/>
              <a:ea typeface="Calibri"/>
              <a:cs typeface="Arial"/>
            </a:endParaRPr>
          </a:p>
          <a:p>
            <a:pPr marL="342900" indent="-342900">
              <a:lnSpc>
                <a:spcPct val="115000"/>
              </a:lnSpc>
              <a:buFont typeface="Symbol" pitchFamily="2" charset="2"/>
              <a:buChar char=""/>
            </a:pPr>
            <a:r>
              <a:rPr lang="en-US" sz="1050" dirty="0">
                <a:solidFill>
                  <a:schemeClr val="accent1">
                    <a:lumMod val="50000"/>
                  </a:schemeClr>
                </a:solidFill>
                <a:effectLst/>
                <a:ea typeface="Times New Roman" panose="02020603050405020304" pitchFamily="18" charset="0"/>
                <a:cs typeface="Times New Roman"/>
              </a:rPr>
              <a:t>Salesforce Certified Sales Cloud Consultant</a:t>
            </a:r>
            <a:r>
              <a:rPr lang="en-US" sz="1050" dirty="0">
                <a:solidFill>
                  <a:schemeClr val="accent1">
                    <a:lumMod val="50000"/>
                  </a:schemeClr>
                </a:solidFill>
                <a:ea typeface="Times New Roman" panose="02020603050405020304" pitchFamily="18" charset="0"/>
                <a:cs typeface="Times New Roman"/>
              </a:rPr>
              <a:t> </a:t>
            </a:r>
            <a:endParaRPr lang="en-IN" sz="1050" i="1" dirty="0">
              <a:solidFill>
                <a:schemeClr val="accent1">
                  <a:lumMod val="50000"/>
                </a:schemeClr>
              </a:solidFill>
              <a:cs typeface="Arial"/>
            </a:endParaRPr>
          </a:p>
          <a:p>
            <a:pPr marL="285750" lvl="0" indent="-285750">
              <a:buFont typeface="Arial" panose="020B0604020202020204" pitchFamily="34" charset="0"/>
              <a:buChar char="•"/>
              <a:defRPr/>
            </a:pPr>
            <a:endParaRPr lang="en-IN" sz="1050" i="1" dirty="0">
              <a:solidFill>
                <a:prstClr val="black"/>
              </a:solidFill>
              <a:cs typeface="Arial"/>
            </a:endParaRPr>
          </a:p>
        </p:txBody>
      </p:sp>
      <p:cxnSp>
        <p:nvCxnSpPr>
          <p:cNvPr id="10" name="Straight Connector 9">
            <a:extLst>
              <a:ext uri="{FF2B5EF4-FFF2-40B4-BE49-F238E27FC236}">
                <a16:creationId xmlns:a16="http://schemas.microsoft.com/office/drawing/2014/main" id="{9EC7C76D-C97F-A772-876E-CF1BFD86BA7C}"/>
              </a:ext>
            </a:extLst>
          </p:cNvPr>
          <p:cNvCxnSpPr>
            <a:cxnSpLocks/>
          </p:cNvCxnSpPr>
          <p:nvPr/>
        </p:nvCxnSpPr>
        <p:spPr>
          <a:xfrm>
            <a:off x="3800304" y="568742"/>
            <a:ext cx="0" cy="6261477"/>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TextBox 12">
            <a:extLst>
              <a:ext uri="{FF2B5EF4-FFF2-40B4-BE49-F238E27FC236}">
                <a16:creationId xmlns:a16="http://schemas.microsoft.com/office/drawing/2014/main" id="{5CD274DC-5C91-8918-448A-B38652CDCACC}"/>
              </a:ext>
            </a:extLst>
          </p:cNvPr>
          <p:cNvSpPr txBox="1"/>
          <p:nvPr/>
        </p:nvSpPr>
        <p:spPr>
          <a:xfrm>
            <a:off x="1602241" y="1131068"/>
            <a:ext cx="2322088" cy="1099083"/>
          </a:xfrm>
          <a:prstGeom prst="rect">
            <a:avLst/>
          </a:prstGeom>
          <a:noFill/>
        </p:spPr>
        <p:txBody>
          <a:bodyPr wrap="square" lIns="91440" tIns="45720" rIns="91440" bIns="45720" rtlCol="0" anchor="t">
            <a:spAutoFit/>
          </a:bodyPr>
          <a:lstStyle/>
          <a:p>
            <a:pPr>
              <a:lnSpc>
                <a:spcPts val="1600"/>
              </a:lnSpc>
              <a:spcBef>
                <a:spcPts val="0"/>
              </a:spcBef>
            </a:pPr>
            <a:r>
              <a:rPr lang="en-US" sz="1100" b="1" dirty="0"/>
              <a:t>aditya.g1@brillio.com</a:t>
            </a:r>
            <a:endParaRPr lang="en-US" dirty="0"/>
          </a:p>
          <a:p>
            <a:pPr>
              <a:lnSpc>
                <a:spcPts val="1600"/>
              </a:lnSpc>
            </a:pPr>
            <a:r>
              <a:rPr lang="en-US" sz="1100" b="1" dirty="0">
                <a:solidFill>
                  <a:srgbClr val="201646"/>
                </a:solidFill>
                <a:latin typeface="Arial"/>
                <a:ea typeface="+mj-ea"/>
                <a:cs typeface="Arial"/>
              </a:rPr>
              <a:t>Dallas, TX</a:t>
            </a:r>
          </a:p>
          <a:p>
            <a:pPr>
              <a:lnSpc>
                <a:spcPts val="1600"/>
              </a:lnSpc>
            </a:pPr>
            <a:endParaRPr lang="en-US" sz="1100" b="1" dirty="0">
              <a:solidFill>
                <a:srgbClr val="201646"/>
              </a:solidFill>
              <a:latin typeface="Arial"/>
              <a:ea typeface="+mj-ea"/>
              <a:cs typeface="Arial"/>
            </a:endParaRPr>
          </a:p>
          <a:p>
            <a:pPr>
              <a:lnSpc>
                <a:spcPts val="1600"/>
              </a:lnSpc>
            </a:pPr>
            <a:r>
              <a:rPr lang="en-US" sz="1100" b="1" dirty="0">
                <a:cs typeface="Arial"/>
              </a:rPr>
              <a:t>Industry Experience: </a:t>
            </a:r>
          </a:p>
          <a:p>
            <a:pPr>
              <a:lnSpc>
                <a:spcPts val="1600"/>
              </a:lnSpc>
            </a:pPr>
            <a:r>
              <a:rPr lang="en-US" sz="1100" dirty="0">
                <a:cs typeface="Arial"/>
              </a:rPr>
              <a:t>High-Tech, BFSI, Health Care </a:t>
            </a:r>
            <a:endParaRPr lang="en-US" dirty="0"/>
          </a:p>
        </p:txBody>
      </p:sp>
      <p:pic>
        <p:nvPicPr>
          <p:cNvPr id="14" name="Picture 13" descr="A person in a blue suit&#10;&#10;Description automatically generated">
            <a:extLst>
              <a:ext uri="{FF2B5EF4-FFF2-40B4-BE49-F238E27FC236}">
                <a16:creationId xmlns:a16="http://schemas.microsoft.com/office/drawing/2014/main" id="{42E5780B-7F7D-22AC-76F1-24FBA66DECD9}"/>
              </a:ext>
            </a:extLst>
          </p:cNvPr>
          <p:cNvPicPr>
            <a:picLocks/>
          </p:cNvPicPr>
          <p:nvPr/>
        </p:nvPicPr>
        <p:blipFill>
          <a:blip r:embed="rId2"/>
          <a:stretch>
            <a:fillRect/>
          </a:stretch>
        </p:blipFill>
        <p:spPr>
          <a:xfrm>
            <a:off x="146452" y="814753"/>
            <a:ext cx="1455789" cy="1398955"/>
          </a:xfrm>
          <a:prstGeom prst="rect">
            <a:avLst/>
          </a:prstGeom>
          <a:ln>
            <a:noFill/>
          </a:ln>
        </p:spPr>
      </p:pic>
      <p:sp>
        <p:nvSpPr>
          <p:cNvPr id="11" name="TextBox 10">
            <a:extLst>
              <a:ext uri="{FF2B5EF4-FFF2-40B4-BE49-F238E27FC236}">
                <a16:creationId xmlns:a16="http://schemas.microsoft.com/office/drawing/2014/main" id="{8A9F6660-0D2F-BB8D-1780-B08569BBD112}"/>
              </a:ext>
            </a:extLst>
          </p:cNvPr>
          <p:cNvSpPr txBox="1"/>
          <p:nvPr/>
        </p:nvSpPr>
        <p:spPr>
          <a:xfrm>
            <a:off x="8354" y="5342211"/>
            <a:ext cx="3317240" cy="769441"/>
          </a:xfrm>
          <a:prstGeom prst="rect">
            <a:avLst/>
          </a:prstGeom>
          <a:noFill/>
        </p:spPr>
        <p:txBody>
          <a:bodyPr wrap="square" rtlCol="0">
            <a:spAutoFit/>
          </a:bodyPr>
          <a:lstStyle/>
          <a:p>
            <a:pPr>
              <a:defRPr/>
            </a:pPr>
            <a:r>
              <a:rPr lang="en-IN" sz="1100" b="1" dirty="0">
                <a:solidFill>
                  <a:srgbClr val="00B050"/>
                </a:solidFill>
              </a:rPr>
              <a:t>Recent Roles</a:t>
            </a:r>
            <a:endParaRPr kumimoji="0" lang="en-IN" sz="1100" b="0" i="0" u="none" strike="noStrike" kern="1200" cap="none" spc="0" normalizeH="0" baseline="0" noProof="0" dirty="0">
              <a:ln>
                <a:noFill/>
              </a:ln>
              <a:solidFill>
                <a:srgbClr val="00B050"/>
              </a:solidFill>
              <a:effectLst/>
              <a:uLnTx/>
              <a:uFillTx/>
              <a:ea typeface="+mn-ea"/>
              <a:cs typeface="+mn-cs"/>
            </a:endParaRP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Solution Architect</a:t>
            </a: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Salesforce Technical Architect </a:t>
            </a:r>
          </a:p>
          <a:p>
            <a:pPr marL="119063" indent="-119063">
              <a:buFont typeface="Arial" panose="020B0604020202020204" pitchFamily="34" charset="0"/>
              <a:buChar char="•"/>
            </a:pPr>
            <a:r>
              <a:rPr lang="en-US" sz="1100" dirty="0">
                <a:solidFill>
                  <a:schemeClr val="bg2">
                    <a:lumMod val="10000"/>
                  </a:schemeClr>
                </a:solidFill>
                <a:cs typeface="Arial" panose="020B0604020202020204" pitchFamily="34" charset="0"/>
              </a:rPr>
              <a:t>Impartner Architect and Solutions Lead</a:t>
            </a:r>
          </a:p>
        </p:txBody>
      </p:sp>
      <p:sp>
        <p:nvSpPr>
          <p:cNvPr id="15" name="TextBox 14">
            <a:extLst>
              <a:ext uri="{FF2B5EF4-FFF2-40B4-BE49-F238E27FC236}">
                <a16:creationId xmlns:a16="http://schemas.microsoft.com/office/drawing/2014/main" id="{884B3BC7-E7F1-C7D2-8A20-7AEC2EF8BA00}"/>
              </a:ext>
            </a:extLst>
          </p:cNvPr>
          <p:cNvSpPr txBox="1"/>
          <p:nvPr/>
        </p:nvSpPr>
        <p:spPr>
          <a:xfrm>
            <a:off x="-1" y="6070936"/>
            <a:ext cx="7544633" cy="430887"/>
          </a:xfrm>
          <a:prstGeom prst="rect">
            <a:avLst/>
          </a:prstGeom>
          <a:noFill/>
        </p:spPr>
        <p:txBody>
          <a:bodyPr wrap="square" rtlCol="0">
            <a:spAutoFit/>
          </a:bodyPr>
          <a:lstStyle/>
          <a:p>
            <a:r>
              <a:rPr lang="en-IN" sz="1100" b="1" dirty="0">
                <a:solidFill>
                  <a:srgbClr val="00B050"/>
                </a:solidFill>
              </a:rPr>
              <a:t>Key Clients</a:t>
            </a:r>
          </a:p>
          <a:p>
            <a:pPr marL="171450" indent="-171450">
              <a:buFont typeface="Arial" panose="020B0604020202020204" pitchFamily="34" charset="0"/>
              <a:buChar char="•"/>
            </a:pPr>
            <a:endParaRPr lang="en-US" sz="1100" dirty="0">
              <a:ea typeface="Calibri" panose="020F0502020204030204" pitchFamily="34" charset="0"/>
              <a:cs typeface="Arial" panose="020B0604020202020204" pitchFamily="34" charset="0"/>
              <a:sym typeface="Wingdings" panose="05000000000000000000" pitchFamily="2" charset="2"/>
            </a:endParaRPr>
          </a:p>
        </p:txBody>
      </p:sp>
      <p:sp>
        <p:nvSpPr>
          <p:cNvPr id="16" name="TextBox 15">
            <a:extLst>
              <a:ext uri="{FF2B5EF4-FFF2-40B4-BE49-F238E27FC236}">
                <a16:creationId xmlns:a16="http://schemas.microsoft.com/office/drawing/2014/main" id="{D1542EE7-1E35-E770-F2C4-909BF1C5355B}"/>
              </a:ext>
            </a:extLst>
          </p:cNvPr>
          <p:cNvSpPr txBox="1"/>
          <p:nvPr/>
        </p:nvSpPr>
        <p:spPr>
          <a:xfrm>
            <a:off x="55660" y="6276221"/>
            <a:ext cx="3775009" cy="553998"/>
          </a:xfrm>
          <a:prstGeom prst="rect">
            <a:avLst/>
          </a:prstGeom>
          <a:noFill/>
        </p:spPr>
        <p:txBody>
          <a:bodyPr wrap="square" numCol="3">
            <a:spAutoFit/>
          </a:bodyPr>
          <a:lstStyle/>
          <a:p>
            <a:pPr marL="171450" indent="-171450">
              <a:buFont typeface="Arial" panose="020B0604020202020204" pitchFamily="34" charset="0"/>
              <a:buChar char="•"/>
            </a:pPr>
            <a:r>
              <a:rPr lang="en-US" sz="1000" dirty="0"/>
              <a:t>Nokia</a:t>
            </a:r>
          </a:p>
          <a:p>
            <a:pPr marL="171450" indent="-171450">
              <a:buFont typeface="Arial" panose="020B0604020202020204" pitchFamily="34" charset="0"/>
              <a:buChar char="•"/>
            </a:pPr>
            <a:r>
              <a:rPr lang="en-US" sz="1000" dirty="0"/>
              <a:t>Pulse Secure</a:t>
            </a:r>
          </a:p>
          <a:p>
            <a:pPr marL="171450" indent="-171450">
              <a:buFont typeface="Arial" panose="020B0604020202020204" pitchFamily="34" charset="0"/>
              <a:buChar char="•"/>
            </a:pPr>
            <a:r>
              <a:rPr lang="en-US" sz="1000" dirty="0"/>
              <a:t>Bloom Energy</a:t>
            </a:r>
          </a:p>
          <a:p>
            <a:pPr marL="171450" indent="-171450">
              <a:buFont typeface="Arial" panose="020B0604020202020204" pitchFamily="34" charset="0"/>
              <a:buChar char="•"/>
            </a:pPr>
            <a:r>
              <a:rPr lang="en-US" sz="1000" dirty="0"/>
              <a:t>Ivanti</a:t>
            </a:r>
          </a:p>
          <a:p>
            <a:pPr marL="171450" indent="-171450">
              <a:buFont typeface="Arial" panose="020B0604020202020204" pitchFamily="34" charset="0"/>
              <a:buChar char="•"/>
            </a:pPr>
            <a:r>
              <a:rPr lang="en-US" sz="1000" dirty="0"/>
              <a:t>TiVo</a:t>
            </a:r>
          </a:p>
          <a:p>
            <a:pPr marL="171450" indent="-171450">
              <a:buFont typeface="Arial" panose="020B0604020202020204" pitchFamily="34" charset="0"/>
              <a:buChar char="•"/>
            </a:pPr>
            <a:r>
              <a:rPr lang="en-US" sz="1000" dirty="0"/>
              <a:t>Twitch</a:t>
            </a:r>
          </a:p>
          <a:p>
            <a:pPr marL="171450" indent="-171450">
              <a:buFont typeface="Arial" panose="020B0604020202020204" pitchFamily="34" charset="0"/>
              <a:buChar char="•"/>
            </a:pPr>
            <a:r>
              <a:rPr lang="en-US" sz="1000" dirty="0"/>
              <a:t>Extreme Networks	</a:t>
            </a:r>
          </a:p>
          <a:p>
            <a:pPr marL="171450" indent="-171450">
              <a:buFont typeface="Arial" panose="020B0604020202020204" pitchFamily="34" charset="0"/>
              <a:buChar char="•"/>
            </a:pPr>
            <a:r>
              <a:rPr lang="en-US" sz="1000" dirty="0"/>
              <a:t>Dayforce</a:t>
            </a:r>
          </a:p>
        </p:txBody>
      </p:sp>
    </p:spTree>
    <p:extLst>
      <p:ext uri="{BB962C8B-B14F-4D97-AF65-F5344CB8AC3E}">
        <p14:creationId xmlns:p14="http://schemas.microsoft.com/office/powerpoint/2010/main" val="29766869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57D589-76C1-2B09-3DEE-765139A881AE}"/>
              </a:ext>
            </a:extLst>
          </p:cNvPr>
          <p:cNvSpPr>
            <a:spLocks noGrp="1"/>
          </p:cNvSpPr>
          <p:nvPr>
            <p:ph type="sldNum" sz="quarter" idx="4"/>
          </p:nvPr>
        </p:nvSpPr>
        <p:spPr/>
        <p:txBody>
          <a:bodyPr/>
          <a:lstStyle/>
          <a:p>
            <a:r>
              <a:rPr lang="en-GB" dirty="0"/>
              <a:t>©2024 Brillio  |  </a:t>
            </a:r>
            <a:fld id="{F1FE5E21-FD07-B44E-90A3-0254BFCDB49A}" type="slidenum">
              <a:rPr smtClean="0"/>
              <a:pPr/>
              <a:t>9</a:t>
            </a:fld>
            <a:endParaRPr lang="en-US" dirty="0"/>
          </a:p>
        </p:txBody>
      </p:sp>
      <p:sp>
        <p:nvSpPr>
          <p:cNvPr id="4" name="Title 12">
            <a:extLst>
              <a:ext uri="{FF2B5EF4-FFF2-40B4-BE49-F238E27FC236}">
                <a16:creationId xmlns:a16="http://schemas.microsoft.com/office/drawing/2014/main" id="{ADC37F42-6DA2-C0C1-AE1C-6B85A494B3A8}"/>
              </a:ext>
            </a:extLst>
          </p:cNvPr>
          <p:cNvSpPr txBox="1">
            <a:spLocks/>
          </p:cNvSpPr>
          <p:nvPr/>
        </p:nvSpPr>
        <p:spPr>
          <a:xfrm>
            <a:off x="365760" y="314325"/>
            <a:ext cx="11460480" cy="413808"/>
          </a:xfrm>
          <a:prstGeom prst="rect">
            <a:avLst/>
          </a:prstGeom>
        </p:spPr>
        <p:txBody>
          <a:bodyPr lIns="91440" tIns="45720" rIns="91440" bIns="45720" anchor="t"/>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201646"/>
                </a:solidFill>
                <a:effectLst/>
                <a:uLnTx/>
                <a:uFillTx/>
                <a:latin typeface="Arial"/>
                <a:ea typeface="+mj-ea"/>
                <a:cs typeface="Arial"/>
              </a:rPr>
              <a:t>Aditya Ghadigaonkar, Salesforce Solutions Architect</a:t>
            </a:r>
            <a:endParaRPr kumimoji="0" lang="en-US" sz="2400" b="1" i="0" u="none" strike="noStrike" kern="1200" cap="none" spc="0" normalizeH="0" baseline="0" noProof="0" dirty="0">
              <a:ln>
                <a:noFill/>
              </a:ln>
              <a:solidFill>
                <a:srgbClr val="00B050"/>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3CE32142-2528-2B0A-5C30-1322F229ACC6}"/>
              </a:ext>
            </a:extLst>
          </p:cNvPr>
          <p:cNvSpPr txBox="1"/>
          <p:nvPr/>
        </p:nvSpPr>
        <p:spPr>
          <a:xfrm>
            <a:off x="365760" y="822603"/>
            <a:ext cx="10945962" cy="4616648"/>
          </a:xfrm>
          <a:prstGeom prst="rect">
            <a:avLst/>
          </a:prstGeom>
          <a:noFill/>
        </p:spPr>
        <p:txBody>
          <a:bodyPr wrap="square" lIns="91440" tIns="45720" rIns="91440" bIns="45720" rtlCol="0" anchor="t">
            <a:spAutoFit/>
          </a:bodyPr>
          <a:lstStyle/>
          <a:p>
            <a:pPr eaLnBrk="0" fontAlgn="base" hangingPunct="0">
              <a:spcBef>
                <a:spcPts val="600"/>
              </a:spcBef>
              <a:spcAft>
                <a:spcPct val="0"/>
              </a:spcAft>
            </a:pPr>
            <a:endParaRPr lang="en-US" sz="1100" b="1" dirty="0">
              <a:cs typeface="Arial"/>
            </a:endParaRPr>
          </a:p>
          <a:p>
            <a:pPr eaLnBrk="0" fontAlgn="base" hangingPunct="0">
              <a:spcBef>
                <a:spcPts val="600"/>
              </a:spcBef>
              <a:spcAft>
                <a:spcPct val="0"/>
              </a:spcAft>
            </a:pPr>
            <a:r>
              <a:rPr lang="en-US" sz="1100" b="1" dirty="0"/>
              <a:t>Extreme Networks : Lightning Transformation and Sales Process improvement</a:t>
            </a:r>
            <a:endParaRPr lang="en-US" sz="1100" b="1" dirty="0">
              <a:cs typeface="Arial"/>
            </a:endParaRPr>
          </a:p>
          <a:p>
            <a:pPr marL="171450" indent="-171450" eaLnBrk="0" fontAlgn="base" hangingPunct="0">
              <a:spcBef>
                <a:spcPts val="600"/>
              </a:spcBef>
              <a:spcAft>
                <a:spcPct val="0"/>
              </a:spcAft>
              <a:buFont typeface="Arial" panose="020B0604020202020204" pitchFamily="34" charset="0"/>
              <a:buChar char="•"/>
            </a:pPr>
            <a:r>
              <a:rPr lang="en-US" sz="1100" dirty="0">
                <a:solidFill>
                  <a:schemeClr val="accent3">
                    <a:lumMod val="75000"/>
                  </a:schemeClr>
                </a:solidFill>
                <a:ea typeface="Open Sans Light"/>
                <a:cs typeface="Open Sans Light"/>
              </a:rPr>
              <a:t>Salesforce classic to lightning transformation for the entire org 10K + users. </a:t>
            </a:r>
          </a:p>
          <a:p>
            <a:pPr marL="171450" indent="-171450" eaLnBrk="0" fontAlgn="base" hangingPunct="0">
              <a:spcBef>
                <a:spcPts val="600"/>
              </a:spcBef>
              <a:spcAft>
                <a:spcPct val="0"/>
              </a:spcAft>
              <a:buFont typeface="Arial" panose="020B0604020202020204" pitchFamily="34" charset="0"/>
              <a:buChar char="•"/>
            </a:pPr>
            <a:r>
              <a:rPr lang="en-US" sz="1100" dirty="0">
                <a:solidFill>
                  <a:schemeClr val="accent3">
                    <a:lumMod val="75000"/>
                  </a:schemeClr>
                </a:solidFill>
                <a:ea typeface="Open Sans Light"/>
                <a:cs typeface="Open Sans Light"/>
              </a:rPr>
              <a:t>Extreme Networks was facing challenges with heavy customization on the existing application and lightning readiness with third-party applications.</a:t>
            </a:r>
          </a:p>
          <a:p>
            <a:pPr marL="171450" indent="-171450" eaLnBrk="0" fontAlgn="base" hangingPunct="0">
              <a:spcBef>
                <a:spcPts val="600"/>
              </a:spcBef>
              <a:spcAft>
                <a:spcPct val="0"/>
              </a:spcAft>
              <a:buFont typeface="Arial" panose="020B0604020202020204" pitchFamily="34" charset="0"/>
              <a:buChar char="•"/>
            </a:pPr>
            <a:r>
              <a:rPr lang="en-US" sz="1100" dirty="0">
                <a:solidFill>
                  <a:schemeClr val="accent3">
                    <a:lumMod val="75000"/>
                  </a:schemeClr>
                </a:solidFill>
                <a:ea typeface="Open Sans Light"/>
                <a:cs typeface="Open Sans Light"/>
              </a:rPr>
              <a:t>Performed consolidation of UI, profiles and redundancies to increase user experience and performance by ~20 %.</a:t>
            </a:r>
          </a:p>
          <a:p>
            <a:pPr marL="171450" indent="-171450" eaLnBrk="0" fontAlgn="base" hangingPunct="0">
              <a:spcBef>
                <a:spcPts val="600"/>
              </a:spcBef>
              <a:spcAft>
                <a:spcPct val="0"/>
              </a:spcAft>
              <a:buFont typeface="Arial" panose="020B0604020202020204" pitchFamily="34" charset="0"/>
              <a:buChar char="•"/>
            </a:pPr>
            <a:r>
              <a:rPr lang="en-US" sz="1100" dirty="0">
                <a:solidFill>
                  <a:schemeClr val="accent3">
                    <a:lumMod val="75000"/>
                  </a:schemeClr>
                </a:solidFill>
                <a:ea typeface="Open Sans Light"/>
                <a:cs typeface="Open Sans Light"/>
              </a:rPr>
              <a:t>Performed replacement for apps and customization to align with the OOTB Salesforce capabilities for future proofing the org.</a:t>
            </a:r>
          </a:p>
          <a:p>
            <a:pPr marL="171450" indent="-171450" eaLnBrk="0" fontAlgn="base" hangingPunct="0">
              <a:spcBef>
                <a:spcPts val="600"/>
              </a:spcBef>
              <a:spcAft>
                <a:spcPct val="0"/>
              </a:spcAft>
              <a:buFont typeface="Arial" panose="020B0604020202020204" pitchFamily="34" charset="0"/>
              <a:buChar char="•"/>
            </a:pPr>
            <a:r>
              <a:rPr lang="en-US" sz="1100" dirty="0">
                <a:solidFill>
                  <a:schemeClr val="accent3">
                    <a:lumMod val="75000"/>
                  </a:schemeClr>
                </a:solidFill>
                <a:ea typeface="Open Sans Light"/>
                <a:cs typeface="Open Sans Light"/>
              </a:rPr>
              <a:t>Led user adoption and training session for newly enabled UI.</a:t>
            </a:r>
          </a:p>
          <a:p>
            <a:pPr marL="171450" indent="-171450" eaLnBrk="0" fontAlgn="base" hangingPunct="0">
              <a:spcBef>
                <a:spcPts val="600"/>
              </a:spcBef>
              <a:spcAft>
                <a:spcPct val="0"/>
              </a:spcAft>
              <a:buFont typeface="Arial" panose="020B0604020202020204" pitchFamily="34" charset="0"/>
              <a:buChar char="•"/>
            </a:pPr>
            <a:r>
              <a:rPr lang="en-US" sz="1100" dirty="0">
                <a:solidFill>
                  <a:schemeClr val="accent3">
                    <a:lumMod val="75000"/>
                  </a:schemeClr>
                </a:solidFill>
                <a:ea typeface="Open Sans Light"/>
                <a:cs typeface="Open Sans Light"/>
              </a:rPr>
              <a:t>Automated manual sales processes for internal as well as external approvals that increased the stakeholder engagement and transparency. </a:t>
            </a:r>
          </a:p>
          <a:p>
            <a:pPr lvl="1" eaLnBrk="0" fontAlgn="base" hangingPunct="0">
              <a:spcBef>
                <a:spcPts val="600"/>
              </a:spcBef>
              <a:spcAft>
                <a:spcPct val="0"/>
              </a:spcAft>
            </a:pPr>
            <a:endParaRPr lang="en-US" sz="1100" b="1" dirty="0">
              <a:highlight>
                <a:srgbClr val="FFFF00"/>
              </a:highlight>
              <a:cs typeface="Arial"/>
            </a:endParaRPr>
          </a:p>
          <a:p>
            <a:pPr eaLnBrk="0" fontAlgn="base" hangingPunct="0">
              <a:spcBef>
                <a:spcPts val="600"/>
              </a:spcBef>
              <a:spcAft>
                <a:spcPct val="0"/>
              </a:spcAft>
            </a:pPr>
            <a:r>
              <a:rPr lang="en-US" sz="1100" b="1" dirty="0"/>
              <a:t>Pulse Secure : Deal Registration and Onboarding  process automation</a:t>
            </a:r>
            <a:endParaRPr lang="en-US" sz="1100" dirty="0">
              <a:cs typeface="Arial"/>
            </a:endParaRPr>
          </a:p>
          <a:p>
            <a:pPr marL="285750" indent="-285750" eaLnBrk="0" fontAlgn="base" hangingPunct="0">
              <a:spcBef>
                <a:spcPts val="600"/>
              </a:spcBef>
              <a:spcAft>
                <a:spcPct val="0"/>
              </a:spcAft>
              <a:buFont typeface="Arial" panose="020B0604020202020204" pitchFamily="34" charset="0"/>
              <a:buChar char="•"/>
            </a:pPr>
            <a:r>
              <a:rPr lang="en-US" sz="1100" dirty="0"/>
              <a:t>Onboarding was a custom implementation with an involvement of multiple teams with multiple systems to onboard distributors and re-sellers. Challenges were faced with high turn-around-time, lack of transparency and delays in onboarding. </a:t>
            </a:r>
            <a:endParaRPr lang="en-US" sz="1100" dirty="0">
              <a:cs typeface="Arial"/>
            </a:endParaRPr>
          </a:p>
          <a:p>
            <a:pPr marL="285750" indent="-285750" eaLnBrk="0" fontAlgn="base" hangingPunct="0">
              <a:spcBef>
                <a:spcPts val="600"/>
              </a:spcBef>
              <a:spcAft>
                <a:spcPct val="0"/>
              </a:spcAft>
              <a:buFont typeface="Arial" panose="020B0604020202020204" pitchFamily="34" charset="0"/>
              <a:buChar char="•"/>
            </a:pPr>
            <a:r>
              <a:rPr lang="en-US" sz="1100" dirty="0"/>
              <a:t>Deal registration was a manual process performed by the Sales along in collaboration with the distributors. </a:t>
            </a:r>
            <a:endParaRPr lang="en-US" sz="1100" dirty="0">
              <a:cs typeface="Arial"/>
            </a:endParaRPr>
          </a:p>
          <a:p>
            <a:pPr marL="285750" indent="-285750" eaLnBrk="0" fontAlgn="base" hangingPunct="0">
              <a:spcBef>
                <a:spcPts val="600"/>
              </a:spcBef>
              <a:spcAft>
                <a:spcPct val="0"/>
              </a:spcAft>
              <a:buFont typeface="Arial" panose="020B0604020202020204" pitchFamily="34" charset="0"/>
              <a:buChar char="•"/>
            </a:pPr>
            <a:r>
              <a:rPr lang="en-US" sz="1100" dirty="0"/>
              <a:t>Implemented Smart onboarding along with automated approvals and with integration to multiple systems for seamless experience and faster onboarding process.</a:t>
            </a:r>
            <a:endParaRPr lang="en-US" sz="1100" dirty="0">
              <a:cs typeface="Arial"/>
            </a:endParaRPr>
          </a:p>
          <a:p>
            <a:pPr marL="285750" indent="-285750" eaLnBrk="0" fontAlgn="base" hangingPunct="0">
              <a:spcBef>
                <a:spcPts val="600"/>
              </a:spcBef>
              <a:spcAft>
                <a:spcPct val="0"/>
              </a:spcAft>
              <a:buFont typeface="Arial" panose="020B0604020202020204" pitchFamily="34" charset="0"/>
              <a:buChar char="•"/>
            </a:pPr>
            <a:r>
              <a:rPr lang="en-US" sz="1100" dirty="0"/>
              <a:t>Automated the deal registration process from excel to Salesforce Sales cloud and Experience cloud.</a:t>
            </a:r>
            <a:endParaRPr lang="en-US" sz="1100" dirty="0">
              <a:cs typeface="Arial"/>
            </a:endParaRPr>
          </a:p>
          <a:p>
            <a:pPr marL="285750" indent="-285750" eaLnBrk="0" fontAlgn="base" hangingPunct="0">
              <a:spcBef>
                <a:spcPts val="600"/>
              </a:spcBef>
              <a:spcAft>
                <a:spcPct val="0"/>
              </a:spcAft>
              <a:buFont typeface="Arial" panose="020B0604020202020204" pitchFamily="34" charset="0"/>
              <a:buChar char="•"/>
            </a:pPr>
            <a:r>
              <a:rPr lang="en-US" sz="1100" dirty="0"/>
              <a:t>Performed fit-gap analysis to identify the right tool and applications to accommodate the needs through out of the box capabilities. </a:t>
            </a:r>
            <a:endParaRPr lang="en-US" sz="1100" dirty="0">
              <a:cs typeface="Arial"/>
            </a:endParaRPr>
          </a:p>
          <a:p>
            <a:pPr lvl="1" eaLnBrk="0" fontAlgn="base" hangingPunct="0">
              <a:spcBef>
                <a:spcPts val="600"/>
              </a:spcBef>
              <a:spcAft>
                <a:spcPct val="0"/>
              </a:spcAft>
            </a:pPr>
            <a:endParaRPr lang="en-US" sz="1100" dirty="0">
              <a:cs typeface="Arial"/>
            </a:endParaRPr>
          </a:p>
          <a:p>
            <a:pPr marL="742950" lvl="1" indent="-285750" eaLnBrk="0" fontAlgn="base" hangingPunct="0">
              <a:spcBef>
                <a:spcPts val="600"/>
              </a:spcBef>
              <a:spcAft>
                <a:spcPct val="0"/>
              </a:spcAft>
              <a:buFont typeface="Arial" panose="020B0604020202020204" pitchFamily="34" charset="0"/>
              <a:buChar char="•"/>
            </a:pPr>
            <a:endParaRPr lang="en-US" sz="1100" b="1" dirty="0">
              <a:highlight>
                <a:srgbClr val="FFFF00"/>
              </a:highlight>
              <a:cs typeface="Arial"/>
            </a:endParaRPr>
          </a:p>
          <a:p>
            <a:pPr marL="742950" lvl="1" indent="-285750" eaLnBrk="0" fontAlgn="base" hangingPunct="0">
              <a:spcBef>
                <a:spcPts val="600"/>
              </a:spcBef>
              <a:spcAft>
                <a:spcPct val="0"/>
              </a:spcAft>
              <a:buFont typeface="Arial" panose="020B0604020202020204" pitchFamily="34" charset="0"/>
              <a:buChar char="•"/>
            </a:pPr>
            <a:endParaRPr lang="en-US" sz="1100" b="1" dirty="0">
              <a:highlight>
                <a:srgbClr val="FFFF00"/>
              </a:highlight>
              <a:cs typeface="Arial"/>
            </a:endParaRPr>
          </a:p>
        </p:txBody>
      </p:sp>
    </p:spTree>
    <p:extLst>
      <p:ext uri="{BB962C8B-B14F-4D97-AF65-F5344CB8AC3E}">
        <p14:creationId xmlns:p14="http://schemas.microsoft.com/office/powerpoint/2010/main" val="2647717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Brillio Light Theme">
  <a:themeElements>
    <a:clrScheme name="Custom 7">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A0F5AD70-6EA9-944E-B4BA-A4D0D16C5F96}" vid="{7EE934F7-115E-5545-A51C-9D653E44B437}"/>
    </a:ext>
  </a:extLst>
</a:theme>
</file>

<file path=ppt/theme/theme11.xml><?xml version="1.0" encoding="utf-8"?>
<a:theme xmlns:a="http://schemas.openxmlformats.org/drawingml/2006/main" name="4_Brillio Light Theme">
  <a:themeElements>
    <a:clrScheme name="Custom 7">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illio_Corp_Presentation_3282022" id="{93FC106A-34A6-49CC-938B-964B292A98BE}" vid="{9B95486A-233C-45F3-B0B4-7B569CB8C19B}"/>
    </a:ext>
  </a:extLst>
</a:theme>
</file>

<file path=ppt/theme/theme12.xml><?xml version="1.0" encoding="utf-8"?>
<a:theme xmlns:a="http://schemas.openxmlformats.org/drawingml/2006/main" name="5_Brillio Light Theme">
  <a:themeElements>
    <a:clrScheme name="Custom 7">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A0F5AD70-6EA9-944E-B4BA-A4D0D16C5F96}" vid="{7EE934F7-115E-5545-A51C-9D653E44B437}"/>
    </a:ext>
  </a:extLst>
</a:theme>
</file>

<file path=ppt/theme/theme13.xml><?xml version="1.0" encoding="utf-8"?>
<a:theme xmlns:a="http://schemas.openxmlformats.org/drawingml/2006/main" name="1_Brillio 2022 template">
  <a:themeElements>
    <a:clrScheme name="Custom 7">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illio 2022 template" id="{96FB19F7-6F3A-45D3-9F3A-0D423AF471E0}" vid="{A9DDE124-7F0F-4086-A459-E6AB5633E0F1}"/>
    </a:ext>
  </a:extLst>
</a:theme>
</file>

<file path=ppt/theme/theme14.xml><?xml version="1.0" encoding="utf-8"?>
<a:theme xmlns:a="http://schemas.openxmlformats.org/drawingml/2006/main" name="6_Brillio Light Theme">
  <a:themeElements>
    <a:clrScheme name="Custom 7">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illio_Corp_Presentation_2024" id="{9AE96D45-47E3-BD4A-81BA-4ED9787FA4FA}" vid="{1534C764-B994-224F-88DA-AA0D3940C966}"/>
    </a:ext>
  </a:extLst>
</a:theme>
</file>

<file path=ppt/theme/theme15.xml><?xml version="1.0" encoding="utf-8"?>
<a:theme xmlns:a="http://schemas.openxmlformats.org/drawingml/2006/main" name="Brillio New Brand">
  <a:themeElements>
    <a:clrScheme name="Brillio">
      <a:dk1>
        <a:srgbClr val="201646"/>
      </a:dk1>
      <a:lt1>
        <a:srgbClr val="FFFFFF"/>
      </a:lt1>
      <a:dk2>
        <a:srgbClr val="000000"/>
      </a:dk2>
      <a:lt2>
        <a:srgbClr val="FFFFFF"/>
      </a:lt2>
      <a:accent1>
        <a:srgbClr val="2BC84C"/>
      </a:accent1>
      <a:accent2>
        <a:srgbClr val="0033A0"/>
      </a:accent2>
      <a:accent3>
        <a:srgbClr val="2C67FF"/>
      </a:accent3>
      <a:accent4>
        <a:srgbClr val="7BA0FF"/>
      </a:accent4>
      <a:accent5>
        <a:srgbClr val="00A685"/>
      </a:accent5>
      <a:accent6>
        <a:srgbClr val="424242"/>
      </a:accent6>
      <a:hlink>
        <a:srgbClr val="2BC84C"/>
      </a:hlink>
      <a:folHlink>
        <a:srgbClr val="2BC8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1" id="{7A88D35D-CBA0-064B-B468-1B96963BA50B}" vid="{4AD8278D-5189-1646-81DA-721E7CD56AD3}"/>
    </a:ext>
  </a:extLst>
</a:theme>
</file>

<file path=ppt/theme/theme16.xml><?xml version="1.0" encoding="utf-8"?>
<a:theme xmlns:a="http://schemas.openxmlformats.org/drawingml/2006/main" name="3_Brillio Dark Theme">
  <a:themeElements>
    <a:clrScheme name="Brillio v5 2-23">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A0F5AD70-6EA9-944E-B4BA-A4D0D16C5F96}" vid="{DB97FEB4-7F6A-A641-9CFC-DC6464280B4E}"/>
    </a:ext>
  </a:extLst>
</a:theme>
</file>

<file path=ppt/theme/theme17.xml><?xml version="1.0" encoding="utf-8"?>
<a:theme xmlns:a="http://schemas.openxmlformats.org/drawingml/2006/main" name="1_Brillio New Brand">
  <a:themeElements>
    <a:clrScheme name="Brillio">
      <a:dk1>
        <a:srgbClr val="201646"/>
      </a:dk1>
      <a:lt1>
        <a:srgbClr val="FFFFFF"/>
      </a:lt1>
      <a:dk2>
        <a:srgbClr val="000000"/>
      </a:dk2>
      <a:lt2>
        <a:srgbClr val="FFFFFF"/>
      </a:lt2>
      <a:accent1>
        <a:srgbClr val="2BC84C"/>
      </a:accent1>
      <a:accent2>
        <a:srgbClr val="0033A0"/>
      </a:accent2>
      <a:accent3>
        <a:srgbClr val="2C67FF"/>
      </a:accent3>
      <a:accent4>
        <a:srgbClr val="7BA0FF"/>
      </a:accent4>
      <a:accent5>
        <a:srgbClr val="00A685"/>
      </a:accent5>
      <a:accent6>
        <a:srgbClr val="424242"/>
      </a:accent6>
      <a:hlink>
        <a:srgbClr val="2BC84C"/>
      </a:hlink>
      <a:folHlink>
        <a:srgbClr val="2BC8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1" id="{7A88D35D-CBA0-064B-B468-1B96963BA50B}" vid="{4AD8278D-5189-1646-81DA-721E7CD56AD3}"/>
    </a:ext>
  </a:extLst>
</a:theme>
</file>

<file path=ppt/theme/theme18.xml><?xml version="1.0" encoding="utf-8"?>
<a:theme xmlns:a="http://schemas.openxmlformats.org/drawingml/2006/main" name="2_Brillio New Brand">
  <a:themeElements>
    <a:clrScheme name="Brillio">
      <a:dk1>
        <a:srgbClr val="201646"/>
      </a:dk1>
      <a:lt1>
        <a:srgbClr val="FFFFFF"/>
      </a:lt1>
      <a:dk2>
        <a:srgbClr val="000000"/>
      </a:dk2>
      <a:lt2>
        <a:srgbClr val="FFFFFF"/>
      </a:lt2>
      <a:accent1>
        <a:srgbClr val="2BC84C"/>
      </a:accent1>
      <a:accent2>
        <a:srgbClr val="0033A0"/>
      </a:accent2>
      <a:accent3>
        <a:srgbClr val="2C67FF"/>
      </a:accent3>
      <a:accent4>
        <a:srgbClr val="7BA0FF"/>
      </a:accent4>
      <a:accent5>
        <a:srgbClr val="00A685"/>
      </a:accent5>
      <a:accent6>
        <a:srgbClr val="424242"/>
      </a:accent6>
      <a:hlink>
        <a:srgbClr val="2BC84C"/>
      </a:hlink>
      <a:folHlink>
        <a:srgbClr val="2BC8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1" id="{7A88D35D-CBA0-064B-B468-1B96963BA50B}" vid="{4AD8278D-5189-1646-81DA-721E7CD56AD3}"/>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Arial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tx1">
              <a:lumMod val="65000"/>
              <a:lumOff val="3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08B0EA8-419A-4C45-B18F-A9D9AD799F30}" vid="{75F26356-F7D1-4D60-B7DD-600C7FDB66C6}"/>
    </a:ext>
  </a:extLst>
</a:theme>
</file>

<file path=ppt/theme/theme4.xml><?xml version="1.0" encoding="utf-8"?>
<a:theme xmlns:a="http://schemas.openxmlformats.org/drawingml/2006/main" name="1_Brillio Dark Theme">
  <a:themeElements>
    <a:clrScheme name="Brillio v5 2-23">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illio_Presentation_v1.0_20220324  -  Read-Only" id="{A0D109B7-ED97-4A4A-8B52-66BEC5BC97CD}" vid="{FFCBFA6E-5710-4343-9759-F0D3378C105F}"/>
    </a:ext>
  </a:extLst>
</a:theme>
</file>

<file path=ppt/theme/theme5.xml><?xml version="1.0" encoding="utf-8"?>
<a:theme xmlns:a="http://schemas.openxmlformats.org/drawingml/2006/main" name="Brillio Dark Theme">
  <a:themeElements>
    <a:clrScheme name="Brillio v5 2-23">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F04137EC-C1B1-A546-A383-AB8A4D3159B4}" vid="{B3534FC7-24D3-E647-AC14-06F6724B6192}"/>
    </a:ext>
  </a:extLst>
</a:theme>
</file>

<file path=ppt/theme/theme6.xml><?xml version="1.0" encoding="utf-8"?>
<a:theme xmlns:a="http://schemas.openxmlformats.org/drawingml/2006/main" name="Brillio 2022 template">
  <a:themeElements>
    <a:clrScheme name="Custom 7">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illio 2022 template" id="{96FB19F7-6F3A-45D3-9F3A-0D423AF471E0}" vid="{A9DDE124-7F0F-4086-A459-E6AB5633E0F1}"/>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gnizantnewbrand">
  <a:themeElements>
    <a:clrScheme name="Brillio Colors">
      <a:dk1>
        <a:srgbClr val="201646"/>
      </a:dk1>
      <a:lt1>
        <a:srgbClr val="FFFFFF"/>
      </a:lt1>
      <a:dk2>
        <a:srgbClr val="000000"/>
      </a:dk2>
      <a:lt2>
        <a:srgbClr val="FFFFFF"/>
      </a:lt2>
      <a:accent1>
        <a:srgbClr val="2CC84D"/>
      </a:accent1>
      <a:accent2>
        <a:srgbClr val="423A63"/>
      </a:accent2>
      <a:accent3>
        <a:srgbClr val="6F6887"/>
      </a:accent3>
      <a:accent4>
        <a:srgbClr val="A29EB2"/>
      </a:accent4>
      <a:accent5>
        <a:srgbClr val="C8C5D1"/>
      </a:accent5>
      <a:accent6>
        <a:srgbClr val="404040"/>
      </a:accent6>
      <a:hlink>
        <a:srgbClr val="2CC84D"/>
      </a:hlink>
      <a:folHlink>
        <a:srgbClr val="2CC84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1" id="{7A88D35D-CBA0-064B-B468-1B96963BA50B}" vid="{4AD8278D-5189-1646-81DA-721E7CD56AD3}"/>
    </a:ext>
  </a:extLst>
</a:theme>
</file>

<file path=ppt/theme/theme9.xml><?xml version="1.0" encoding="utf-8"?>
<a:theme xmlns:a="http://schemas.openxmlformats.org/drawingml/2006/main" name="2_Brillio Dark Theme">
  <a:themeElements>
    <a:clrScheme name="Brillio v5 2-23">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illio_Presentation_v1.0_20220324  -  Read-Only" id="{A0D109B7-ED97-4A4A-8B52-66BEC5BC97CD}" vid="{FFCBFA6E-5710-4343-9759-F0D3378C105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9cd2169-b432-4214-88b4-2118db71f807">
      <Terms xmlns="http://schemas.microsoft.com/office/infopath/2007/PartnerControls"/>
    </lcf76f155ced4ddcb4097134ff3c332f>
    <TaxCatchAll xmlns="9d42315b-5917-4b29-8029-7b971e80ce8e" xsi:nil="true"/>
    <SharedWithUsers xmlns="9d42315b-5917-4b29-8029-7b971e80ce8e">
      <UserInfo>
        <DisplayName>Shrutika Khemalapure</DisplayName>
        <AccountId>65</AccountId>
        <AccountType/>
      </UserInfo>
      <UserInfo>
        <DisplayName>LOCHAN MAHENDRACHAR</DisplayName>
        <AccountId>885</AccountId>
        <AccountType/>
      </UserInfo>
      <UserInfo>
        <DisplayName>Hemanth Yeleswarapu</DisplayName>
        <AccountId>723</AccountId>
        <AccountType/>
      </UserInfo>
      <UserInfo>
        <DisplayName>SharingLinks.1593f55a-4b45-4a45-b132-ae7faac13e39.OrganizationEdit.2ed3788a-fd35-4711-9dc9-57e8b7920472</DisplayName>
        <AccountId>1017</AccountId>
        <AccountType/>
      </UserInfo>
      <UserInfo>
        <DisplayName>SharingLinks.850f6364-6b4a-467e-b8d3-52cd46663c23.OrganizationEdit.0698c671-ad36-4580-8490-e4fc49f130f4</DisplayName>
        <AccountId>366</AccountId>
        <AccountType/>
      </UserInfo>
      <UserInfo>
        <DisplayName>SharingLinks.92721d21-3585-4d27-957d-4d4475e0e982.OrganizationEdit.71e2adb0-9a42-4fc9-a721-2a715343411e</DisplayName>
        <AccountId>1367</AccountId>
        <AccountType/>
      </UserInfo>
      <UserInfo>
        <DisplayName>Yashi Sharma</DisplayName>
        <AccountId>161</AccountId>
        <AccountType/>
      </UserInfo>
      <UserInfo>
        <DisplayName>Pompy Phukan</DisplayName>
        <AccountId>121</AccountId>
        <AccountType/>
      </UserInfo>
      <UserInfo>
        <DisplayName>Ankit Pal</DisplayName>
        <AccountId>98</AccountId>
        <AccountType/>
      </UserInfo>
      <UserInfo>
        <DisplayName>SharingLinks.68c6f51a-b911-4a7f-a7d3-8f30ff9b9441.OrganizationEdit.f37067b5-6657-4bfb-8b0f-16e452d41a61</DisplayName>
        <AccountId>459</AccountId>
        <AccountType/>
      </UserInfo>
      <UserInfo>
        <DisplayName>SharingLinks.01ab6874-ad40-4f26-9dd1-f8439548b001.OrganizationEdit.c0f5c2db-bed8-4895-bff3-2592ef5cca2e</DisplayName>
        <AccountId>816</AccountId>
        <AccountType/>
      </UserInfo>
      <UserInfo>
        <DisplayName>Imran Sharaf</DisplayName>
        <AccountId>505</AccountId>
        <AccountType/>
      </UserInfo>
      <UserInfo>
        <DisplayName>SharingLinks.cc22512a-2d99-4e41-826f-23a9d70639a0.OrganizationEdit.7ca09406-e5b6-491e-9696-2c489a5d45e8</DisplayName>
        <AccountId>477</AccountId>
        <AccountType/>
      </UserInfo>
      <UserInfo>
        <DisplayName>Nileshchandra Joshi</DisplayName>
        <AccountId>250</AccountId>
        <AccountType/>
      </UserInfo>
      <UserInfo>
        <DisplayName>Matthew Hooper</DisplayName>
        <AccountId>1512</AccountId>
        <AccountType/>
      </UserInfo>
      <UserInfo>
        <DisplayName>Sandeep Yalagi</DisplayName>
        <AccountId>1045</AccountId>
        <AccountType/>
      </UserInfo>
      <UserInfo>
        <DisplayName>Aparna Chandran</DisplayName>
        <AccountId>615</AccountId>
        <AccountType/>
      </UserInfo>
      <UserInfo>
        <DisplayName>Pavan Yadavalli</DisplayName>
        <AccountId>1472</AccountId>
        <AccountType/>
      </UserInfo>
      <UserInfo>
        <DisplayName>SharingLinks.b46d0c61-e9c4-4856-acba-5d7a6d94aa69.OrganizationEdit.3ed561d5-a237-474b-adb5-31919b8320c0</DisplayName>
        <AccountId>1413</AccountId>
        <AccountType/>
      </UserInfo>
      <UserInfo>
        <DisplayName>Sandeep Devaraj</DisplayName>
        <AccountId>1510</AccountId>
        <AccountType/>
      </UserInfo>
      <UserInfo>
        <DisplayName>Laxmi Khatal</DisplayName>
        <AccountId>1532</AccountId>
        <AccountType/>
      </UserInfo>
      <UserInfo>
        <DisplayName>SharingLinks.e9cba388-85f1-418f-826a-0a618b795979.OrganizationEdit.82b69e44-46c0-44f6-a2f6-badd9f7c9196</DisplayName>
        <AccountId>1388</AccountId>
        <AccountType/>
      </UserInfo>
      <UserInfo>
        <DisplayName>Rekha Sharma</DisplayName>
        <AccountId>1527</AccountId>
        <AccountType/>
      </UserInfo>
      <UserInfo>
        <DisplayName>SharingLinks.d66850db-565f-4267-af1f-d32c2ac0c521.OrganizationEdit.e2467753-745b-4bad-b760-dfacb1de368e</DisplayName>
        <AccountId>1140</AccountId>
        <AccountType/>
      </UserInfo>
      <UserInfo>
        <DisplayName>Alamur Reddy</DisplayName>
        <AccountId>1538</AccountId>
        <AccountType/>
      </UserInfo>
      <UserInfo>
        <DisplayName>Anil Singh Parihar</DisplayName>
        <AccountId>168</AccountId>
        <AccountType/>
      </UserInfo>
      <UserInfo>
        <DisplayName>Ankita Mod</DisplayName>
        <AccountId>1581</AccountId>
        <AccountType/>
      </UserInfo>
      <UserInfo>
        <DisplayName>Ankit Pokar</DisplayName>
        <AccountId>945</AccountId>
        <AccountType/>
      </UserInfo>
      <UserInfo>
        <DisplayName>SharingLinks.9ca54f24-fcc1-48c3-bc31-5bdd2d658a24.OrganizationView.1e4d0019-8ce9-4e33-bbc0-1a63386e41ba</DisplayName>
        <AccountId>1552</AccountId>
        <AccountType/>
      </UserInfo>
      <UserInfo>
        <DisplayName>Javed Akthar Khan</DisplayName>
        <AccountId>880</AccountId>
        <AccountType/>
      </UserInfo>
      <UserInfo>
        <DisplayName>SharingLinks.d5245262-c44a-419e-8dde-46dfd163d81a.OrganizationView.4f4d41e2-cd47-4318-95db-20378ec4dd42</DisplayName>
        <AccountId>1615</AccountId>
        <AccountType/>
      </UserInfo>
      <UserInfo>
        <DisplayName>SharingLinks.a034da37-9723-4e8f-a6bd-3c8cccd56f5c.OrganizationView.4caf675b-fc1b-4330-a7cd-ffb088ecae32</DisplayName>
        <AccountId>1616</AccountId>
        <AccountType/>
      </UserInfo>
      <UserInfo>
        <DisplayName>SharingLinks.63ee4d0a-f833-44ef-af64-7621578bc448.OrganizationView.05939d8b-d64e-4fa6-81b5-00906f7f74e7</DisplayName>
        <AccountId>1618</AccountId>
        <AccountType/>
      </UserInfo>
      <UserInfo>
        <DisplayName>SharingLinks.a1dd7bab-86e9-4ec3-ac39-2087c7af82db.OrganizationView.65f77206-58c6-4577-afcc-cc51154ff6d5</DisplayName>
        <AccountId>1619</AccountId>
        <AccountType/>
      </UserInfo>
      <UserInfo>
        <DisplayName>SharingLinks.6f6b4d25-9715-4e50-a677-a2590065d737.OrganizationEdit.6a939cc4-3096-4f36-a70f-dcee708124ad</DisplayName>
        <AccountId>397</AccountId>
        <AccountType/>
      </UserInfo>
      <UserInfo>
        <DisplayName>Rahul Sharma</DisplayName>
        <AccountId>1526</AccountId>
        <AccountType/>
      </UserInfo>
      <UserInfo>
        <DisplayName>SharingLinks.da25be36-7bd4-414c-8a2d-20ffc2a0362e.OrganizationEdit.87a52d22-c86c-423c-9ec6-f245efd23c34</DisplayName>
        <AccountId>1204</AccountId>
        <AccountType/>
      </UserInfo>
      <UserInfo>
        <DisplayName>SharingLinks.e632d042-7d69-4faf-999c-0b57a2a5df22.OrganizationEdit.e8f5a080-e33c-4f9d-ba96-271a16cf29ff</DisplayName>
        <AccountId>423</AccountId>
        <AccountType/>
      </UserInfo>
      <UserInfo>
        <DisplayName>Kalyan Turlapati</DisplayName>
        <AccountId>1046</AccountId>
        <AccountType/>
      </UserInfo>
      <UserInfo>
        <DisplayName>Praveen Sadineni</DisplayName>
        <AccountId>1599</AccountId>
        <AccountType/>
      </UserInfo>
      <UserInfo>
        <DisplayName>Rahul Patil</DisplayName>
        <AccountId>150</AccountId>
        <AccountType/>
      </UserInfo>
      <UserInfo>
        <DisplayName>Rohit Joshi</DisplayName>
        <AccountId>3292</AccountId>
        <AccountType/>
      </UserInfo>
      <UserInfo>
        <DisplayName>Sushen Gupta</DisplayName>
        <AccountId>1067</AccountId>
        <AccountType/>
      </UserInfo>
      <UserInfo>
        <DisplayName>Aditya Ghadigaonkar</DisplayName>
        <AccountId>1130</AccountId>
        <AccountType/>
      </UserInfo>
      <UserInfo>
        <DisplayName>Prudhvi Kanteti</DisplayName>
        <AccountId>33</AccountId>
        <AccountType/>
      </UserInfo>
      <UserInfo>
        <DisplayName>Sachin Pawar</DisplayName>
        <AccountId>88</AccountId>
        <AccountType/>
      </UserInfo>
      <UserInfo>
        <DisplayName>Asalatha Channamallu</DisplayName>
        <AccountId>1241</AccountId>
        <AccountType/>
      </UserInfo>
      <UserInfo>
        <DisplayName>Jinsha Rahath</DisplayName>
        <AccountId>1105</AccountId>
        <AccountType/>
      </UserInfo>
      <UserInfo>
        <DisplayName>Preeti Sharma</DisplayName>
        <AccountId>114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0E8AA92E888164FACF807556AEDF300" ma:contentTypeVersion="19" ma:contentTypeDescription="Create a new document." ma:contentTypeScope="" ma:versionID="e8d7c28b96e83e0939437a58a59c8fdf">
  <xsd:schema xmlns:xsd="http://www.w3.org/2001/XMLSchema" xmlns:xs="http://www.w3.org/2001/XMLSchema" xmlns:p="http://schemas.microsoft.com/office/2006/metadata/properties" xmlns:ns2="b9cd2169-b432-4214-88b4-2118db71f807" xmlns:ns3="9d42315b-5917-4b29-8029-7b971e80ce8e" targetNamespace="http://schemas.microsoft.com/office/2006/metadata/properties" ma:root="true" ma:fieldsID="62342a51d8d0f30ec9e5e5409c7e9a06" ns2:_="" ns3:_="">
    <xsd:import namespace="b9cd2169-b432-4214-88b4-2118db71f807"/>
    <xsd:import namespace="9d42315b-5917-4b29-8029-7b971e80ce8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cd2169-b432-4214-88b4-2118db71f8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6606b6d-53b6-450b-ace0-dee084e7b36a"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42315b-5917-4b29-8029-7b971e80ce8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b7f6839-5c8b-4399-980d-d6a28a14cd9d}" ma:internalName="TaxCatchAll" ma:showField="CatchAllData" ma:web="9d42315b-5917-4b29-8029-7b971e80ce8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9F166B-2EAE-4028-9CC6-B79B157213DF}">
  <ds:schemaRefs>
    <ds:schemaRef ds:uri="http://schemas.microsoft.com/sharepoint/v3/contenttype/forms"/>
  </ds:schemaRefs>
</ds:datastoreItem>
</file>

<file path=customXml/itemProps2.xml><?xml version="1.0" encoding="utf-8"?>
<ds:datastoreItem xmlns:ds="http://schemas.openxmlformats.org/officeDocument/2006/customXml" ds:itemID="{E2878660-1796-4FD2-B3C8-059127563835}">
  <ds:schemaRefs>
    <ds:schemaRef ds:uri="http://purl.org/dc/terms/"/>
    <ds:schemaRef ds:uri="http://purl.org/dc/dcmitype/"/>
    <ds:schemaRef ds:uri="http://schemas.microsoft.com/office/2006/metadata/properties"/>
    <ds:schemaRef ds:uri="http://schemas.microsoft.com/office/2006/documentManagement/types"/>
    <ds:schemaRef ds:uri="http://www.w3.org/XML/1998/namespace"/>
    <ds:schemaRef ds:uri="http://schemas.openxmlformats.org/package/2006/metadata/core-properties"/>
    <ds:schemaRef ds:uri="9d42315b-5917-4b29-8029-7b971e80ce8e"/>
    <ds:schemaRef ds:uri="http://purl.org/dc/elements/1.1/"/>
    <ds:schemaRef ds:uri="http://schemas.microsoft.com/office/infopath/2007/PartnerControls"/>
    <ds:schemaRef ds:uri="b9cd2169-b432-4214-88b4-2118db71f807"/>
  </ds:schemaRefs>
</ds:datastoreItem>
</file>

<file path=customXml/itemProps3.xml><?xml version="1.0" encoding="utf-8"?>
<ds:datastoreItem xmlns:ds="http://schemas.openxmlformats.org/officeDocument/2006/customXml" ds:itemID="{237707A5-B125-4C82-956C-86382D6A45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cd2169-b432-4214-88b4-2118db71f807"/>
    <ds:schemaRef ds:uri="9d42315b-5917-4b29-8029-7b971e80ce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478</Words>
  <Application>Microsoft Office PowerPoint</Application>
  <PresentationFormat>Widescreen</PresentationFormat>
  <Paragraphs>365</Paragraphs>
  <Slides>14</Slides>
  <Notes>2</Notes>
  <HiddenSlides>0</HiddenSlides>
  <MMClips>0</MMClips>
  <ScaleCrop>false</ScaleCrop>
  <HeadingPairs>
    <vt:vector size="8" baseType="variant">
      <vt:variant>
        <vt:lpstr>Fonts Used</vt:lpstr>
      </vt:variant>
      <vt:variant>
        <vt:i4>19</vt:i4>
      </vt:variant>
      <vt:variant>
        <vt:lpstr>Theme</vt:lpstr>
      </vt:variant>
      <vt:variant>
        <vt:i4>18</vt:i4>
      </vt:variant>
      <vt:variant>
        <vt:lpstr>Embedded OLE Servers</vt:lpstr>
      </vt:variant>
      <vt:variant>
        <vt:i4>1</vt:i4>
      </vt:variant>
      <vt:variant>
        <vt:lpstr>Slide Titles</vt:lpstr>
      </vt:variant>
      <vt:variant>
        <vt:i4>14</vt:i4>
      </vt:variant>
    </vt:vector>
  </HeadingPairs>
  <TitlesOfParts>
    <vt:vector size="52" baseType="lpstr">
      <vt:lpstr>Arial</vt:lpstr>
      <vt:lpstr>Arial Black</vt:lpstr>
      <vt:lpstr>Arial,Sans-Serif</vt:lpstr>
      <vt:lpstr>Calibri</vt:lpstr>
      <vt:lpstr>Calibri Light</vt:lpstr>
      <vt:lpstr>Century Gothic</vt:lpstr>
      <vt:lpstr>Courier New</vt:lpstr>
      <vt:lpstr>Helvetica Neue</vt:lpstr>
      <vt:lpstr>Helvetica Neue Light</vt:lpstr>
      <vt:lpstr>Helvetica Neue Thin</vt:lpstr>
      <vt:lpstr>Open Sans</vt:lpstr>
      <vt:lpstr>Open Sans Extrabold</vt:lpstr>
      <vt:lpstr>Open Sans Light</vt:lpstr>
      <vt:lpstr>Outfit</vt:lpstr>
      <vt:lpstr>Symbol</vt:lpstr>
      <vt:lpstr>Tahoma</vt:lpstr>
      <vt:lpstr>Times New Roman</vt:lpstr>
      <vt:lpstr>Univers</vt:lpstr>
      <vt:lpstr>Wingdings</vt:lpstr>
      <vt:lpstr>Office Theme</vt:lpstr>
      <vt:lpstr>1_Custom Design</vt:lpstr>
      <vt:lpstr>3_Office Theme</vt:lpstr>
      <vt:lpstr>1_Brillio Dark Theme</vt:lpstr>
      <vt:lpstr>Brillio Dark Theme</vt:lpstr>
      <vt:lpstr>Brillio 2022 template</vt:lpstr>
      <vt:lpstr>2_Office Theme</vt:lpstr>
      <vt:lpstr>Cognizantnewbrand</vt:lpstr>
      <vt:lpstr>2_Brillio Dark Theme</vt:lpstr>
      <vt:lpstr>1_Brillio Light Theme</vt:lpstr>
      <vt:lpstr>4_Brillio Light Theme</vt:lpstr>
      <vt:lpstr>5_Brillio Light Theme</vt:lpstr>
      <vt:lpstr>1_Brillio 2022 template</vt:lpstr>
      <vt:lpstr>6_Brillio Light Theme</vt:lpstr>
      <vt:lpstr>Brillio New Brand</vt:lpstr>
      <vt:lpstr>3_Brillio Dark Theme</vt:lpstr>
      <vt:lpstr>1_Brillio New Brand</vt:lpstr>
      <vt:lpstr>2_Brillio New Brand</vt:lpstr>
      <vt:lpstr>think-cell Slide</vt:lpstr>
      <vt:lpstr>Salesforce Practitioners</vt:lpstr>
      <vt:lpstr>#1 Practitioners for Lending Application </vt:lpstr>
      <vt:lpstr>PowerPoint Presentation</vt:lpstr>
      <vt:lpstr>PowerPoint Presentation</vt:lpstr>
      <vt:lpstr>PowerPoint Presentation</vt:lpstr>
      <vt:lpstr>PowerPoint Presentation</vt:lpstr>
      <vt:lpstr>#2 Practitioners for Bankruptcy Mgmt App </vt:lpstr>
      <vt:lpstr>PowerPoint Presentation</vt:lpstr>
      <vt:lpstr>PowerPoint Presentation</vt:lpstr>
      <vt:lpstr>PowerPoint Presentation</vt:lpstr>
      <vt:lpstr>PowerPoint Presentation</vt:lpstr>
      <vt:lpstr>PowerPoint Presentation</vt:lpstr>
      <vt:lpstr>PowerPoint Presentation</vt:lpstr>
      <vt:lpstr>Thank You  Let’s create something  amazing togeth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CF to AWS Migration for FNBO</dc:title>
  <dc:creator/>
  <cp:lastModifiedBy/>
  <cp:revision>4</cp:revision>
  <dcterms:created xsi:type="dcterms:W3CDTF">2023-11-10T17:39:26Z</dcterms:created>
  <dcterms:modified xsi:type="dcterms:W3CDTF">2024-05-28T08:3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6BF6936EFFEE55438AE59974254271FA</vt:lpwstr>
  </property>
  <property fmtid="{D5CDD505-2E9C-101B-9397-08002B2CF9AE}" pid="4" name="MSIP_Label_cfa2346c-38c9-4beb-a0bb-e1f2b9c5c688_Name">
    <vt:lpwstr>Brillio Internal Restricted</vt:lpwstr>
  </property>
  <property fmtid="{D5CDD505-2E9C-101B-9397-08002B2CF9AE}" pid="5" name="MSIP_Label_cfa2346c-38c9-4beb-a0bb-e1f2b9c5c688_SetDate">
    <vt:lpwstr>2024-03-13T04:32:06Z</vt:lpwstr>
  </property>
  <property fmtid="{D5CDD505-2E9C-101B-9397-08002B2CF9AE}" pid="6" name="MSIP_Label_cfa2346c-38c9-4beb-a0bb-e1f2b9c5c688_Extended_MSFT_Method">
    <vt:lpwstr>Standard</vt:lpwstr>
  </property>
  <property fmtid="{D5CDD505-2E9C-101B-9397-08002B2CF9AE}" pid="7" name="MSIP_Label_cfa2346c-38c9-4beb-a0bb-e1f2b9c5c688_Enabled">
    <vt:lpwstr>True</vt:lpwstr>
  </property>
  <property fmtid="{D5CDD505-2E9C-101B-9397-08002B2CF9AE}" pid="8" name="MSIP_Label_cfa2346c-38c9-4beb-a0bb-e1f2b9c5c688_ActionId">
    <vt:lpwstr>5b0d3446-ced7-4179-a383-8a8158109dc5</vt:lpwstr>
  </property>
  <property fmtid="{D5CDD505-2E9C-101B-9397-08002B2CF9AE}" pid="9" name="MSIP_Label_cfa2346c-38c9-4beb-a0bb-e1f2b9c5c688_SiteId">
    <vt:lpwstr>97984c2b-a229-4609-8185-ae84947bc3fc</vt:lpwstr>
  </property>
  <property fmtid="{D5CDD505-2E9C-101B-9397-08002B2CF9AE}" pid="10" name="MSIP_Label_cfa2346c-38c9-4beb-a0bb-e1f2b9c5c688_Removed">
    <vt:lpwstr>False</vt:lpwstr>
  </property>
  <property fmtid="{D5CDD505-2E9C-101B-9397-08002B2CF9AE}" pid="11" name="Sensitivity">
    <vt:lpwstr>Brillio Internal Restricted</vt:lpwstr>
  </property>
</Properties>
</file>